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ink/ink6.xml" ContentType="application/inkml+xml"/>
  <Override PartName="/ppt/ink/ink7.xml" ContentType="application/inkml+xml"/>
  <Override PartName="/ppt/ink/ink8.xml" ContentType="application/inkml+xml"/>
  <Override PartName="/ppt/ink/ink9.xml" ContentType="application/inkml+xml"/>
  <Override PartName="/ppt/ink/ink10.xml" ContentType="application/inkml+xml"/>
  <Override PartName="/ppt/ink/ink11.xml" ContentType="application/inkml+xml"/>
  <Override PartName="/ppt/ink/ink12.xml" ContentType="application/inkml+xml"/>
  <Override PartName="/ppt/ink/ink13.xml" ContentType="application/inkml+xml"/>
  <Override PartName="/ppt/ink/ink14.xml" ContentType="application/inkml+xml"/>
  <Override PartName="/ppt/ink/ink15.xml" ContentType="application/inkml+xml"/>
  <Override PartName="/ppt/ink/ink16.xml" ContentType="application/inkml+xml"/>
  <Override PartName="/ppt/ink/ink17.xml" ContentType="application/inkml+xml"/>
  <Override PartName="/ppt/ink/ink18.xml" ContentType="application/inkml+xml"/>
  <Override PartName="/ppt/ink/ink19.xml" ContentType="application/inkml+xml"/>
  <Override PartName="/ppt/ink/ink20.xml" ContentType="application/inkml+xml"/>
  <Override PartName="/ppt/ink/ink21.xml" ContentType="application/inkml+xml"/>
  <Override PartName="/ppt/ink/ink22.xml" ContentType="application/inkml+xml"/>
  <Override PartName="/ppt/ink/ink23.xml" ContentType="application/inkml+xml"/>
  <Override PartName="/ppt/ink/ink24.xml" ContentType="application/inkml+xml"/>
  <Override PartName="/ppt/ink/ink25.xml" ContentType="application/inkml+xml"/>
  <Override PartName="/ppt/ink/ink26.xml" ContentType="application/inkml+xml"/>
  <Override PartName="/ppt/ink/ink27.xml" ContentType="application/inkml+xml"/>
  <Override PartName="/ppt/ink/ink28.xml" ContentType="application/inkml+xml"/>
  <Override PartName="/ppt/ink/ink29.xml" ContentType="application/inkml+xml"/>
  <Override PartName="/ppt/ink/ink30.xml" ContentType="application/inkml+xml"/>
  <Override PartName="/ppt/ink/ink31.xml" ContentType="application/inkml+xml"/>
  <Override PartName="/ppt/ink/ink32.xml" ContentType="application/inkml+xml"/>
  <Override PartName="/ppt/ink/ink33.xml" ContentType="application/inkml+xml"/>
  <Override PartName="/ppt/ink/ink34.xml" ContentType="application/inkml+xml"/>
  <Override PartName="/ppt/ink/ink35.xml" ContentType="application/inkml+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sldIdLst>
    <p:sldId id="256" r:id="rId2"/>
    <p:sldId id="261" r:id="rId3"/>
    <p:sldId id="257" r:id="rId4"/>
    <p:sldId id="258" r:id="rId5"/>
    <p:sldId id="259" r:id="rId6"/>
    <p:sldId id="260" r:id="rId7"/>
    <p:sldId id="262" r:id="rId8"/>
    <p:sldId id="263" r:id="rId9"/>
    <p:sldId id="264" r:id="rId10"/>
    <p:sldId id="265" r:id="rId11"/>
    <p:sldId id="266" r:id="rId12"/>
    <p:sldId id="267" r:id="rId13"/>
    <p:sldId id="268" r:id="rId14"/>
    <p:sldId id="269" r:id="rId15"/>
    <p:sldId id="271" r:id="rId16"/>
    <p:sldId id="272" r:id="rId17"/>
    <p:sldId id="273" r:id="rId18"/>
    <p:sldId id="270" r:id="rId19"/>
    <p:sldId id="274" r:id="rId20"/>
    <p:sldId id="275" r:id="rId21"/>
    <p:sldId id="276" r:id="rId22"/>
    <p:sldId id="277" r:id="rId23"/>
    <p:sldId id="278" r:id="rId24"/>
    <p:sldId id="279" r:id="rId25"/>
    <p:sldId id="280" r:id="rId26"/>
    <p:sldId id="281" r:id="rId2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94712"/>
  </p:normalViewPr>
  <p:slideViewPr>
    <p:cSldViewPr snapToGrid="0">
      <p:cViewPr varScale="1">
        <p:scale>
          <a:sx n="71" d="100"/>
          <a:sy n="71" d="100"/>
        </p:scale>
        <p:origin x="444" y="5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theme" Target="theme/theme1.xml"/></Relationships>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4T18:57:01.362"/>
    </inkml:context>
    <inkml:brush xml:id="br0">
      <inkml:brushProperty name="width" value="0.035" units="cm"/>
      <inkml:brushProperty name="height" value="0.035" units="cm"/>
    </inkml:brush>
  </inkml:definitions>
  <inkml:trace contextRef="#ctx0" brushRef="#br0">1 1 24575,'0'0'0</inkml:trace>
</inkml:ink>
</file>

<file path=ppt/ink/ink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4T18:55:01.600"/>
    </inkml:context>
    <inkml:brush xml:id="br0">
      <inkml:brushProperty name="width" value="0.035" units="cm"/>
      <inkml:brushProperty name="height" value="0.035" units="cm"/>
    </inkml:brush>
  </inkml:definitions>
  <inkml:trace contextRef="#ctx0" brushRef="#br0">96 0 24575,'36'0'0,"23"0"0,22 0 0,2 0 0,-19 0 0,-20 0 0,-21 0 0,7 0 0,13 0 0,31 0 0,17 0 0,0 0 0,-22 0 0,-27 0 0,-18 0 0,-11 0 0,4 0 0,9 0 0,12 0 0,7 0 0,-5 0 0,-13 0 0,-10 0 0,13 0 0,25 0 0,31 4 0,-35-1 0,0-1 0,35 3 0,-26-1 0,-28-4 0,-14 0 0,-6 1 0,-3 2 0,6 2 0,5 1 0,4 0 0,1 0 0,-7-3 0,-4-1 0,-5-2 0,11 0 0,15 0 0,7 0 0,0 0 0,-11 0 0,-14 0 0,-3 0 0,6 0 0,20 0 0,20 0 0,5 0 0,-9 0 0,-21 0 0,-15 0 0,-3 0 0,3 0 0,4 0 0,2 0 0,-5 0 0,-9 3 0,-6 4 0,-3 14 0,7 19 0,4 17 0,4 9 0,-1 2 0,-6-9 0,-4-12 0,-5-11 0,-2-6 0,0 13 0,0 29 0,0-23 0,0 5 0,0 11 0,0 3 0,0 6 0,0 1 0,0 3 0,0 1 0,0 3 0,0 0 0,0 1 0,0 0 0,-2-3 0,0-1 0,-1-7 0,0-2 0,-1-10 0,0-2 0,-3 40 0,4-10 0,-1 1 0,-1 10 0,3-47 0,-1 1 0,1 3 0,0 0 0,2-2 0,-1 0 0,-1 0 0,0-1 0,0-2 0,-1 0 0,-2 43 0,2-5 0,3-11 0,0-6 0,0-14 0,0-13 0,0-15 0,0-11 0,-6-10 0,-3-5 0,-8-3 0,-13-1 0,-20 0 0,-30 0 0,30 0 0,-3 0 0,-2 0 0,-2 0 0,4 0 0,0 0 0,-47 0 0,4 0 0,43 0 0,-2 0 0,-5 2 0,-1 0 0,-6 0 0,-1 1 0,-1 0 0,-1 1 0,3 0 0,1-1 0,5 0 0,1-1 0,5 0 0,2-1 0,-46 0 0,9-1 0,6 0 0,6 0 0,9 0 0,6 0 0,5 2 0,1 4 0,-2 4 0,2 3 0,5 2 0,13-5 0,11-4 0,14-3 0,7-3 0</inkml:trace>
</inkml:ink>
</file>

<file path=ppt/ink/ink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4T18:55:03.883"/>
    </inkml:context>
    <inkml:brush xml:id="br0">
      <inkml:brushProperty name="width" value="0.035" units="cm"/>
      <inkml:brushProperty name="height" value="0.035" units="cm"/>
    </inkml:brush>
  </inkml:definitions>
  <inkml:trace contextRef="#ctx0" brushRef="#br0">0 61 24575,'30'0'0,"25"0"0,28 0 0,7 0 0,-13 0 0,-24 0 0,-26 0 0,6 0 0,20 0 0,30 0 0,-31 0 0,0 0 0,47 0 0,-27 0 0,-22 0 0,-21 0 0,6 0 0,23 0 0,34 0 0,-34 0 0,1 0 0,-3 0 0,-3 0 0,30 0 0,-31 0 0,-17-3 0,7-3 0,24 0 0,18-3 0,0 2 0,-14 3 0,-25 0 0,-16 4 0,-9 0 0,8 0 0,13 0 0,15 0 0,9 0 0,-7 0 0,-13 0 0,-11 0 0,-16 0 0,2 0 0,-7 0 0,7 0 0,6 0 0,-9 0 0,4 0 0,-9-2 0,6-1 0,6-1 0,3-2 0,-1 3 0,-4 1 0,-10 1 0,-7 1 0</inkml:trace>
</inkml:ink>
</file>

<file path=ppt/ink/ink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4T18:55:06.333"/>
    </inkml:context>
    <inkml:brush xml:id="br0">
      <inkml:brushProperty name="width" value="0.035" units="cm"/>
      <inkml:brushProperty name="height" value="0.035" units="cm"/>
    </inkml:brush>
  </inkml:definitions>
  <inkml:trace contextRef="#ctx0" brushRef="#br0">1 0 24575,'49'0'0,"27"0"0,-23 0 0,3 0 0,3 0 0,1 0 0,-8 0 0,-2 0 0,26 0 0,-38 0 0,-13 0 0,-10 0 0,18 2 0,28 5 0,23 6 0,3-1 0,-11 0 0,-25-6 0,-18-3 0,4 0 0,11 1 0,18 3 0,13 1 0,0 3 0,-4-4 0,-8-2 0,3 1 0,5-2 0,6-1 0,-5-1 0,-10-2 0,-13 0 0,-9 0 0,-1 0 0,-5 0 0,-3 0 0,-5 0 0,-4 0 0,-3 0 0,-1 0 0,4 0 0,1 0 0,0 0 0,-1 0 0,-4 0 0,1 0 0,6 0 0,9 0 0,2-3 0,1 0 0,-21 0 0,-7 1 0</inkml:trace>
</inkml:ink>
</file>

<file path=ppt/ink/ink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4T18:54:49.983"/>
    </inkml:context>
    <inkml:brush xml:id="br0">
      <inkml:brushProperty name="width" value="0.035" units="cm"/>
      <inkml:brushProperty name="height" value="0.035" units="cm"/>
    </inkml:brush>
  </inkml:definitions>
  <inkml:trace contextRef="#ctx0" brushRef="#br0">0 1 24575,'31'0'0,"19"0"0,25 0 0,10 0 0,-7 0 0,-21 0 0,-30 0 0,-10 0 0,-11 0 0,11 0 0,18 0 0,28 0 0,14 0 0,-6 0 0,-17 0 0,-25 0 0,-16 0 0,-14 0 0,-5 0 0,-16 0 0,-5 0 0,-12 0 0,-13 1 0,-8 3 0,-7 0 0,3 0 0,13-2 0,18-2 0,19 0 0,13 0 0,9 0 0,8 0 0,4 0 0,0 0 0,-6 2 0,-6 8 0,-5 13 0,-3 15 0,0 7 0,0 0 0,0-10 0,0-12 0,0-6 0,0 6 0,0 22 0,0 28 0,0 21 0,0-3 0,0-19 0,0-22 0,0-27 0,0 0 0,0-7 0,0 5 0,0 3 0,-2-11 0,-4-1 0,-9-12 0,-10 0 0,-8 0 0,-1 0 0,10 0 0,8 0 0,7 0 0,-5 0 0,-12-8 0,-12-11 0,-8-8 0,3-9 0,19 18 0,10 2 0</inkml:trace>
</inkml:ink>
</file>

<file path=ppt/ink/ink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4T18:54:51.852"/>
    </inkml:context>
    <inkml:brush xml:id="br0">
      <inkml:brushProperty name="width" value="0.035" units="cm"/>
      <inkml:brushProperty name="height" value="0.035" units="cm"/>
    </inkml:brush>
  </inkml:definitions>
  <inkml:trace contextRef="#ctx0" brushRef="#br0">370 0 24575,'0'8'0,"0"-2"0,0 5 0,0 10 0,0-5 0,0 13 0,0-10 0,-3 11 0,0 2 0,-8 9 0,-5 6 0,-1 1 0,0-4 0,6-7 0,-1-4 0,0 2 0,-1 3 0,2-4 0,3-3 0,0 3 0,-10 17 0,-7 27 0,9-25 0,0 3 0,-2 5 0,0 0 0,2-1 0,1-2 0,2-7 0,1-4 0,-4 20 0,7-23 0,4-14 0,2 2 0,0 16 0,-1 16 0,0 9 0,1-8 0,0-19 0,3-17 0,-2-16 0,-1-6 0,0-6 0,1-1 0</inkml:trace>
</inkml:ink>
</file>

<file path=ppt/ink/ink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4T18:54:54.816"/>
    </inkml:context>
    <inkml:brush xml:id="br0">
      <inkml:brushProperty name="width" value="0.035" units="cm"/>
      <inkml:brushProperty name="height" value="0.035" units="cm"/>
    </inkml:brush>
  </inkml:definitions>
  <inkml:trace contextRef="#ctx0" brushRef="#br0">0 77 24575,'0'16'0,"0"8"0,0 8 0,0 4 0,0-10 0,0-5 0,0-13 0,0 5 0,0 13 0,0 14 0,0 12 0,0-2 0,0-7 0,0-21 0,0-11 0,0-25 0,0-11 0,0-8 0,0-2 0,0 2 0,0 2 0,0 2 0,0 3 0,0 4 0,0 1 0,0 1 0,0 1 0,4-3 0,5-2 0,4 0 0,1 3 0,-2 3 0,-4 5 0,-1 3 0,3 0 0,1-3 0,6 0 0,-2 2 0,-3 5 0,-2 3 0,-1 3 0,4 0 0,5 0 0,3 0 0,-1 0 0,-3 4 0,-5 4 0,0 6 0,-2 5 0,1 1 0,-5-5 0,-1 3 0,-5-3 0,1 7 0,2 5 0,1-1 0,-1 3 0,-1-13 0,-2 3 0,0-8 0,0 5 0,0 2 0,0-2 0,0-3 0,0-5 0,0-2 0,0 2 0,0 8 0,0-5 0,0 6 0,0-7 0,0 4 0,0 4 0,0 3 0,0 0 0,0-6 0,0-6 0,0-6 0</inkml:trace>
</inkml:ink>
</file>

<file path=ppt/ink/ink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4T18:54:56.783"/>
    </inkml:context>
    <inkml:brush xml:id="br0">
      <inkml:brushProperty name="width" value="0.035" units="cm"/>
      <inkml:brushProperty name="height" value="0.035" units="cm"/>
    </inkml:brush>
  </inkml:definitions>
  <inkml:trace contextRef="#ctx0" brushRef="#br0">1 0 24575,'7'0'0,"2"0"0,3 0 0,-1 0 0,10 0 0,15 0 0,13 0 0,5 0 0,-5 0 0,-24 0 0,-5 0 0,-15 0 0,18 0 0,18 0 0,18 0 0,5 0 0,-10 0 0,-25 0 0,-10 0 0,-17 0 0,1 0 0</inkml:trace>
</inkml:ink>
</file>

<file path=ppt/ink/ink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4T18:55:09.450"/>
    </inkml:context>
    <inkml:brush xml:id="br0">
      <inkml:brushProperty name="width" value="0.035" units="cm"/>
      <inkml:brushProperty name="height" value="0.035" units="cm"/>
    </inkml:brush>
  </inkml:definitions>
  <inkml:trace contextRef="#ctx0" brushRef="#br0">1 18 24575,'0'24'0,"0"23"0,0 32 0,0-28 0,0 1 0,0 43 0,2-14 0,1-24 0,0-24 0,0-10 0,-1-11 0,2 1 0,6 18 0,6 24 0,6 19 0,1 2 0,-3-18 0,-7-21 0,-7-17 0,-3-11 0,-3-11 0,0-17 0,-3-27 0,-5-27 0,-3-10 0,-1 3 0,2 13 0,1 17 0,3 7 0,-1 7 0,0 3 0,1-1 0,-3-4 0,2-1 0,-2 5 0,3 5 0,3 3 0,1 2 0,2 0 0,0-2 0,0 0 0,0 11 0,0-5 0,1 9 0,7-5 0,5 0 0,6 3 0,4 3 0,4 4 0,-10 3 0,6 0 0,-7 7 0,9 9 0,2 7 0,3 8 0,-15-10 0,-3-3 0,-10-12 0,1-1 0,0 2 0,-1 5 0,-1 5 0,-1 7 0,0 1 0,0 3 0,0-9 0,0 1 0,0-8 0,0 1 0,-2 4 0,-6 2 0,-6 4 0,1-5 0,-9 2 0,13-9 0,-10 5 0,9-5 0,2-2 0,3-2 0</inkml:trace>
</inkml:ink>
</file>

<file path=ppt/ink/ink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4T18:55:11.467"/>
    </inkml:context>
    <inkml:brush xml:id="br0">
      <inkml:brushProperty name="width" value="0.035" units="cm"/>
      <inkml:brushProperty name="height" value="0.035" units="cm"/>
    </inkml:brush>
  </inkml:definitions>
  <inkml:trace contextRef="#ctx0" brushRef="#br0">100 1 24575,'-2'11'0,"-7"8"0,-5 8 0,-3 14 0,-1 8 0,5-3 0,1-4 0,3-13 0,6-8 0,1 7 0,2 15 0,0 17 0,0 15 0,0 0 0,0-12 0,1-18 0,2-14 0,2-13 0,6-1 0,3 0 0,9 2 0,8 8 0,1 1 0,-5-4 0,-12-8 0,-8-10 0</inkml:trace>
</inkml:ink>
</file>

<file path=ppt/ink/ink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4T18:55:13.753"/>
    </inkml:context>
    <inkml:brush xml:id="br0">
      <inkml:brushProperty name="width" value="0.035" units="cm"/>
      <inkml:brushProperty name="height" value="0.035" units="cm"/>
    </inkml:brush>
  </inkml:definitions>
  <inkml:trace contextRef="#ctx0" brushRef="#br0">1 0 24575,'22'0'0,"18"0"0,11 0 0,0 0 0,-11 0 0,-21 0 0,-3 0 0,-9 0 0,13 0 0,21 0 0,25 0 0,11 0 0,-6 0 0,-16 0 0,-29 0 0,-7 0 0,-14 0 0,7 0 0,12 0 0,9 0 0,4 0 0,-8 0 0,-13 3 0,-9 2 0,-6 4 0,-1 2 0,0 0 0,0 1 0,-3 4 0,0 2 0,-1-4 0,1-4 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4T18:48:17.589"/>
    </inkml:context>
    <inkml:brush xml:id="br0">
      <inkml:brushProperty name="width" value="0.035" units="cm"/>
      <inkml:brushProperty name="height" value="0.035" units="cm"/>
    </inkml:brush>
  </inkml:definitions>
  <inkml:trace contextRef="#ctx0" brushRef="#br0">0 137 24575,'32'0'0,"6"0"0,9 0 0,-5 0 0,-8 0 0,-13 0 0,-9-1 0,-5-2 0,-3 0 0,4 0 0,7 2 0,12-3 0,8-3 0,0-3 0,0 1 0,-17 4 0,-2-1 0,-11 4 0,7-3 0,16-4 0,14-6 0,11-3 0,-3 1 0,-10 7 0,-18 6 0,3 0 0,-5 4 0,8 0 0,0 0 0,-9 0 0,-9 0 0,-11 0 0,-14 2 0,-20 7 0,-17 8 0,-15 5 0,-2 0 0,8-7 0,26-8 0,10-2 0,15-2 0,-4 3 0,-5-1 0,-4 0 0,3 0 0,5-2 0,4 0 0,0-2 0,-5-1 0,-9 0 0,-2 0 0,1 0 0,9 0 0,0 0 0,2 2 0,-7 1 0,-7 4 0,10-3 0,-1 1 0,8-5 0,-4 0 0,2 0 0,9 0 0,15 0 0,22-3 0,23-4 0,10-7 0,-1-3 0,-16 4 0,-16 3 0,-7 5 0,-2 0 0,0-3 0,-1 1 0,1-1 0,4 3 0,-11 1 0,4 2 0,-10 0 0,5-2 0,6 1 0,4 1 0,2 2 0,-1 0 0,-2 0 0,-18 0 0,-9 0 0,-20 0 0,6 0 0,-1 1 0,9 4 0,-4 6 0,2 0 0,-3-1 0,0-3 0,2-1 0,-1 2 0,3 1 0,1-1 0,-3-2 0,8-4 0,-2 1 0</inkml:trace>
</inkml:ink>
</file>

<file path=ppt/ink/ink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4T18:55:16.551"/>
    </inkml:context>
    <inkml:brush xml:id="br0">
      <inkml:brushProperty name="width" value="0.035" units="cm"/>
      <inkml:brushProperty name="height" value="0.035" units="cm"/>
    </inkml:brush>
  </inkml:definitions>
  <inkml:trace contextRef="#ctx0" brushRef="#br0">238 1 24575,'0'9'0,"0"8"0,-2 7 0,-1-1 0,0-5 0,0-6 0,2 13 0,-4 29 0,-11 41 0,5-31 0,-1 4 0,-3 4 0,-1 1 0,2-3 0,1-4 0,3-13 0,1-5 0,-4 17 0,8-30 0,3-19 0,2 1 0,-7 10 0,-4 21 0,-6 23 0,-3 9 0,7-11 0,3-20 0,5-15 0,4-17 0,1 17 0,0 5 0,0 17 0,0 8 0,0-5 0,0-5 0,0-10 0,0-9 0,0-8 0,0-15 0,0-1 0</inkml:trace>
</inkml:ink>
</file>

<file path=ppt/ink/ink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4T18:55:19.418"/>
    </inkml:context>
    <inkml:brush xml:id="br0">
      <inkml:brushProperty name="width" value="0.035" units="cm"/>
      <inkml:brushProperty name="height" value="0.035" units="cm"/>
    </inkml:brush>
  </inkml:definitions>
  <inkml:trace contextRef="#ctx0" brushRef="#br0">478 1 24575,'31'0'0,"20"2"0,17 7 0,3 4-8503,-16 1 8503,-23-4 1719,-17-5-1719,-9-1 0,-6 1 0,0 3 0,-2-2 0,-5 2 6784,-5-3-6784,1 1 0,1 0 0,4-3 0,-3-2 0,-7-7 0,-5-6 0,-2-3 0,6-1 0,7 9 0,5 12 0,0 12 0,0 15 0,-1 6 0,-1 1 0,1-6 0,2-2 0,-2 0 0,3 3 0,-1 0 0,2-4 0,2-2 0,-2-13 0,-3 7 0,-4 8 0,-7 21 0,-3 15 0,0 0 0,5-15 0,7-16 0,2-14 0,-3-8 0,-6-1 0,-9 1 0,-12 8 0,-7 3 0,0-3 0,7-7 0,10-7 0,5-6 0,-8-1 0,-15-10 0,-9-11 0,-3-14 0,11-5 0,17 7 0,13 11 0,9 11 0,4 4 0,1 4 0,0 1 0</inkml:trace>
</inkml:ink>
</file>

<file path=ppt/ink/ink2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4T18:55:28.937"/>
    </inkml:context>
    <inkml:brush xml:id="br0">
      <inkml:brushProperty name="width" value="0.035" units="cm"/>
      <inkml:brushProperty name="height" value="0.035" units="cm"/>
    </inkml:brush>
  </inkml:definitions>
  <inkml:trace contextRef="#ctx0" brushRef="#br0">20 36 24575,'0'15'0,"0"3"0,0-7 0,0-7 0,0-21 0,0-11 0,0 8 0,3 1 0,2 24 0,4 11 0,0 12 0,-3 3 0,-3 2 0,-5-17 0,-6-7 0,-3-20 0,-6-6 0,8 3 0,2-3 0,7 7 0,0-1 0,0 0 0,2 4 0,3 3 0,3 2 0,3 9 0,2 12 0,-1 10 0,-2 5 0,-4 0 0,-4-20 0,-2-5 0,0-25 0,0 8 0,0-4 0</inkml:trace>
</inkml:ink>
</file>

<file path=ppt/ink/ink2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4T18:55:30.919"/>
    </inkml:context>
    <inkml:brush xml:id="br0">
      <inkml:brushProperty name="width" value="0.035" units="cm"/>
      <inkml:brushProperty name="height" value="0.035" units="cm"/>
    </inkml:brush>
  </inkml:definitions>
  <inkml:trace contextRef="#ctx0" brushRef="#br0">1 6 24575,'0'-5'0,"0"4"0,0 10 0,0 12 0,0 21 0,0 18 0,0 13 0,0 1 0,0-10 0,0-18 0,0-17 0,0-10 0,0-9 0,0-3 0,0 1 0,0 12 0,0 20 0,0 15 0,0 5 0,0-11 0,0-12 0,0-20 0,0-2 0,0-9 0,0 4 0,0 8 0,3 7 0,3 5 0,3 0 0,0-3 0,-4 1 0,-2-13 0,-3 1 0,2-16 0,1-12 0,0 7 0,0-9 0</inkml:trace>
</inkml:ink>
</file>

<file path=ppt/ink/ink2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4T18:55:33.202"/>
    </inkml:context>
    <inkml:brush xml:id="br0">
      <inkml:brushProperty name="width" value="0.035" units="cm"/>
      <inkml:brushProperty name="height" value="0.035" units="cm"/>
    </inkml:brush>
  </inkml:definitions>
  <inkml:trace contextRef="#ctx0" brushRef="#br0">36 1 24575,'0'5'0,"0"1"0,0 6 0,0 5 0,0 5 0,0 4 0,0 3 0,0 3 0,0 12 0,6 10 0,7 7 0,7-1 0,3-12 0,-2-9 0,-8-18 0,3 1 0,2-9 0,6 5 0,3-1 0,-2-5 0,-6-3 0,-4-4 0,0-2 0,1-2 0,4-1 0,3-3 0,-1-6 0,0-10 0,-5-11 0,-7-9 0,-6-2 0,-4-1 0,-5 3 0,-7 0 0,-11 4 0,-4 7 0,0 5 0,9 11 0,3 0 0,9 4 0,-2-4 0,-1-1 0,-2-4 0,5 5 0,-3 0 0,1 9 0,-8 0 0,-6 1 0,-3-1 0,3 0 0,6 0 0,5 3 0,2 0 0,-4 0 0,-9 0 0,-4 0 0,-1 0 0,8 0 0,10 0 0,5 0 0</inkml:trace>
</inkml:ink>
</file>

<file path=ppt/ink/ink2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4T18:55:37.252"/>
    </inkml:context>
    <inkml:brush xml:id="br0">
      <inkml:brushProperty name="width" value="0.035" units="cm"/>
      <inkml:brushProperty name="height" value="0.035" units="cm"/>
    </inkml:brush>
  </inkml:definitions>
  <inkml:trace contextRef="#ctx0" brushRef="#br0">105 1 24575,'0'13'0,"-2"-2"0,-4 0 0,-2-2 0,4 1 0,3 2 0,4 4 0,0 0 0,-3 0 0,0 0 0,0 0 0,0 3 0,-1-6 0,-3-1 0,-6-9 0,-5-1 0,-4-10 0,1-7 0,6-17 0,5 12 0,4-8 0,3 20 0,3-1 0,7 4 0,6 3 0,7 2 0,-10 3 0,-2 4 0,-11 4 0,0 0 0,0-2 0,0-3 0,-3-3 0,0-2 0,0-3 0,1-3 0,2-1 0,0 0 0,0 1 0,3 2 0,3 4 0,3 15 0,2 9 0,-2 7 0,-4 1 0,-2-9 0,-3-5 0,0-7 0,0-6 0,0-3 0</inkml:trace>
</inkml:ink>
</file>

<file path=ppt/ink/ink2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4T18:55:40.036"/>
    </inkml:context>
    <inkml:brush xml:id="br0">
      <inkml:brushProperty name="width" value="0.035" units="cm"/>
      <inkml:brushProperty name="height" value="0.035" units="cm"/>
    </inkml:brush>
  </inkml:definitions>
  <inkml:trace contextRef="#ctx0" brushRef="#br0">142 0 24575,'-9'0'0,"-2"0"0,-11 0 0,9 3 0,-7 4 0,10 5 0,-5 7 0,-1 0 0,3-1 0,4-6 0,6-4 0,2 0 0,1 4 0,0 8 0,0 5 0,0 2 0,0 1 0,0-12 0,0 0 0,5-10 0,13 5 0,11-1 0,13 1 0,1-1 0,-11-6 0,-11-4 0,-14-4 0,-4-7 0,-1-4 0,1-4 0,5 1 0,-5 5 0,2 1 0,-5 3 0,0-9 0,0 6 0,0-7 0,0 11 0,0 5 0,0 14 0,0 17 0,0 10 0,0 4 0,0 0 0,0-17 0,0 6 0,0-4 0,0 21 0,0 19 0,0 13 0,0 3 0,0-12 0,0-20 0,1-17 0,2-16 0,-1-7 0,0-6 0</inkml:trace>
</inkml:ink>
</file>

<file path=ppt/ink/ink2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4T18:55:43.453"/>
    </inkml:context>
    <inkml:brush xml:id="br0">
      <inkml:brushProperty name="width" value="0.035" units="cm"/>
      <inkml:brushProperty name="height" value="0.035" units="cm"/>
    </inkml:brush>
  </inkml:definitions>
  <inkml:trace contextRef="#ctx0" brushRef="#br0">479 1 24575,'-13'0'0,"0"0"0,-4 0 0,-1 0 0,-4 0 0,4 0 0,3 0 0,6 0 0,0 0 0,-8 0 0,-8 0 0,-9 0 0,-1 0 0,13 0 0,-2 0 0,11 0 0,-4 0 0,-8 0 0,13 0 0,-6 0 0,15 4 0,1 7 0,1 7 0,1 5 0,0 1 0,0-5 0,0-4 0,0 2 0,0 2 0,0 10 0,0 8 0,1 1 0,2 1 0,0-5 0,2-20 0,3-11 0,7-19 0,7-6 0,3 0 0,-1 6 0,-8 6 0,-4 5 0,0 3 0,4 0 0,11-1 0,3 0 0,0 0 0,-6 3 0,-7 0 0,-4 3 0,-1 4 0,5 7 0,7 10 0,-8-10 0,2 4 0,-15-10 0,-1 7 0,-2 8 0,0-5 0,0 4 0,0-6 0,0 8 0,0 2 0,0 1 0,0-2 0,-3-5 0,-6-3 0,-11-2 0,-12 2 0,-7 1 0,2-4 0,-1-2 0,3-6 0,-8-4 0,-7 0 0,2-2 0,5 0 0,13-3 0,8-10 0,5-17 0,7 8 0,0-14 0,7 28 0,1-6 0,2 11 0,0 1 0</inkml:trace>
</inkml:ink>
</file>

<file path=ppt/ink/ink2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4T18:55:49.004"/>
    </inkml:context>
    <inkml:brush xml:id="br0">
      <inkml:brushProperty name="width" value="0.035" units="cm"/>
      <inkml:brushProperty name="height" value="0.035" units="cm"/>
    </inkml:brush>
  </inkml:definitions>
  <inkml:trace contextRef="#ctx0" brushRef="#br0">519 18 24575,'43'0'0,"44"0"0,-22 0 0,5 0 0,14 0 0,1 0 0,2 0 0,-1 0 0,-11-1 0,-1 0 0,-9-1 0,-2 0 0,-8 0 0,-1 0 0,42-2 0,-5 3 0,-3 1 0,-8 0 0,-1 0 0,-5 0 0,-3 0 0,1 0 0,-9 0 0,-9 0 0,-15 0 0,-11 0 0,-8 0 0,2 0 0,5 0 0,3 0 0,0 0 0,-6 0 0,-7 0 0,4 0 0,7 0 0,5 0 0,1 0 0,-3 0 0,-17-2 0,-3 4 0,-11 12 0,0 19 0,0 26 0,0 19 0,0 6 0,0-5 0,0-12 0,0-9 0,0-4 0,0 2 0,0 6 0,0 6 0,0 6 0,0-3 0,0-2 0,0-8 0,0-6 0,0-9 0,0-12 0,0-7 0,2-7 0,4 3 0,4 10 0,2 12 0,-3 13 0,1 9 0,-2 3 0,-1 0 0,0-7 0,-2-4 0,0-5 0,0-4 0,2 0 0,1-4 0,-2-1 0,1 1 0,-1 0 0,-2 4 0,-1 3 0,-2-2 0,1-9 0,1-7 0,0-5 0,0 10 0,-3 25 0,0 25 0,0-39 0,0 2 0,0 46 0,0-17 0,0-20 0,0-13 0,0-7 0,0-6 0,0-5 0,0-8 0,0-6 0,-3-7 0,-2-4 0,-11-4 0,-17-2 0,-19 0 0,-19 0 0,-12 0 0,-3-3 0,2-3 0,-3-7 0,-8-6 0,43 9 0,-2 0 0,-5-1 0,1 0 0,0 2 0,0 0 0,5 1 0,2 2 0,-40-4 0,11 6 0,6 4 0,0 0 0,-6 0 0,-3 0 0,-4 0 0,-3 0 0,0 0 0,-3 0 0,2 0 0,6 0 0,10 0 0,6 3 0,5 7 0,1 6 0,-2 5 0,1 4 0,3-2 0,7 0 0,3 1 0,6-3 0,5 0 0,8-5 0,9-4 0,4-4 0,5-2 0,6-4 0,4-2 0</inkml:trace>
</inkml:ink>
</file>

<file path=ppt/ink/ink2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4T18:55:51.153"/>
    </inkml:context>
    <inkml:brush xml:id="br0">
      <inkml:brushProperty name="width" value="0.035" units="cm"/>
      <inkml:brushProperty name="height" value="0.035" units="cm"/>
    </inkml:brush>
  </inkml:definitions>
  <inkml:trace contextRef="#ctx0" brushRef="#br0">0 234 24575,'20'0'0,"25"0"0,31 0 0,22-7 0,-43 1 0,0 0 0,-2-1 0,0 1 0,-2-2 0,-1 0 0,39-3 0,-23 3 0,-20-2 0,-21 5 0,-10 2 0,-3 1 0,8-1 0,26-4 0,36-4 0,-30 4 0,3 0 0,0-1 0,0 1 0,31-4 0,-32 4 0,-20 4 0,-6 0 0,13-1 0,17-3 0,6 1 0,-6 2 0,-13 2 0,-24 2 0,0 0 0,-4-3 0,18 0 0,12-1 0,9 1 0,-2 3 0,-13 0 0,-5 0 0,-18 0 0,-2-1 0,-13-2 0,7 0 0,11 0 0,11 0 0,8-3 0,-1-1 0,-19 0 0,-6 3 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4T18:50:55.515"/>
    </inkml:context>
    <inkml:brush xml:id="br0">
      <inkml:brushProperty name="width" value="0.035" units="cm"/>
      <inkml:brushProperty name="height" value="0.035" units="cm"/>
    </inkml:brush>
  </inkml:definitions>
  <inkml:trace contextRef="#ctx0" brushRef="#br0">1 0 24575,'0'0'0</inkml:trace>
</inkml:ink>
</file>

<file path=ppt/ink/ink3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4T18:55:53.204"/>
    </inkml:context>
    <inkml:brush xml:id="br0">
      <inkml:brushProperty name="width" value="0.035" units="cm"/>
      <inkml:brushProperty name="height" value="0.035" units="cm"/>
    </inkml:brush>
  </inkml:definitions>
  <inkml:trace contextRef="#ctx0" brushRef="#br0">1 35 24575,'8'0'0,"8"0"0,4 0 0,-2 0 0,0 0 0,8 0 0,26 0 0,25 0 0,10 0 0,-11 0 0,-25 0 0,-17 0 0,9 0 0,29 0 0,-22 0 0,4 0 0,7 0 0,1 0 0,-6 0 0,-4 0 0,25 0 0,-29 0 0,-15 0 0,13 0 0,25 0 0,24 0 0,-44 0 0,-1 0 0,37 0 0,-26 0 0,-15 0 0,15 0 0,26 0 0,-30 0 0,3 0 0,5 0 0,-1 0 0,-8 0 0,-4 0 0,27 0 0,-31 0 0,-20 0 0,-2 0 0,18-4 0,19 0 0,18-1 0,1-1 0,-18 2 0,-20 1 0,-20 1 0,-10 2 0,-4 0 0,-4 0 0,5 0 0,7 0 0,10 0 0,3-1 0,-5-1 0,-10 0 0,-10 0 0</inkml:trace>
</inkml:ink>
</file>

<file path=ppt/ink/ink3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4T18:55:57.521"/>
    </inkml:context>
    <inkml:brush xml:id="br0">
      <inkml:brushProperty name="width" value="0.035" units="cm"/>
      <inkml:brushProperty name="height" value="0.035" units="cm"/>
    </inkml:brush>
  </inkml:definitions>
  <inkml:trace contextRef="#ctx0" brushRef="#br0">116 87 24575,'23'0'0,"18"0"0,25 0 0,10 0 0,-12 0 0,-12 0 0,-28 0 0,-3 0 0,7 0 0,36 0 0,-13 0 0,5 0 0,13 0 0,4 0 0,-1-1 0,0-1 0,-11 1 0,-4-1 0,22-3 0,-33 2 0,-10-2 0,13 1 0,25-4 0,-24 4 0,3 1 0,2 0 0,-1 1 0,43-1 0,-28 3 0,-27-1 0,-10-2 0,12-3 0,21-3 0,23-1 0,8 3 0,-12 3 0,-21 3 0,-25 1 0,-14 0 0,-3 0 0,12 0 0,15 0 0,9 0 0,-4 0 0,-12 0 0,-18 0 0,-11 3 0,-6 12 0,-5 23 0,-1 30 0,0 26 0,0-42 0,0 1 0,0 0 0,0 0 0,0 47 0,0-50 0,0 1 0,0 1 0,0 1 0,0 1 0,0 1 0,0 1 0,0 1 0,0-3 0,0-1 0,0-2 0,0-1 0,0 45 0,0-13 0,0-11 0,0-5 0,0 3 0,0 14 0,0 11 0,0 6 0,0-6 0,3-12 0,1-12 0,-1-12 0,0-12 0,-3-9 0,0-13 0,0-9 0,-9-6 0,-7-4 0,-18-3 0,-17-2 0,-14-3 0,-18-2 0,-11 1 0,42 2 0,-1 1 0,-6 1 0,-1 0 0,-3 0 0,0 0 0,1 0 0,0 0 0,3 0 0,1 0 0,5 0 0,1 0 0,-43 0 0,8 0 0,6 0 0,10 0 0,3 0 0,0 0 0,-6 0 0,-9 0 0,-1 0 0,5 0 0,12 0 0,9 0 0,2 0 0,-6 0 0,-6 2 0,-6 3 0,5 2 0,14 2 0,19-2 0,11-3 0,10-2 0,-9-1 0,-3-1 0,-8 0 0,-3 0 0,6 0 0,3 0 0,15 0 0,5 0 0</inkml:trace>
</inkml:ink>
</file>

<file path=ppt/ink/ink3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4T18:55:59.388"/>
    </inkml:context>
    <inkml:brush xml:id="br0">
      <inkml:brushProperty name="width" value="0.035" units="cm"/>
      <inkml:brushProperty name="height" value="0.035" units="cm"/>
    </inkml:brush>
  </inkml:definitions>
  <inkml:trace contextRef="#ctx0" brushRef="#br0">1 0 24575,'33'0'0,"29"0"0,24 0 0,10 0 0,-8 0 0,-15 0 0,1 0 0,6 0 0,3 0 0,5 0 0,-4 0 0,-4 0 0,4 0 0,0 0 0,7 0 0,1 0 0,-6 0 0,-1 0 0,-5 0 0,-2 0 0,0 0 0,-8 0 0,-8 0 0,-16 0 0,-11 0 0,0 0 0,15 0 0,24 0 0,25 0 0,-49 0 0,0 0 0,33 0 0,-26 0 0,-26 0 0,-15 0 0,-5 0 0,-5 0 0,0 0 0,7 0 0,6 0 0,6 0 0,2 0 0,-7 0 0,-5 0 0,-1 0 0,1 0 0,4 0 0,-3 0 0,-6 0 0,-5 0 0</inkml:trace>
</inkml:ink>
</file>

<file path=ppt/ink/ink3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4T18:56:04.540"/>
    </inkml:context>
    <inkml:brush xml:id="br0">
      <inkml:brushProperty name="width" value="0.035" units="cm"/>
      <inkml:brushProperty name="height" value="0.035" units="cm"/>
    </inkml:brush>
  </inkml:definitions>
  <inkml:trace contextRef="#ctx0" brushRef="#br0">222 35 24575,'15'0'0,"10"0"0,25 0 0,28 0 0,-27 0 0,4 0 0,6 0 0,1 0 0,-1 0 0,-2 0 0,-5 0 0,-4 0 0,35 0 0,-16 0 0,-5 0 0,2 0 0,-7 0 0,-7 0 0,-11 0 0,-13 0 0,-5 0 0,7 0 0,15 0 0,25-8 0,20-1 0,5-1 0,-1 3 0,-16 7 0,-10 0 0,-10 0 0,-6 0 0,-7 0 0,-10 0 0,-6 0 0,-16 5 0,-2 10 0,-11 19 0,0 18 0,0 15 0,0 7 0,0 1 0,0 0 0,0 10 0,0 8 0,0-41 0,0 1 0,0 6 0,2 1 0,1 2 0,1-1 0,0 1 0,1-1 0,1-4 0,0-3 0,4 35 0,-4-16 0,-2-12 0,-2-6 0,5 4 0,2 2 0,3 8 0,2 11 0,4 4 0,1-1 0,0-17 0,-6-19 0,-6-15 0,-1-18 0,-2-3 0,-1-8 0,-8 2 0,-28 1 0,-36-1 0,16-3 0,-5-1 0,-14-1 0,-2 0 0,-2 0 0,1 0 0,1 0 0,3 0 0,9 0 0,3 0 0,7 0 0,3 0 0,-41 0 0,12 0 0,5 0 0,14 0 0,15 0 0,9 0 0,0 0 0,-9 0 0,-10-5 0,-4-5 0,6-1 0,9-1 0,9 5 0,3 3 0,3 1 0,5 3 0,6-2 0,3-1 0,-5-1 0,-11 2 0,-8 2 0,-4 0 0,7 0 0,10 0 0,7 0 0,0 0 0,-7 0 0,-4 2 0,1 2 0,6 1 0,0 4 0,-13 3 0,-17 6 0,-9 1 0,4-1 0,13-4 0,24-8 0,9-2 0</inkml:trace>
</inkml:ink>
</file>

<file path=ppt/ink/ink3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4T18:56:06.571"/>
    </inkml:context>
    <inkml:brush xml:id="br0">
      <inkml:brushProperty name="width" value="0.035" units="cm"/>
      <inkml:brushProperty name="height" value="0.035" units="cm"/>
    </inkml:brush>
  </inkml:definitions>
  <inkml:trace contextRef="#ctx0" brushRef="#br0">0 65 24575,'15'0'0,"16"0"0,20 0 0,8 0 0,-3 0 0,-16 0 0,-10 0 0,8 0 0,19 0 0,27 0 0,-31 0 0,2 0 0,4 0 0,1 0 0,-2 0 0,-1 0 0,-4 0 0,-2 0 0,43 0 0,-6 0 0,-3 0 0,-2 0 0,-10 0 0,-11 0 0,-7 0 0,-5 0 0,-3 0 0,-3-3 0,-4 0 0,-8 0 0,-8 1 0,-9 2 0,-4 0 0,1 0 0,3 0 0,5 0 0,6 0 0,-10 0 0,2 0 0,-11 0 0,6-3 0,4 0 0,6 0 0,7-2 0,1 1 0,0 1 0,-9 0 0,-6 3 0,-4 0 0,0-2 0,4-1 0,2 0 0,0 0 0,-5 3 0,2 0 0,9 0 0,13-3 0,5 0-6784,-3-1 6784,-14 1 0,-13 1 0,-7 1 0,-4-1 0</inkml:trace>
</inkml:ink>
</file>

<file path=ppt/ink/ink3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4T18:56:11.240"/>
    </inkml:context>
    <inkml:brush xml:id="br0">
      <inkml:brushProperty name="width" value="0.035" units="cm"/>
      <inkml:brushProperty name="height" value="0.035" units="cm"/>
    </inkml:brush>
  </inkml:definitions>
  <inkml:trace contextRef="#ctx0" brushRef="#br0">1 0 24575,'0'0'0</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4T18:50:57.034"/>
    </inkml:context>
    <inkml:brush xml:id="br0">
      <inkml:brushProperty name="width" value="0.035" units="cm"/>
      <inkml:brushProperty name="height" value="0.035" units="cm"/>
    </inkml:brush>
  </inkml:definitions>
  <inkml:trace contextRef="#ctx0" brushRef="#br0">1 0 24575,'0'0'0</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4T18:51:02.198"/>
    </inkml:context>
    <inkml:brush xml:id="br0">
      <inkml:brushProperty name="width" value="0.035" units="cm"/>
      <inkml:brushProperty name="height" value="0.035" units="cm"/>
    </inkml:brush>
  </inkml:definitions>
  <inkml:trace contextRef="#ctx0" brushRef="#br0">0 0 24575,'0'0'0</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4T18:51:09.018"/>
    </inkml:context>
    <inkml:brush xml:id="br0">
      <inkml:brushProperty name="width" value="0.035" units="cm"/>
      <inkml:brushProperty name="height" value="0.035" units="cm"/>
    </inkml:brush>
  </inkml:definitions>
  <inkml:trace contextRef="#ctx0" brushRef="#br0">0 0 24575,'0'0'0</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4T18:54:45.149"/>
    </inkml:context>
    <inkml:brush xml:id="br0">
      <inkml:brushProperty name="width" value="0.035" units="cm"/>
      <inkml:brushProperty name="height" value="0.035" units="cm"/>
    </inkml:brush>
  </inkml:definitions>
  <inkml:trace contextRef="#ctx0" brushRef="#br0">181 113 24575,'0'47'0,"0"46"0,0-23 0,0 6 0,0 10 0,0 1 0,0-10 0,0-3 0,0-16 0,0-6 0,0 14 0,0-29 0,0-20 0,0-5 0,0-6 0,0 0 0,0 3 0,0 10 0,0 8 0,0 6 0,0-2 0,0-12 0,0-9 0,0-16 0,0-18 0,0-18 0,0-21 0,-4-21 0,-5-9 0,0 40 0,0 1 0,-2-2 0,1 2 0,-6-41 0,7 12 0,8 23 0,1 18 0,0 19 0,0 7 0,0 9 0,0-4 0,0-8 0,0-11 0,0-8 0,0-3 0,0 8 0,0 9 0,0 10 0,3 5 0,11-2 0,19-3 0,18-4 0,9-2 0,-7 4 0,-13 3 0,-16 5 0,-11 3 0,-3 3 0,0 3 0,1 6 0,2 6 0,1 8 0,-7-8 0,-1 3 0,-6-10 0,0 3 0,0 2 0,0 3 0,0 7 0,0 7 0,-5 1 0,-7 3 0,-6-4 0,-3-3 0,3-1 0,5-7 0,6-4 0,2-5 0,2-4 0,-2 1 0,-13 5 0,-19 8 0,-22 9 0,-10 4 0,5-2 0,17-5 0,21-11 0,11-8 0,6-4 0,2-3 0,3 0 0,1 0 0</inkml:trace>
</inkml:ink>
</file>

<file path=ppt/ink/ink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4T18:54:46.865"/>
    </inkml:context>
    <inkml:brush xml:id="br0">
      <inkml:brushProperty name="width" value="0.035" units="cm"/>
      <inkml:brushProperty name="height" value="0.035" units="cm"/>
    </inkml:brush>
  </inkml:definitions>
  <inkml:trace contextRef="#ctx0" brushRef="#br0">0 1 24575,'0'15'0,"0"-1"0,0 19 0,0 0 0,0 5 0,0-4 0,0-2 0,0 10 0,0 24 0,0 19 0,0 7 0,0-4 0,2-15 0,4-10 0,4-7 0,3-12 0,0-8 0,-2-12 0,-3-12 0,-3-4 0,-2-5 0,1 4 0,6 14 0,8 22 0,9 22 0,2 13 0,-2-10 0,-6-20 0,-7-20 0,-7-14 0,-5-5 0,-2-5 0,0-2 0</inkml:trace>
</inkml:ink>
</file>

<file path=ppt/ink/ink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4T18:55:23.001"/>
    </inkml:context>
    <inkml:brush xml:id="br0">
      <inkml:brushProperty name="width" value="0.035" units="cm"/>
      <inkml:brushProperty name="height" value="0.035" units="cm"/>
    </inkml:brush>
  </inkml:definitions>
  <inkml:trace contextRef="#ctx0" brushRef="#br0">93 61 24575,'0'22'0,"0"-13"0,0 13 0,0-17 0,0 6 0,0 20 0,0 23 0,0 24 0,0 10 0,0-12 0,0-12 0,0-14 0,0-11 0,0-2 0,0-18 0,0-3 0,0-9 0,0 9 0,0 8 0,0 5 0,0 2 0,0-8 0,0-8 0,0-4 0,0-2 0,0 6 0,0-4 0,0-2 0,-3-34 0,-4-27 0,-4-26 0,0-2 0,2 16 0,2 19 0,5 19 0,-2-5 0,4-2 0,0-11 0,0 2 0,0 5 0,0 17 0,0-2 0,3-4 0,2-11 0,1-2 0,1 4 0,-4 12 0,1 10 0,-1 3 0,2 5 0,5 0 0,3-5 0,10-4 0,6-3 0,2 0 0,-1 0 0,-12 10 0,-6 0 0,-6 7 0,3 0 0,5 9 0,6 15 0,4 13 0,0 8 0,-4-4 0,-7-9 0,-7-13 0,-4-1 0,-2 1 0,0 14 0,0 15 0,0 9 0,0 5 0,0 1 0,0-7 0,0-1 0,0-7 0,0-2 0,0 4 0,0-3 0,0-5 0,0-5 0,0-17 0,0 3 0,0-7 0,0 2 0,0-3 0,0-8 0,0-15 0,0-22 0,0-15 0,0-4 0,0 9 0,0 16 0,0 11 0,0 1 0,0-3 0,0-6 0,0-6 0,0-5 0,0 12 0,0-3 0,0 10 0,0-4 0,0-1 0,0 3 0,0 3 0,-4 5 0,-5-1 0,-16-4 0,-14-3 0,-11 0 0,0 2 0,12 6 0,15 4 0,7 2 0,-2 1 0,-5 0 0,-2 0 0,2 0 0,6 0 0,6 0 0,6 0 0,2 0 0</inkml:trace>
</inkml:ink>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1C1B0C-C160-5057-2E14-A3FF6264E9AB}"/>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US"/>
          </a:p>
        </p:txBody>
      </p:sp>
      <p:sp>
        <p:nvSpPr>
          <p:cNvPr id="3" name="Subtitle 2">
            <a:extLst>
              <a:ext uri="{FF2B5EF4-FFF2-40B4-BE49-F238E27FC236}">
                <a16:creationId xmlns:a16="http://schemas.microsoft.com/office/drawing/2014/main" id="{D0711D3A-6F14-37F5-53E0-9F30F24684E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4" name="Date Placeholder 3">
            <a:extLst>
              <a:ext uri="{FF2B5EF4-FFF2-40B4-BE49-F238E27FC236}">
                <a16:creationId xmlns:a16="http://schemas.microsoft.com/office/drawing/2014/main" id="{2461D957-24DF-B0A3-66C0-79BF3D69895C}"/>
              </a:ext>
            </a:extLst>
          </p:cNvPr>
          <p:cNvSpPr>
            <a:spLocks noGrp="1"/>
          </p:cNvSpPr>
          <p:nvPr>
            <p:ph type="dt" sz="half" idx="10"/>
          </p:nvPr>
        </p:nvSpPr>
        <p:spPr/>
        <p:txBody>
          <a:bodyPr/>
          <a:lstStyle/>
          <a:p>
            <a:fld id="{A8B16BE2-4A0E-A74D-A6A6-E12734834524}" type="datetimeFigureOut">
              <a:rPr lang="en-US" smtClean="0"/>
              <a:t>9/30/2024</a:t>
            </a:fld>
            <a:endParaRPr lang="en-US"/>
          </a:p>
        </p:txBody>
      </p:sp>
      <p:sp>
        <p:nvSpPr>
          <p:cNvPr id="5" name="Footer Placeholder 4">
            <a:extLst>
              <a:ext uri="{FF2B5EF4-FFF2-40B4-BE49-F238E27FC236}">
                <a16:creationId xmlns:a16="http://schemas.microsoft.com/office/drawing/2014/main" id="{5709E85F-FCD0-70EE-4D54-05009F51D73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BE1674C-A657-305B-3340-5DF00D4A7804}"/>
              </a:ext>
            </a:extLst>
          </p:cNvPr>
          <p:cNvSpPr>
            <a:spLocks noGrp="1"/>
          </p:cNvSpPr>
          <p:nvPr>
            <p:ph type="sldNum" sz="quarter" idx="12"/>
          </p:nvPr>
        </p:nvSpPr>
        <p:spPr/>
        <p:txBody>
          <a:bodyPr/>
          <a:lstStyle/>
          <a:p>
            <a:fld id="{AC7C9D87-5C21-5B4C-9029-039752023606}" type="slidenum">
              <a:rPr lang="en-US" smtClean="0"/>
              <a:t>‹#›</a:t>
            </a:fld>
            <a:endParaRPr lang="en-US"/>
          </a:p>
        </p:txBody>
      </p:sp>
    </p:spTree>
    <p:extLst>
      <p:ext uri="{BB962C8B-B14F-4D97-AF65-F5344CB8AC3E}">
        <p14:creationId xmlns:p14="http://schemas.microsoft.com/office/powerpoint/2010/main" val="407752653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5FA8D4-6C4C-3448-1446-F01288870D17}"/>
              </a:ext>
            </a:extLst>
          </p:cNvPr>
          <p:cNvSpPr>
            <a:spLocks noGrp="1"/>
          </p:cNvSpPr>
          <p:nvPr>
            <p:ph type="title"/>
          </p:nvPr>
        </p:nvSpPr>
        <p:spPr/>
        <p:txBody>
          <a:bodyPr/>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3692AE0E-E682-643A-F2CC-16E952B6540C}"/>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A6A8FE60-519F-46CD-5F1B-77BFD4E9AC93}"/>
              </a:ext>
            </a:extLst>
          </p:cNvPr>
          <p:cNvSpPr>
            <a:spLocks noGrp="1"/>
          </p:cNvSpPr>
          <p:nvPr>
            <p:ph type="dt" sz="half" idx="10"/>
          </p:nvPr>
        </p:nvSpPr>
        <p:spPr/>
        <p:txBody>
          <a:bodyPr/>
          <a:lstStyle/>
          <a:p>
            <a:fld id="{A8B16BE2-4A0E-A74D-A6A6-E12734834524}" type="datetimeFigureOut">
              <a:rPr lang="en-US" smtClean="0"/>
              <a:t>9/30/2024</a:t>
            </a:fld>
            <a:endParaRPr lang="en-US"/>
          </a:p>
        </p:txBody>
      </p:sp>
      <p:sp>
        <p:nvSpPr>
          <p:cNvPr id="5" name="Footer Placeholder 4">
            <a:extLst>
              <a:ext uri="{FF2B5EF4-FFF2-40B4-BE49-F238E27FC236}">
                <a16:creationId xmlns:a16="http://schemas.microsoft.com/office/drawing/2014/main" id="{D17DC53C-0E85-E262-78FA-2FAAC6ECF67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77A5648-D384-EE99-92A1-CEB4841928AC}"/>
              </a:ext>
            </a:extLst>
          </p:cNvPr>
          <p:cNvSpPr>
            <a:spLocks noGrp="1"/>
          </p:cNvSpPr>
          <p:nvPr>
            <p:ph type="sldNum" sz="quarter" idx="12"/>
          </p:nvPr>
        </p:nvSpPr>
        <p:spPr/>
        <p:txBody>
          <a:bodyPr/>
          <a:lstStyle/>
          <a:p>
            <a:fld id="{AC7C9D87-5C21-5B4C-9029-039752023606}" type="slidenum">
              <a:rPr lang="en-US" smtClean="0"/>
              <a:t>‹#›</a:t>
            </a:fld>
            <a:endParaRPr lang="en-US"/>
          </a:p>
        </p:txBody>
      </p:sp>
    </p:spTree>
    <p:extLst>
      <p:ext uri="{BB962C8B-B14F-4D97-AF65-F5344CB8AC3E}">
        <p14:creationId xmlns:p14="http://schemas.microsoft.com/office/powerpoint/2010/main" val="28141865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8538231-30ED-910F-FF95-89737DEAB61B}"/>
              </a:ext>
            </a:extLst>
          </p:cNvPr>
          <p:cNvSpPr>
            <a:spLocks noGrp="1"/>
          </p:cNvSpPr>
          <p:nvPr>
            <p:ph type="title" orient="vert"/>
          </p:nvPr>
        </p:nvSpPr>
        <p:spPr>
          <a:xfrm>
            <a:off x="8724900" y="365125"/>
            <a:ext cx="2628900" cy="5811838"/>
          </a:xfrm>
        </p:spPr>
        <p:txBody>
          <a:bodyPr vert="eaVert"/>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19BBDDF6-CBA8-A873-AF08-F7C7297B45A3}"/>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E0F3B2CD-31D4-23E1-2F95-5EC7CF97C662}"/>
              </a:ext>
            </a:extLst>
          </p:cNvPr>
          <p:cNvSpPr>
            <a:spLocks noGrp="1"/>
          </p:cNvSpPr>
          <p:nvPr>
            <p:ph type="dt" sz="half" idx="10"/>
          </p:nvPr>
        </p:nvSpPr>
        <p:spPr/>
        <p:txBody>
          <a:bodyPr/>
          <a:lstStyle/>
          <a:p>
            <a:fld id="{A8B16BE2-4A0E-A74D-A6A6-E12734834524}" type="datetimeFigureOut">
              <a:rPr lang="en-US" smtClean="0"/>
              <a:t>9/30/2024</a:t>
            </a:fld>
            <a:endParaRPr lang="en-US"/>
          </a:p>
        </p:txBody>
      </p:sp>
      <p:sp>
        <p:nvSpPr>
          <p:cNvPr id="5" name="Footer Placeholder 4">
            <a:extLst>
              <a:ext uri="{FF2B5EF4-FFF2-40B4-BE49-F238E27FC236}">
                <a16:creationId xmlns:a16="http://schemas.microsoft.com/office/drawing/2014/main" id="{73E75E57-AF2A-236C-75C2-B07E04CEC55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C22400E-6F3A-39D9-6C3F-E31C80343D1F}"/>
              </a:ext>
            </a:extLst>
          </p:cNvPr>
          <p:cNvSpPr>
            <a:spLocks noGrp="1"/>
          </p:cNvSpPr>
          <p:nvPr>
            <p:ph type="sldNum" sz="quarter" idx="12"/>
          </p:nvPr>
        </p:nvSpPr>
        <p:spPr/>
        <p:txBody>
          <a:bodyPr/>
          <a:lstStyle/>
          <a:p>
            <a:fld id="{AC7C9D87-5C21-5B4C-9029-039752023606}" type="slidenum">
              <a:rPr lang="en-US" smtClean="0"/>
              <a:t>‹#›</a:t>
            </a:fld>
            <a:endParaRPr lang="en-US"/>
          </a:p>
        </p:txBody>
      </p:sp>
    </p:spTree>
    <p:extLst>
      <p:ext uri="{BB962C8B-B14F-4D97-AF65-F5344CB8AC3E}">
        <p14:creationId xmlns:p14="http://schemas.microsoft.com/office/powerpoint/2010/main" val="255700296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88AE4D-3101-0892-7DDA-564424D4D082}"/>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59FE64F8-3B2E-C3B3-3AC6-96BA94182068}"/>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7B0C01B1-55E4-9AED-8DD6-B8BE5CFF15E3}"/>
              </a:ext>
            </a:extLst>
          </p:cNvPr>
          <p:cNvSpPr>
            <a:spLocks noGrp="1"/>
          </p:cNvSpPr>
          <p:nvPr>
            <p:ph type="dt" sz="half" idx="10"/>
          </p:nvPr>
        </p:nvSpPr>
        <p:spPr/>
        <p:txBody>
          <a:bodyPr/>
          <a:lstStyle/>
          <a:p>
            <a:fld id="{A8B16BE2-4A0E-A74D-A6A6-E12734834524}" type="datetimeFigureOut">
              <a:rPr lang="en-US" smtClean="0"/>
              <a:t>9/30/2024</a:t>
            </a:fld>
            <a:endParaRPr lang="en-US"/>
          </a:p>
        </p:txBody>
      </p:sp>
      <p:sp>
        <p:nvSpPr>
          <p:cNvPr id="5" name="Footer Placeholder 4">
            <a:extLst>
              <a:ext uri="{FF2B5EF4-FFF2-40B4-BE49-F238E27FC236}">
                <a16:creationId xmlns:a16="http://schemas.microsoft.com/office/drawing/2014/main" id="{794AB0F5-A414-252B-3E04-D3E7C0CC3A0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E035949-5761-797F-F619-07AA6DADB8E6}"/>
              </a:ext>
            </a:extLst>
          </p:cNvPr>
          <p:cNvSpPr>
            <a:spLocks noGrp="1"/>
          </p:cNvSpPr>
          <p:nvPr>
            <p:ph type="sldNum" sz="quarter" idx="12"/>
          </p:nvPr>
        </p:nvSpPr>
        <p:spPr/>
        <p:txBody>
          <a:bodyPr/>
          <a:lstStyle/>
          <a:p>
            <a:fld id="{AC7C9D87-5C21-5B4C-9029-039752023606}" type="slidenum">
              <a:rPr lang="en-US" smtClean="0"/>
              <a:t>‹#›</a:t>
            </a:fld>
            <a:endParaRPr lang="en-US"/>
          </a:p>
        </p:txBody>
      </p:sp>
    </p:spTree>
    <p:extLst>
      <p:ext uri="{BB962C8B-B14F-4D97-AF65-F5344CB8AC3E}">
        <p14:creationId xmlns:p14="http://schemas.microsoft.com/office/powerpoint/2010/main" val="13148666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1F5459-13DF-9B40-8C32-9A90E1325C96}"/>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en-US"/>
          </a:p>
        </p:txBody>
      </p:sp>
      <p:sp>
        <p:nvSpPr>
          <p:cNvPr id="3" name="Text Placeholder 2">
            <a:extLst>
              <a:ext uri="{FF2B5EF4-FFF2-40B4-BE49-F238E27FC236}">
                <a16:creationId xmlns:a16="http://schemas.microsoft.com/office/drawing/2014/main" id="{1315AC3E-1153-7C01-FC61-C4E10B16B53F}"/>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AFCC55F5-D265-6895-62F8-64B286B9AD82}"/>
              </a:ext>
            </a:extLst>
          </p:cNvPr>
          <p:cNvSpPr>
            <a:spLocks noGrp="1"/>
          </p:cNvSpPr>
          <p:nvPr>
            <p:ph type="dt" sz="half" idx="10"/>
          </p:nvPr>
        </p:nvSpPr>
        <p:spPr/>
        <p:txBody>
          <a:bodyPr/>
          <a:lstStyle/>
          <a:p>
            <a:fld id="{A8B16BE2-4A0E-A74D-A6A6-E12734834524}" type="datetimeFigureOut">
              <a:rPr lang="en-US" smtClean="0"/>
              <a:t>9/30/2024</a:t>
            </a:fld>
            <a:endParaRPr lang="en-US"/>
          </a:p>
        </p:txBody>
      </p:sp>
      <p:sp>
        <p:nvSpPr>
          <p:cNvPr id="5" name="Footer Placeholder 4">
            <a:extLst>
              <a:ext uri="{FF2B5EF4-FFF2-40B4-BE49-F238E27FC236}">
                <a16:creationId xmlns:a16="http://schemas.microsoft.com/office/drawing/2014/main" id="{EC75CF9F-162D-708B-E43B-BF480E3FE2B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1A1862E-D899-FD68-40FC-BDF382529ABE}"/>
              </a:ext>
            </a:extLst>
          </p:cNvPr>
          <p:cNvSpPr>
            <a:spLocks noGrp="1"/>
          </p:cNvSpPr>
          <p:nvPr>
            <p:ph type="sldNum" sz="quarter" idx="12"/>
          </p:nvPr>
        </p:nvSpPr>
        <p:spPr/>
        <p:txBody>
          <a:bodyPr/>
          <a:lstStyle/>
          <a:p>
            <a:fld id="{AC7C9D87-5C21-5B4C-9029-039752023606}" type="slidenum">
              <a:rPr lang="en-US" smtClean="0"/>
              <a:t>‹#›</a:t>
            </a:fld>
            <a:endParaRPr lang="en-US"/>
          </a:p>
        </p:txBody>
      </p:sp>
    </p:spTree>
    <p:extLst>
      <p:ext uri="{BB962C8B-B14F-4D97-AF65-F5344CB8AC3E}">
        <p14:creationId xmlns:p14="http://schemas.microsoft.com/office/powerpoint/2010/main" val="295764451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75FEE5-6936-E394-10E7-EF04AB1E64F6}"/>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B1B9C80B-7B51-E532-6C68-F4E942C74EDB}"/>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a:extLst>
              <a:ext uri="{FF2B5EF4-FFF2-40B4-BE49-F238E27FC236}">
                <a16:creationId xmlns:a16="http://schemas.microsoft.com/office/drawing/2014/main" id="{92F2D228-19B6-726D-E3BE-BF4D733E7B65}"/>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a:extLst>
              <a:ext uri="{FF2B5EF4-FFF2-40B4-BE49-F238E27FC236}">
                <a16:creationId xmlns:a16="http://schemas.microsoft.com/office/drawing/2014/main" id="{71528541-E82B-27FC-9572-28EB6726255A}"/>
              </a:ext>
            </a:extLst>
          </p:cNvPr>
          <p:cNvSpPr>
            <a:spLocks noGrp="1"/>
          </p:cNvSpPr>
          <p:nvPr>
            <p:ph type="dt" sz="half" idx="10"/>
          </p:nvPr>
        </p:nvSpPr>
        <p:spPr/>
        <p:txBody>
          <a:bodyPr/>
          <a:lstStyle/>
          <a:p>
            <a:fld id="{A8B16BE2-4A0E-A74D-A6A6-E12734834524}" type="datetimeFigureOut">
              <a:rPr lang="en-US" smtClean="0"/>
              <a:t>9/30/2024</a:t>
            </a:fld>
            <a:endParaRPr lang="en-US"/>
          </a:p>
        </p:txBody>
      </p:sp>
      <p:sp>
        <p:nvSpPr>
          <p:cNvPr id="6" name="Footer Placeholder 5">
            <a:extLst>
              <a:ext uri="{FF2B5EF4-FFF2-40B4-BE49-F238E27FC236}">
                <a16:creationId xmlns:a16="http://schemas.microsoft.com/office/drawing/2014/main" id="{0B80A41A-A0AF-4912-44C7-F105E3D5A1E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55B6F25-77F8-484E-E8C4-84A1B2A4D93C}"/>
              </a:ext>
            </a:extLst>
          </p:cNvPr>
          <p:cNvSpPr>
            <a:spLocks noGrp="1"/>
          </p:cNvSpPr>
          <p:nvPr>
            <p:ph type="sldNum" sz="quarter" idx="12"/>
          </p:nvPr>
        </p:nvSpPr>
        <p:spPr/>
        <p:txBody>
          <a:bodyPr/>
          <a:lstStyle/>
          <a:p>
            <a:fld id="{AC7C9D87-5C21-5B4C-9029-039752023606}" type="slidenum">
              <a:rPr lang="en-US" smtClean="0"/>
              <a:t>‹#›</a:t>
            </a:fld>
            <a:endParaRPr lang="en-US"/>
          </a:p>
        </p:txBody>
      </p:sp>
    </p:spTree>
    <p:extLst>
      <p:ext uri="{BB962C8B-B14F-4D97-AF65-F5344CB8AC3E}">
        <p14:creationId xmlns:p14="http://schemas.microsoft.com/office/powerpoint/2010/main" val="4230376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9AD778-A67C-FA30-75E0-9B7B49CA0087}"/>
              </a:ext>
            </a:extLst>
          </p:cNvPr>
          <p:cNvSpPr>
            <a:spLocks noGrp="1"/>
          </p:cNvSpPr>
          <p:nvPr>
            <p:ph type="title"/>
          </p:nvPr>
        </p:nvSpPr>
        <p:spPr>
          <a:xfrm>
            <a:off x="839788" y="365125"/>
            <a:ext cx="10515600" cy="1325563"/>
          </a:xfrm>
        </p:spPr>
        <p:txBody>
          <a:bodyPr/>
          <a:lstStyle/>
          <a:p>
            <a:r>
              <a:rPr lang="en-GB"/>
              <a:t>Click to edit Master title style</a:t>
            </a:r>
            <a:endParaRPr lang="en-US"/>
          </a:p>
        </p:txBody>
      </p:sp>
      <p:sp>
        <p:nvSpPr>
          <p:cNvPr id="3" name="Text Placeholder 2">
            <a:extLst>
              <a:ext uri="{FF2B5EF4-FFF2-40B4-BE49-F238E27FC236}">
                <a16:creationId xmlns:a16="http://schemas.microsoft.com/office/drawing/2014/main" id="{8AB22574-3F6A-5CB0-AD9B-4BFB746C24C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45ADE367-78BA-31CA-5F47-4981BACD024E}"/>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a:extLst>
              <a:ext uri="{FF2B5EF4-FFF2-40B4-BE49-F238E27FC236}">
                <a16:creationId xmlns:a16="http://schemas.microsoft.com/office/drawing/2014/main" id="{937811F6-04AA-32E6-00A9-D44BD99E94D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FF798A73-CA87-DD3F-864F-842686B17C93}"/>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a:extLst>
              <a:ext uri="{FF2B5EF4-FFF2-40B4-BE49-F238E27FC236}">
                <a16:creationId xmlns:a16="http://schemas.microsoft.com/office/drawing/2014/main" id="{92EEB121-FA86-AB1D-01FD-46F249B3C321}"/>
              </a:ext>
            </a:extLst>
          </p:cNvPr>
          <p:cNvSpPr>
            <a:spLocks noGrp="1"/>
          </p:cNvSpPr>
          <p:nvPr>
            <p:ph type="dt" sz="half" idx="10"/>
          </p:nvPr>
        </p:nvSpPr>
        <p:spPr/>
        <p:txBody>
          <a:bodyPr/>
          <a:lstStyle/>
          <a:p>
            <a:fld id="{A8B16BE2-4A0E-A74D-A6A6-E12734834524}" type="datetimeFigureOut">
              <a:rPr lang="en-US" smtClean="0"/>
              <a:t>9/30/2024</a:t>
            </a:fld>
            <a:endParaRPr lang="en-US"/>
          </a:p>
        </p:txBody>
      </p:sp>
      <p:sp>
        <p:nvSpPr>
          <p:cNvPr id="8" name="Footer Placeholder 7">
            <a:extLst>
              <a:ext uri="{FF2B5EF4-FFF2-40B4-BE49-F238E27FC236}">
                <a16:creationId xmlns:a16="http://schemas.microsoft.com/office/drawing/2014/main" id="{30F44F30-625A-1AAD-A274-4A6719346739}"/>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B7FB1F2C-805A-FE4B-A2B4-7F7C253797AA}"/>
              </a:ext>
            </a:extLst>
          </p:cNvPr>
          <p:cNvSpPr>
            <a:spLocks noGrp="1"/>
          </p:cNvSpPr>
          <p:nvPr>
            <p:ph type="sldNum" sz="quarter" idx="12"/>
          </p:nvPr>
        </p:nvSpPr>
        <p:spPr/>
        <p:txBody>
          <a:bodyPr/>
          <a:lstStyle/>
          <a:p>
            <a:fld id="{AC7C9D87-5C21-5B4C-9029-039752023606}" type="slidenum">
              <a:rPr lang="en-US" smtClean="0"/>
              <a:t>‹#›</a:t>
            </a:fld>
            <a:endParaRPr lang="en-US"/>
          </a:p>
        </p:txBody>
      </p:sp>
    </p:spTree>
    <p:extLst>
      <p:ext uri="{BB962C8B-B14F-4D97-AF65-F5344CB8AC3E}">
        <p14:creationId xmlns:p14="http://schemas.microsoft.com/office/powerpoint/2010/main" val="2809955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1434D6-99FC-2EB9-695A-2840D081DB95}"/>
              </a:ext>
            </a:extLst>
          </p:cNvPr>
          <p:cNvSpPr>
            <a:spLocks noGrp="1"/>
          </p:cNvSpPr>
          <p:nvPr>
            <p:ph type="title"/>
          </p:nvPr>
        </p:nvSpPr>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id="{64E556FB-0366-9AE8-5BCF-FB927F09403A}"/>
              </a:ext>
            </a:extLst>
          </p:cNvPr>
          <p:cNvSpPr>
            <a:spLocks noGrp="1"/>
          </p:cNvSpPr>
          <p:nvPr>
            <p:ph type="dt" sz="half" idx="10"/>
          </p:nvPr>
        </p:nvSpPr>
        <p:spPr/>
        <p:txBody>
          <a:bodyPr/>
          <a:lstStyle/>
          <a:p>
            <a:fld id="{A8B16BE2-4A0E-A74D-A6A6-E12734834524}" type="datetimeFigureOut">
              <a:rPr lang="en-US" smtClean="0"/>
              <a:t>9/30/2024</a:t>
            </a:fld>
            <a:endParaRPr lang="en-US"/>
          </a:p>
        </p:txBody>
      </p:sp>
      <p:sp>
        <p:nvSpPr>
          <p:cNvPr id="4" name="Footer Placeholder 3">
            <a:extLst>
              <a:ext uri="{FF2B5EF4-FFF2-40B4-BE49-F238E27FC236}">
                <a16:creationId xmlns:a16="http://schemas.microsoft.com/office/drawing/2014/main" id="{C2042770-752D-0168-1DAE-2036696B440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4E42FEB-3462-8193-0D8A-8A7098C18A9A}"/>
              </a:ext>
            </a:extLst>
          </p:cNvPr>
          <p:cNvSpPr>
            <a:spLocks noGrp="1"/>
          </p:cNvSpPr>
          <p:nvPr>
            <p:ph type="sldNum" sz="quarter" idx="12"/>
          </p:nvPr>
        </p:nvSpPr>
        <p:spPr/>
        <p:txBody>
          <a:bodyPr/>
          <a:lstStyle/>
          <a:p>
            <a:fld id="{AC7C9D87-5C21-5B4C-9029-039752023606}" type="slidenum">
              <a:rPr lang="en-US" smtClean="0"/>
              <a:t>‹#›</a:t>
            </a:fld>
            <a:endParaRPr lang="en-US"/>
          </a:p>
        </p:txBody>
      </p:sp>
    </p:spTree>
    <p:extLst>
      <p:ext uri="{BB962C8B-B14F-4D97-AF65-F5344CB8AC3E}">
        <p14:creationId xmlns:p14="http://schemas.microsoft.com/office/powerpoint/2010/main" val="72265974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923E061-121F-FAA6-5BBF-7629E80394DD}"/>
              </a:ext>
            </a:extLst>
          </p:cNvPr>
          <p:cNvSpPr>
            <a:spLocks noGrp="1"/>
          </p:cNvSpPr>
          <p:nvPr>
            <p:ph type="dt" sz="half" idx="10"/>
          </p:nvPr>
        </p:nvSpPr>
        <p:spPr/>
        <p:txBody>
          <a:bodyPr/>
          <a:lstStyle/>
          <a:p>
            <a:fld id="{A8B16BE2-4A0E-A74D-A6A6-E12734834524}" type="datetimeFigureOut">
              <a:rPr lang="en-US" smtClean="0"/>
              <a:t>9/30/2024</a:t>
            </a:fld>
            <a:endParaRPr lang="en-US"/>
          </a:p>
        </p:txBody>
      </p:sp>
      <p:sp>
        <p:nvSpPr>
          <p:cNvPr id="3" name="Footer Placeholder 2">
            <a:extLst>
              <a:ext uri="{FF2B5EF4-FFF2-40B4-BE49-F238E27FC236}">
                <a16:creationId xmlns:a16="http://schemas.microsoft.com/office/drawing/2014/main" id="{9D776AB5-E1DD-F336-2D37-01BE5707DBE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EE3AF0C-F737-8FD8-8877-4EAA3211A192}"/>
              </a:ext>
            </a:extLst>
          </p:cNvPr>
          <p:cNvSpPr>
            <a:spLocks noGrp="1"/>
          </p:cNvSpPr>
          <p:nvPr>
            <p:ph type="sldNum" sz="quarter" idx="12"/>
          </p:nvPr>
        </p:nvSpPr>
        <p:spPr/>
        <p:txBody>
          <a:bodyPr/>
          <a:lstStyle/>
          <a:p>
            <a:fld id="{AC7C9D87-5C21-5B4C-9029-039752023606}" type="slidenum">
              <a:rPr lang="en-US" smtClean="0"/>
              <a:t>‹#›</a:t>
            </a:fld>
            <a:endParaRPr lang="en-US"/>
          </a:p>
        </p:txBody>
      </p:sp>
    </p:spTree>
    <p:extLst>
      <p:ext uri="{BB962C8B-B14F-4D97-AF65-F5344CB8AC3E}">
        <p14:creationId xmlns:p14="http://schemas.microsoft.com/office/powerpoint/2010/main" val="40077750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F2F68B-ABE6-4C9B-0FA0-3068551C0496}"/>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Content Placeholder 2">
            <a:extLst>
              <a:ext uri="{FF2B5EF4-FFF2-40B4-BE49-F238E27FC236}">
                <a16:creationId xmlns:a16="http://schemas.microsoft.com/office/drawing/2014/main" id="{F97CE3F4-92E6-6616-8FAA-9DEECE92E4C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a:extLst>
              <a:ext uri="{FF2B5EF4-FFF2-40B4-BE49-F238E27FC236}">
                <a16:creationId xmlns:a16="http://schemas.microsoft.com/office/drawing/2014/main" id="{5EE81F32-54F6-C2E2-0BAD-35ABFA94C10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31E3025A-CB4D-96C7-B641-45AF205FFD10}"/>
              </a:ext>
            </a:extLst>
          </p:cNvPr>
          <p:cNvSpPr>
            <a:spLocks noGrp="1"/>
          </p:cNvSpPr>
          <p:nvPr>
            <p:ph type="dt" sz="half" idx="10"/>
          </p:nvPr>
        </p:nvSpPr>
        <p:spPr/>
        <p:txBody>
          <a:bodyPr/>
          <a:lstStyle/>
          <a:p>
            <a:fld id="{A8B16BE2-4A0E-A74D-A6A6-E12734834524}" type="datetimeFigureOut">
              <a:rPr lang="en-US" smtClean="0"/>
              <a:t>9/30/2024</a:t>
            </a:fld>
            <a:endParaRPr lang="en-US"/>
          </a:p>
        </p:txBody>
      </p:sp>
      <p:sp>
        <p:nvSpPr>
          <p:cNvPr id="6" name="Footer Placeholder 5">
            <a:extLst>
              <a:ext uri="{FF2B5EF4-FFF2-40B4-BE49-F238E27FC236}">
                <a16:creationId xmlns:a16="http://schemas.microsoft.com/office/drawing/2014/main" id="{07A9DCFA-2DCA-7FC7-A29D-504AF834878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1A65FFA-9E70-5211-F8A8-A2F2F0C17254}"/>
              </a:ext>
            </a:extLst>
          </p:cNvPr>
          <p:cNvSpPr>
            <a:spLocks noGrp="1"/>
          </p:cNvSpPr>
          <p:nvPr>
            <p:ph type="sldNum" sz="quarter" idx="12"/>
          </p:nvPr>
        </p:nvSpPr>
        <p:spPr/>
        <p:txBody>
          <a:bodyPr/>
          <a:lstStyle/>
          <a:p>
            <a:fld id="{AC7C9D87-5C21-5B4C-9029-039752023606}" type="slidenum">
              <a:rPr lang="en-US" smtClean="0"/>
              <a:t>‹#›</a:t>
            </a:fld>
            <a:endParaRPr lang="en-US"/>
          </a:p>
        </p:txBody>
      </p:sp>
    </p:spTree>
    <p:extLst>
      <p:ext uri="{BB962C8B-B14F-4D97-AF65-F5344CB8AC3E}">
        <p14:creationId xmlns:p14="http://schemas.microsoft.com/office/powerpoint/2010/main" val="39768955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923640-AB60-0753-0404-161F21A0E150}"/>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Picture Placeholder 2">
            <a:extLst>
              <a:ext uri="{FF2B5EF4-FFF2-40B4-BE49-F238E27FC236}">
                <a16:creationId xmlns:a16="http://schemas.microsoft.com/office/drawing/2014/main" id="{F39B5430-9E27-D471-1348-7346422AE51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E5E27800-BE7F-1191-9682-FBA34A4287E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19C27F5F-5DE1-3C62-B0CA-0B0C1735D39B}"/>
              </a:ext>
            </a:extLst>
          </p:cNvPr>
          <p:cNvSpPr>
            <a:spLocks noGrp="1"/>
          </p:cNvSpPr>
          <p:nvPr>
            <p:ph type="dt" sz="half" idx="10"/>
          </p:nvPr>
        </p:nvSpPr>
        <p:spPr/>
        <p:txBody>
          <a:bodyPr/>
          <a:lstStyle/>
          <a:p>
            <a:fld id="{A8B16BE2-4A0E-A74D-A6A6-E12734834524}" type="datetimeFigureOut">
              <a:rPr lang="en-US" smtClean="0"/>
              <a:t>9/30/2024</a:t>
            </a:fld>
            <a:endParaRPr lang="en-US"/>
          </a:p>
        </p:txBody>
      </p:sp>
      <p:sp>
        <p:nvSpPr>
          <p:cNvPr id="6" name="Footer Placeholder 5">
            <a:extLst>
              <a:ext uri="{FF2B5EF4-FFF2-40B4-BE49-F238E27FC236}">
                <a16:creationId xmlns:a16="http://schemas.microsoft.com/office/drawing/2014/main" id="{C34596DF-F5EC-5CBB-2B61-1C7E0028CF3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E22727E-70EC-7C2D-CA68-329437BD92D0}"/>
              </a:ext>
            </a:extLst>
          </p:cNvPr>
          <p:cNvSpPr>
            <a:spLocks noGrp="1"/>
          </p:cNvSpPr>
          <p:nvPr>
            <p:ph type="sldNum" sz="quarter" idx="12"/>
          </p:nvPr>
        </p:nvSpPr>
        <p:spPr/>
        <p:txBody>
          <a:bodyPr/>
          <a:lstStyle/>
          <a:p>
            <a:fld id="{AC7C9D87-5C21-5B4C-9029-039752023606}" type="slidenum">
              <a:rPr lang="en-US" smtClean="0"/>
              <a:t>‹#›</a:t>
            </a:fld>
            <a:endParaRPr lang="en-US"/>
          </a:p>
        </p:txBody>
      </p:sp>
    </p:spTree>
    <p:extLst>
      <p:ext uri="{BB962C8B-B14F-4D97-AF65-F5344CB8AC3E}">
        <p14:creationId xmlns:p14="http://schemas.microsoft.com/office/powerpoint/2010/main" val="174690774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F2CF223-43F1-74D8-1D1F-889BA26D3614}"/>
              </a:ext>
            </a:extLst>
          </p:cNvPr>
          <p:cNvGraphicFramePr>
            <a:graphicFrameLocks noChangeAspect="1"/>
          </p:cNvGraphicFramePr>
          <p:nvPr userDrawn="1">
            <p:custDataLst>
              <p:tags r:id="rId13"/>
            </p:custDataLst>
            <p:extLst>
              <p:ext uri="{D42A27DB-BD31-4B8C-83A1-F6EECF244321}">
                <p14:modId xmlns:p14="http://schemas.microsoft.com/office/powerpoint/2010/main" val="38336634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95" imgH="394" progId="TCLayout.ActiveDocument.1">
                  <p:embed/>
                </p:oleObj>
              </mc:Choice>
              <mc:Fallback>
                <p:oleObj name="think-cell Slide" r:id="rId14" imgW="395" imgH="394" progId="TCLayout.ActiveDocument.1">
                  <p:embed/>
                  <p:pic>
                    <p:nvPicPr>
                      <p:cNvPr id="8" name="think-cell data - do not delete" hidden="1">
                        <a:extLst>
                          <a:ext uri="{FF2B5EF4-FFF2-40B4-BE49-F238E27FC236}">
                            <a16:creationId xmlns:a16="http://schemas.microsoft.com/office/drawing/2014/main" id="{AF2CF223-43F1-74D8-1D1F-889BA26D3614}"/>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C4DA4485-D54F-A1BE-3267-5339C0D89F3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F9A24A66-6B06-AC96-331B-1CC3CDA7DA1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F3D93975-A830-DD7D-F992-893921EE1EA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A8B16BE2-4A0E-A74D-A6A6-E12734834524}" type="datetimeFigureOut">
              <a:rPr lang="en-US" smtClean="0"/>
              <a:t>9/30/2024</a:t>
            </a:fld>
            <a:endParaRPr lang="en-US"/>
          </a:p>
        </p:txBody>
      </p:sp>
      <p:sp>
        <p:nvSpPr>
          <p:cNvPr id="5" name="Footer Placeholder 4">
            <a:extLst>
              <a:ext uri="{FF2B5EF4-FFF2-40B4-BE49-F238E27FC236}">
                <a16:creationId xmlns:a16="http://schemas.microsoft.com/office/drawing/2014/main" id="{488DEF60-BBD4-1065-DA1E-DB38E8BC283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DA748027-4897-CA7F-B78C-F68DCBEBC39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AC7C9D87-5C21-5B4C-9029-039752023606}" type="slidenum">
              <a:rPr lang="en-US" smtClean="0"/>
              <a:t>‹#›</a:t>
            </a:fld>
            <a:endParaRPr lang="en-US"/>
          </a:p>
        </p:txBody>
      </p:sp>
    </p:spTree>
    <p:extLst>
      <p:ext uri="{BB962C8B-B14F-4D97-AF65-F5344CB8AC3E}">
        <p14:creationId xmlns:p14="http://schemas.microsoft.com/office/powerpoint/2010/main" val="291485199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customXml" Target="../ink/ink1.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3" Type="http://schemas.openxmlformats.org/officeDocument/2006/relationships/image" Target="../media/image15.png"/><Relationship Id="rId18" Type="http://schemas.openxmlformats.org/officeDocument/2006/relationships/customXml" Target="../ink/ink11.xml"/><Relationship Id="rId26" Type="http://schemas.openxmlformats.org/officeDocument/2006/relationships/customXml" Target="../ink/ink15.xml"/><Relationship Id="rId39" Type="http://schemas.openxmlformats.org/officeDocument/2006/relationships/image" Target="../media/image28.png"/><Relationship Id="rId21" Type="http://schemas.openxmlformats.org/officeDocument/2006/relationships/image" Target="../media/image19.png"/><Relationship Id="rId34" Type="http://schemas.openxmlformats.org/officeDocument/2006/relationships/customXml" Target="../ink/ink19.xml"/><Relationship Id="rId42" Type="http://schemas.openxmlformats.org/officeDocument/2006/relationships/customXml" Target="../ink/ink23.xml"/><Relationship Id="rId47" Type="http://schemas.openxmlformats.org/officeDocument/2006/relationships/image" Target="../media/image32.png"/><Relationship Id="rId50" Type="http://schemas.openxmlformats.org/officeDocument/2006/relationships/customXml" Target="../ink/ink27.xml"/><Relationship Id="rId55" Type="http://schemas.openxmlformats.org/officeDocument/2006/relationships/image" Target="../media/image36.png"/><Relationship Id="rId63" Type="http://schemas.openxmlformats.org/officeDocument/2006/relationships/image" Target="../media/image40.png"/><Relationship Id="rId7" Type="http://schemas.openxmlformats.org/officeDocument/2006/relationships/customXml" Target="../ink/ink5.xml"/><Relationship Id="rId2" Type="http://schemas.openxmlformats.org/officeDocument/2006/relationships/customXml" Target="../ink/ink2.xml"/><Relationship Id="rId16" Type="http://schemas.openxmlformats.org/officeDocument/2006/relationships/customXml" Target="../ink/ink10.xml"/><Relationship Id="rId20" Type="http://schemas.openxmlformats.org/officeDocument/2006/relationships/customXml" Target="../ink/ink12.xml"/><Relationship Id="rId29" Type="http://schemas.openxmlformats.org/officeDocument/2006/relationships/image" Target="../media/image23.png"/><Relationship Id="rId41" Type="http://schemas.openxmlformats.org/officeDocument/2006/relationships/image" Target="../media/image29.png"/><Relationship Id="rId54" Type="http://schemas.openxmlformats.org/officeDocument/2006/relationships/customXml" Target="../ink/ink29.xml"/><Relationship Id="rId62" Type="http://schemas.openxmlformats.org/officeDocument/2006/relationships/customXml" Target="../ink/ink33.xml"/><Relationship Id="rId1" Type="http://schemas.openxmlformats.org/officeDocument/2006/relationships/slideLayout" Target="../slideLayouts/slideLayout2.xml"/><Relationship Id="rId6" Type="http://schemas.openxmlformats.org/officeDocument/2006/relationships/customXml" Target="../ink/ink4.xml"/><Relationship Id="rId11" Type="http://schemas.openxmlformats.org/officeDocument/2006/relationships/image" Target="../media/image14.png"/><Relationship Id="rId24" Type="http://schemas.openxmlformats.org/officeDocument/2006/relationships/customXml" Target="../ink/ink14.xml"/><Relationship Id="rId32" Type="http://schemas.openxmlformats.org/officeDocument/2006/relationships/customXml" Target="../ink/ink18.xml"/><Relationship Id="rId37" Type="http://schemas.openxmlformats.org/officeDocument/2006/relationships/image" Target="../media/image27.png"/><Relationship Id="rId40" Type="http://schemas.openxmlformats.org/officeDocument/2006/relationships/customXml" Target="../ink/ink22.xml"/><Relationship Id="rId45" Type="http://schemas.openxmlformats.org/officeDocument/2006/relationships/image" Target="../media/image31.png"/><Relationship Id="rId53" Type="http://schemas.openxmlformats.org/officeDocument/2006/relationships/image" Target="../media/image35.png"/><Relationship Id="rId58" Type="http://schemas.openxmlformats.org/officeDocument/2006/relationships/customXml" Target="../ink/ink31.xml"/><Relationship Id="rId66" Type="http://schemas.openxmlformats.org/officeDocument/2006/relationships/customXml" Target="../ink/ink35.xml"/><Relationship Id="rId5" Type="http://schemas.openxmlformats.org/officeDocument/2006/relationships/image" Target="../media/image110.png"/><Relationship Id="rId15" Type="http://schemas.openxmlformats.org/officeDocument/2006/relationships/image" Target="../media/image16.png"/><Relationship Id="rId23" Type="http://schemas.openxmlformats.org/officeDocument/2006/relationships/image" Target="../media/image20.png"/><Relationship Id="rId28" Type="http://schemas.openxmlformats.org/officeDocument/2006/relationships/customXml" Target="../ink/ink16.xml"/><Relationship Id="rId36" Type="http://schemas.openxmlformats.org/officeDocument/2006/relationships/customXml" Target="../ink/ink20.xml"/><Relationship Id="rId49" Type="http://schemas.openxmlformats.org/officeDocument/2006/relationships/image" Target="../media/image33.png"/><Relationship Id="rId57" Type="http://schemas.openxmlformats.org/officeDocument/2006/relationships/image" Target="../media/image37.png"/><Relationship Id="rId61" Type="http://schemas.openxmlformats.org/officeDocument/2006/relationships/image" Target="../media/image39.png"/><Relationship Id="rId10" Type="http://schemas.openxmlformats.org/officeDocument/2006/relationships/customXml" Target="../ink/ink7.xml"/><Relationship Id="rId19" Type="http://schemas.openxmlformats.org/officeDocument/2006/relationships/image" Target="../media/image18.png"/><Relationship Id="rId31" Type="http://schemas.openxmlformats.org/officeDocument/2006/relationships/image" Target="../media/image24.png"/><Relationship Id="rId44" Type="http://schemas.openxmlformats.org/officeDocument/2006/relationships/customXml" Target="../ink/ink24.xml"/><Relationship Id="rId52" Type="http://schemas.openxmlformats.org/officeDocument/2006/relationships/customXml" Target="../ink/ink28.xml"/><Relationship Id="rId60" Type="http://schemas.openxmlformats.org/officeDocument/2006/relationships/customXml" Target="../ink/ink32.xml"/><Relationship Id="rId65" Type="http://schemas.openxmlformats.org/officeDocument/2006/relationships/image" Target="../media/image41.png"/><Relationship Id="rId4" Type="http://schemas.openxmlformats.org/officeDocument/2006/relationships/customXml" Target="../ink/ink3.xml"/><Relationship Id="rId9" Type="http://schemas.openxmlformats.org/officeDocument/2006/relationships/image" Target="../media/image10.png"/><Relationship Id="rId14" Type="http://schemas.openxmlformats.org/officeDocument/2006/relationships/customXml" Target="../ink/ink9.xml"/><Relationship Id="rId22" Type="http://schemas.openxmlformats.org/officeDocument/2006/relationships/customXml" Target="../ink/ink13.xml"/><Relationship Id="rId27" Type="http://schemas.openxmlformats.org/officeDocument/2006/relationships/image" Target="../media/image22.png"/><Relationship Id="rId30" Type="http://schemas.openxmlformats.org/officeDocument/2006/relationships/customXml" Target="../ink/ink17.xml"/><Relationship Id="rId35" Type="http://schemas.openxmlformats.org/officeDocument/2006/relationships/image" Target="../media/image26.png"/><Relationship Id="rId43" Type="http://schemas.openxmlformats.org/officeDocument/2006/relationships/image" Target="../media/image30.png"/><Relationship Id="rId48" Type="http://schemas.openxmlformats.org/officeDocument/2006/relationships/customXml" Target="../ink/ink26.xml"/><Relationship Id="rId56" Type="http://schemas.openxmlformats.org/officeDocument/2006/relationships/customXml" Target="../ink/ink30.xml"/><Relationship Id="rId64" Type="http://schemas.openxmlformats.org/officeDocument/2006/relationships/customXml" Target="../ink/ink34.xml"/><Relationship Id="rId8" Type="http://schemas.openxmlformats.org/officeDocument/2006/relationships/customXml" Target="../ink/ink6.xml"/><Relationship Id="rId51" Type="http://schemas.openxmlformats.org/officeDocument/2006/relationships/image" Target="../media/image34.png"/><Relationship Id="rId3" Type="http://schemas.openxmlformats.org/officeDocument/2006/relationships/image" Target="../media/image12.png"/><Relationship Id="rId12" Type="http://schemas.openxmlformats.org/officeDocument/2006/relationships/customXml" Target="../ink/ink8.xml"/><Relationship Id="rId17" Type="http://schemas.openxmlformats.org/officeDocument/2006/relationships/image" Target="../media/image17.png"/><Relationship Id="rId25" Type="http://schemas.openxmlformats.org/officeDocument/2006/relationships/image" Target="../media/image21.png"/><Relationship Id="rId33" Type="http://schemas.openxmlformats.org/officeDocument/2006/relationships/image" Target="../media/image25.png"/><Relationship Id="rId38" Type="http://schemas.openxmlformats.org/officeDocument/2006/relationships/customXml" Target="../ink/ink21.xml"/><Relationship Id="rId46" Type="http://schemas.openxmlformats.org/officeDocument/2006/relationships/customXml" Target="../ink/ink25.xml"/><Relationship Id="rId59" Type="http://schemas.openxmlformats.org/officeDocument/2006/relationships/image" Target="../media/image38.png"/></Relationships>
</file>

<file path=ppt/slides/_rels/slide1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4" Type="http://schemas.openxmlformats.org/officeDocument/2006/relationships/image" Target="../media/image1.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4" Type="http://schemas.openxmlformats.org/officeDocument/2006/relationships/image" Target="../media/image1.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4.xml"/><Relationship Id="rId4" Type="http://schemas.openxmlformats.org/officeDocument/2006/relationships/image" Target="../media/image1.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5.xml"/><Relationship Id="rId4" Type="http://schemas.openxmlformats.org/officeDocument/2006/relationships/image" Target="../media/image1.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6.xml"/><Relationship Id="rId5" Type="http://schemas.openxmlformats.org/officeDocument/2006/relationships/image" Target="../media/image13.png"/><Relationship Id="rId4" Type="http://schemas.openxmlformats.org/officeDocument/2006/relationships/image" Target="../media/image1.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7.xml"/><Relationship Id="rId4" Type="http://schemas.openxmlformats.org/officeDocument/2006/relationships/image" Target="../media/image1.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8.xm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hyperlink" Target="https://www.mathsisfun.com/data/probability-events-independent.html" TargetMode="Externa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D01117DA-2EB9-B4DE-50B3-DD7D4CCD6C08}"/>
              </a:ext>
            </a:extLst>
          </p:cNvPr>
          <p:cNvSpPr>
            <a:spLocks noGrp="1"/>
          </p:cNvSpPr>
          <p:nvPr>
            <p:ph type="subTitle" idx="1"/>
          </p:nvPr>
        </p:nvSpPr>
        <p:spPr>
          <a:xfrm>
            <a:off x="685800" y="187891"/>
            <a:ext cx="9982200" cy="6438378"/>
          </a:xfrm>
        </p:spPr>
        <p:txBody>
          <a:bodyPr>
            <a:normAutofit/>
          </a:bodyPr>
          <a:lstStyle/>
          <a:p>
            <a:pPr marL="523240">
              <a:spcBef>
                <a:spcPts val="270"/>
              </a:spcBef>
            </a:pPr>
            <a:r>
              <a:rPr lang="en-US" sz="2800" b="1" dirty="0">
                <a:effectLst/>
                <a:latin typeface="Times New Roman" panose="02020603050405020304" pitchFamily="18" charset="0"/>
                <a:ea typeface="Times New Roman" panose="02020603050405020304" pitchFamily="18" charset="0"/>
              </a:rPr>
              <a:t>What</a:t>
            </a:r>
            <a:r>
              <a:rPr lang="en-US" sz="2800" b="1" spc="-80" dirty="0">
                <a:effectLst/>
                <a:latin typeface="Times New Roman" panose="02020603050405020304" pitchFamily="18" charset="0"/>
                <a:ea typeface="Times New Roman" panose="02020603050405020304" pitchFamily="18" charset="0"/>
              </a:rPr>
              <a:t> </a:t>
            </a:r>
            <a:r>
              <a:rPr lang="en-US" sz="2800" b="1" dirty="0">
                <a:effectLst/>
                <a:latin typeface="Times New Roman" panose="02020603050405020304" pitchFamily="18" charset="0"/>
                <a:ea typeface="Times New Roman" panose="02020603050405020304" pitchFamily="18" charset="0"/>
              </a:rPr>
              <a:t>are</a:t>
            </a:r>
            <a:r>
              <a:rPr lang="en-US" sz="2800" b="1" spc="-55" dirty="0">
                <a:effectLst/>
                <a:latin typeface="Times New Roman" panose="02020603050405020304" pitchFamily="18" charset="0"/>
                <a:ea typeface="Times New Roman" panose="02020603050405020304" pitchFamily="18" charset="0"/>
              </a:rPr>
              <a:t> </a:t>
            </a:r>
            <a:r>
              <a:rPr lang="en-US" sz="2800" b="1" dirty="0">
                <a:effectLst/>
                <a:latin typeface="Times New Roman" panose="02020603050405020304" pitchFamily="18" charset="0"/>
                <a:ea typeface="Times New Roman" panose="02020603050405020304" pitchFamily="18" charset="0"/>
              </a:rPr>
              <a:t>probability</a:t>
            </a:r>
            <a:r>
              <a:rPr lang="en-US" sz="2800" b="1" spc="-110" dirty="0">
                <a:effectLst/>
                <a:latin typeface="Times New Roman" panose="02020603050405020304" pitchFamily="18" charset="0"/>
                <a:ea typeface="Times New Roman" panose="02020603050405020304" pitchFamily="18" charset="0"/>
              </a:rPr>
              <a:t> </a:t>
            </a:r>
            <a:r>
              <a:rPr lang="en-US" sz="2800" b="1" dirty="0">
                <a:effectLst/>
                <a:latin typeface="Times New Roman" panose="02020603050405020304" pitchFamily="18" charset="0"/>
                <a:ea typeface="Times New Roman" panose="02020603050405020304" pitchFamily="18" charset="0"/>
              </a:rPr>
              <a:t>models?</a:t>
            </a:r>
            <a:endParaRPr lang="en-IN" sz="2800" b="1" dirty="0">
              <a:effectLst/>
              <a:latin typeface="Times New Roman" panose="02020603050405020304" pitchFamily="18" charset="0"/>
              <a:ea typeface="Times New Roman" panose="02020603050405020304" pitchFamily="18" charset="0"/>
            </a:endParaRPr>
          </a:p>
          <a:p>
            <a:r>
              <a:rPr lang="en-US" sz="1800" dirty="0">
                <a:effectLst/>
                <a:latin typeface="Times New Roman" panose="02020603050405020304" pitchFamily="18" charset="0"/>
                <a:ea typeface="Times New Roman" panose="02020603050405020304" pitchFamily="18" charset="0"/>
              </a:rPr>
              <a:t>	</a:t>
            </a:r>
            <a:r>
              <a:rPr lang="en-US" sz="3200" dirty="0">
                <a:effectLst/>
                <a:latin typeface="Times New Roman" panose="02020603050405020304" pitchFamily="18" charset="0"/>
                <a:ea typeface="Times New Roman" panose="02020603050405020304" pitchFamily="18" charset="0"/>
              </a:rPr>
              <a:t>A </a:t>
            </a:r>
            <a:r>
              <a:rPr lang="en-US" sz="3200" b="1" dirty="0">
                <a:effectLst/>
                <a:latin typeface="Times New Roman" panose="02020603050405020304" pitchFamily="18" charset="0"/>
                <a:ea typeface="Times New Roman" panose="02020603050405020304" pitchFamily="18" charset="0"/>
              </a:rPr>
              <a:t>probability model </a:t>
            </a:r>
            <a:r>
              <a:rPr lang="en-US" sz="3200" dirty="0">
                <a:effectLst/>
                <a:latin typeface="Times New Roman" panose="02020603050405020304" pitchFamily="18" charset="0"/>
                <a:ea typeface="Times New Roman" panose="02020603050405020304" pitchFamily="18" charset="0"/>
              </a:rPr>
              <a:t>is a mathematical</a:t>
            </a:r>
            <a:r>
              <a:rPr lang="en-US" sz="3200" spc="5" dirty="0">
                <a:effectLst/>
                <a:latin typeface="Times New Roman" panose="02020603050405020304" pitchFamily="18" charset="0"/>
                <a:ea typeface="Times New Roman" panose="02020603050405020304" pitchFamily="18" charset="0"/>
              </a:rPr>
              <a:t> </a:t>
            </a:r>
            <a:r>
              <a:rPr lang="en-US" sz="3200" dirty="0">
                <a:effectLst/>
                <a:latin typeface="Times New Roman" panose="02020603050405020304" pitchFamily="18" charset="0"/>
                <a:ea typeface="Times New Roman" panose="02020603050405020304" pitchFamily="18" charset="0"/>
              </a:rPr>
              <a:t>representation</a:t>
            </a:r>
            <a:r>
              <a:rPr lang="en-US" sz="3200" spc="600" dirty="0">
                <a:effectLst/>
                <a:latin typeface="Times New Roman" panose="02020603050405020304" pitchFamily="18" charset="0"/>
                <a:ea typeface="Times New Roman" panose="02020603050405020304" pitchFamily="18" charset="0"/>
              </a:rPr>
              <a:t> </a:t>
            </a:r>
            <a:r>
              <a:rPr lang="en-US" sz="3200" dirty="0">
                <a:effectLst/>
                <a:latin typeface="Times New Roman" panose="02020603050405020304" pitchFamily="18" charset="0"/>
                <a:ea typeface="Times New Roman" panose="02020603050405020304" pitchFamily="18" charset="0"/>
              </a:rPr>
              <a:t>of</a:t>
            </a:r>
            <a:r>
              <a:rPr lang="en-US" sz="3200" spc="-585" dirty="0">
                <a:effectLst/>
                <a:latin typeface="Times New Roman" panose="02020603050405020304" pitchFamily="18" charset="0"/>
                <a:ea typeface="Times New Roman" panose="02020603050405020304" pitchFamily="18" charset="0"/>
              </a:rPr>
              <a:t> </a:t>
            </a:r>
            <a:r>
              <a:rPr lang="en-US" sz="3200" dirty="0">
                <a:effectLst/>
                <a:latin typeface="Times New Roman" panose="02020603050405020304" pitchFamily="18" charset="0"/>
                <a:ea typeface="Times New Roman" panose="02020603050405020304" pitchFamily="18" charset="0"/>
              </a:rPr>
              <a:t>a</a:t>
            </a:r>
            <a:r>
              <a:rPr lang="en-US" sz="3200" spc="5" dirty="0">
                <a:effectLst/>
                <a:latin typeface="Times New Roman" panose="02020603050405020304" pitchFamily="18" charset="0"/>
                <a:ea typeface="Times New Roman" panose="02020603050405020304" pitchFamily="18" charset="0"/>
              </a:rPr>
              <a:t> </a:t>
            </a:r>
            <a:r>
              <a:rPr lang="en-US" sz="3200" dirty="0">
                <a:effectLst/>
                <a:latin typeface="Times New Roman" panose="02020603050405020304" pitchFamily="18" charset="0"/>
                <a:ea typeface="Times New Roman" panose="02020603050405020304" pitchFamily="18" charset="0"/>
              </a:rPr>
              <a:t>random</a:t>
            </a:r>
            <a:r>
              <a:rPr lang="en-US" sz="3200" spc="5" dirty="0">
                <a:effectLst/>
                <a:latin typeface="Times New Roman" panose="02020603050405020304" pitchFamily="18" charset="0"/>
                <a:ea typeface="Times New Roman" panose="02020603050405020304" pitchFamily="18" charset="0"/>
              </a:rPr>
              <a:t> </a:t>
            </a:r>
            <a:r>
              <a:rPr lang="en-US" sz="3200" dirty="0">
                <a:effectLst/>
                <a:latin typeface="Times New Roman" panose="02020603050405020304" pitchFamily="18" charset="0"/>
                <a:ea typeface="Times New Roman" panose="02020603050405020304" pitchFamily="18" charset="0"/>
              </a:rPr>
              <a:t>phenomenon.</a:t>
            </a:r>
            <a:r>
              <a:rPr lang="en-US" sz="3200" spc="5" dirty="0">
                <a:effectLst/>
                <a:latin typeface="Times New Roman" panose="02020603050405020304" pitchFamily="18" charset="0"/>
                <a:ea typeface="Times New Roman" panose="02020603050405020304" pitchFamily="18" charset="0"/>
              </a:rPr>
              <a:t> </a:t>
            </a:r>
            <a:r>
              <a:rPr lang="en-US" sz="3200" dirty="0">
                <a:effectLst/>
                <a:latin typeface="Times New Roman" panose="02020603050405020304" pitchFamily="18" charset="0"/>
                <a:ea typeface="Times New Roman" panose="02020603050405020304" pitchFamily="18" charset="0"/>
              </a:rPr>
              <a:t>It</a:t>
            </a:r>
            <a:r>
              <a:rPr lang="en-US" sz="3200" spc="5" dirty="0">
                <a:effectLst/>
                <a:latin typeface="Times New Roman" panose="02020603050405020304" pitchFamily="18" charset="0"/>
                <a:ea typeface="Times New Roman" panose="02020603050405020304" pitchFamily="18" charset="0"/>
              </a:rPr>
              <a:t> </a:t>
            </a:r>
            <a:r>
              <a:rPr lang="en-US" sz="3200" dirty="0">
                <a:effectLst/>
                <a:latin typeface="Times New Roman" panose="02020603050405020304" pitchFamily="18" charset="0"/>
                <a:ea typeface="Times New Roman" panose="02020603050405020304" pitchFamily="18" charset="0"/>
              </a:rPr>
              <a:t>is</a:t>
            </a:r>
            <a:r>
              <a:rPr lang="en-US" sz="3200" spc="5" dirty="0">
                <a:effectLst/>
                <a:latin typeface="Times New Roman" panose="02020603050405020304" pitchFamily="18" charset="0"/>
                <a:ea typeface="Times New Roman" panose="02020603050405020304" pitchFamily="18" charset="0"/>
              </a:rPr>
              <a:t> </a:t>
            </a:r>
            <a:r>
              <a:rPr lang="en-US" sz="3200" dirty="0">
                <a:effectLst/>
                <a:latin typeface="Times New Roman" panose="02020603050405020304" pitchFamily="18" charset="0"/>
                <a:ea typeface="Times New Roman" panose="02020603050405020304" pitchFamily="18" charset="0"/>
              </a:rPr>
              <a:t>defined</a:t>
            </a:r>
            <a:r>
              <a:rPr lang="en-US" sz="3200" spc="5" dirty="0">
                <a:effectLst/>
                <a:latin typeface="Times New Roman" panose="02020603050405020304" pitchFamily="18" charset="0"/>
                <a:ea typeface="Times New Roman" panose="02020603050405020304" pitchFamily="18" charset="0"/>
              </a:rPr>
              <a:t> </a:t>
            </a:r>
            <a:r>
              <a:rPr lang="en-US" sz="3200" dirty="0">
                <a:effectLst/>
                <a:latin typeface="Times New Roman" panose="02020603050405020304" pitchFamily="18" charset="0"/>
                <a:ea typeface="Times New Roman" panose="02020603050405020304" pitchFamily="18" charset="0"/>
              </a:rPr>
              <a:t>by</a:t>
            </a:r>
            <a:r>
              <a:rPr lang="en-US" sz="3200" spc="5" dirty="0">
                <a:effectLst/>
                <a:latin typeface="Times New Roman" panose="02020603050405020304" pitchFamily="18" charset="0"/>
                <a:ea typeface="Times New Roman" panose="02020603050405020304" pitchFamily="18" charset="0"/>
              </a:rPr>
              <a:t> </a:t>
            </a:r>
            <a:r>
              <a:rPr lang="en-US" sz="3200" dirty="0">
                <a:effectLst/>
                <a:latin typeface="Times New Roman" panose="02020603050405020304" pitchFamily="18" charset="0"/>
                <a:ea typeface="Times New Roman" panose="02020603050405020304" pitchFamily="18" charset="0"/>
              </a:rPr>
              <a:t>its</a:t>
            </a:r>
            <a:r>
              <a:rPr lang="en-US" sz="3200" spc="5" dirty="0">
                <a:effectLst/>
                <a:latin typeface="Times New Roman" panose="02020603050405020304" pitchFamily="18" charset="0"/>
                <a:ea typeface="Times New Roman" panose="02020603050405020304" pitchFamily="18" charset="0"/>
              </a:rPr>
              <a:t> </a:t>
            </a:r>
            <a:r>
              <a:rPr lang="en-US" sz="3200" dirty="0">
                <a:effectLst/>
                <a:latin typeface="Times New Roman" panose="02020603050405020304" pitchFamily="18" charset="0"/>
                <a:ea typeface="Times New Roman" panose="02020603050405020304" pitchFamily="18" charset="0"/>
              </a:rPr>
              <a:t>sample</a:t>
            </a:r>
            <a:r>
              <a:rPr lang="en-US" sz="3200" spc="600" dirty="0">
                <a:effectLst/>
                <a:latin typeface="Times New Roman" panose="02020603050405020304" pitchFamily="18" charset="0"/>
                <a:ea typeface="Times New Roman" panose="02020603050405020304" pitchFamily="18" charset="0"/>
              </a:rPr>
              <a:t> </a:t>
            </a:r>
            <a:r>
              <a:rPr lang="en-US" sz="3200" dirty="0">
                <a:effectLst/>
                <a:latin typeface="Times New Roman" panose="02020603050405020304" pitchFamily="18" charset="0"/>
                <a:ea typeface="Times New Roman" panose="02020603050405020304" pitchFamily="18" charset="0"/>
              </a:rPr>
              <a:t>space,</a:t>
            </a:r>
            <a:r>
              <a:rPr lang="en-US" sz="3200" spc="5" dirty="0">
                <a:effectLst/>
                <a:latin typeface="Times New Roman" panose="02020603050405020304" pitchFamily="18" charset="0"/>
                <a:ea typeface="Times New Roman" panose="02020603050405020304" pitchFamily="18" charset="0"/>
              </a:rPr>
              <a:t> </a:t>
            </a:r>
            <a:r>
              <a:rPr lang="en-US" sz="3200" dirty="0">
                <a:effectLst/>
                <a:latin typeface="Times New Roman" panose="02020603050405020304" pitchFamily="18" charset="0"/>
                <a:ea typeface="Times New Roman" panose="02020603050405020304" pitchFamily="18" charset="0"/>
              </a:rPr>
              <a:t>events within the sample space, and </a:t>
            </a:r>
            <a:r>
              <a:rPr lang="en-US" sz="3200" b="1" dirty="0">
                <a:effectLst/>
                <a:latin typeface="Times New Roman" panose="02020603050405020304" pitchFamily="18" charset="0"/>
                <a:ea typeface="Times New Roman" panose="02020603050405020304" pitchFamily="18" charset="0"/>
              </a:rPr>
              <a:t>probabilities </a:t>
            </a:r>
            <a:r>
              <a:rPr lang="en-US" sz="3200" dirty="0">
                <a:effectLst/>
                <a:latin typeface="Times New Roman" panose="02020603050405020304" pitchFamily="18" charset="0"/>
                <a:ea typeface="Times New Roman" panose="02020603050405020304" pitchFamily="18" charset="0"/>
              </a:rPr>
              <a:t>associated</a:t>
            </a:r>
            <a:r>
              <a:rPr lang="en-US" sz="3200" spc="5" dirty="0">
                <a:effectLst/>
                <a:latin typeface="Times New Roman" panose="02020603050405020304" pitchFamily="18" charset="0"/>
                <a:ea typeface="Times New Roman" panose="02020603050405020304" pitchFamily="18" charset="0"/>
              </a:rPr>
              <a:t> </a:t>
            </a:r>
            <a:r>
              <a:rPr lang="en-US" sz="3200" dirty="0">
                <a:effectLst/>
                <a:latin typeface="Times New Roman" panose="02020603050405020304" pitchFamily="18" charset="0"/>
                <a:ea typeface="Times New Roman" panose="02020603050405020304" pitchFamily="18" charset="0"/>
              </a:rPr>
              <a:t>with</a:t>
            </a:r>
            <a:r>
              <a:rPr lang="en-US" sz="3200" spc="5" dirty="0">
                <a:effectLst/>
                <a:latin typeface="Times New Roman" panose="02020603050405020304" pitchFamily="18" charset="0"/>
                <a:ea typeface="Times New Roman" panose="02020603050405020304" pitchFamily="18" charset="0"/>
              </a:rPr>
              <a:t> </a:t>
            </a:r>
            <a:r>
              <a:rPr lang="en-US" sz="3200" dirty="0">
                <a:effectLst/>
                <a:latin typeface="Times New Roman" panose="02020603050405020304" pitchFamily="18" charset="0"/>
                <a:ea typeface="Times New Roman" panose="02020603050405020304" pitchFamily="18" charset="0"/>
              </a:rPr>
              <a:t>each</a:t>
            </a:r>
            <a:r>
              <a:rPr lang="en-US" sz="3200" spc="5" dirty="0">
                <a:effectLst/>
                <a:latin typeface="Times New Roman" panose="02020603050405020304" pitchFamily="18" charset="0"/>
                <a:ea typeface="Times New Roman" panose="02020603050405020304" pitchFamily="18" charset="0"/>
              </a:rPr>
              <a:t> </a:t>
            </a:r>
            <a:r>
              <a:rPr lang="en-US" sz="3200" dirty="0">
                <a:effectLst/>
                <a:latin typeface="Times New Roman" panose="02020603050405020304" pitchFamily="18" charset="0"/>
                <a:ea typeface="Times New Roman" panose="02020603050405020304" pitchFamily="18" charset="0"/>
              </a:rPr>
              <a:t>event.</a:t>
            </a:r>
            <a:r>
              <a:rPr lang="en-US" sz="3200" spc="5" dirty="0">
                <a:effectLst/>
                <a:latin typeface="Times New Roman" panose="02020603050405020304" pitchFamily="18" charset="0"/>
                <a:ea typeface="Times New Roman" panose="02020603050405020304" pitchFamily="18" charset="0"/>
              </a:rPr>
              <a:t> </a:t>
            </a:r>
            <a:r>
              <a:rPr lang="en-US" sz="3200" dirty="0">
                <a:effectLst/>
                <a:latin typeface="Times New Roman" panose="02020603050405020304" pitchFamily="18" charset="0"/>
                <a:ea typeface="Times New Roman" panose="02020603050405020304" pitchFamily="18" charset="0"/>
              </a:rPr>
              <a:t>The</a:t>
            </a:r>
            <a:r>
              <a:rPr lang="en-US" sz="3200" spc="5" dirty="0">
                <a:effectLst/>
                <a:latin typeface="Times New Roman" panose="02020603050405020304" pitchFamily="18" charset="0"/>
                <a:ea typeface="Times New Roman" panose="02020603050405020304" pitchFamily="18" charset="0"/>
              </a:rPr>
              <a:t> </a:t>
            </a:r>
            <a:r>
              <a:rPr lang="en-US" sz="3200" dirty="0">
                <a:effectLst/>
                <a:latin typeface="Times New Roman" panose="02020603050405020304" pitchFamily="18" charset="0"/>
                <a:ea typeface="Times New Roman" panose="02020603050405020304" pitchFamily="18" charset="0"/>
              </a:rPr>
              <a:t>sample</a:t>
            </a:r>
            <a:r>
              <a:rPr lang="en-US" sz="3200" spc="5" dirty="0">
                <a:effectLst/>
                <a:latin typeface="Times New Roman" panose="02020603050405020304" pitchFamily="18" charset="0"/>
                <a:ea typeface="Times New Roman" panose="02020603050405020304" pitchFamily="18" charset="0"/>
              </a:rPr>
              <a:t> </a:t>
            </a:r>
            <a:r>
              <a:rPr lang="en-US" sz="3200" dirty="0">
                <a:effectLst/>
                <a:latin typeface="Times New Roman" panose="02020603050405020304" pitchFamily="18" charset="0"/>
                <a:ea typeface="Times New Roman" panose="02020603050405020304" pitchFamily="18" charset="0"/>
              </a:rPr>
              <a:t>space</a:t>
            </a:r>
            <a:r>
              <a:rPr lang="en-US" sz="3200" spc="600" dirty="0">
                <a:effectLst/>
                <a:latin typeface="Times New Roman" panose="02020603050405020304" pitchFamily="18" charset="0"/>
                <a:ea typeface="Times New Roman" panose="02020603050405020304" pitchFamily="18" charset="0"/>
              </a:rPr>
              <a:t> </a:t>
            </a:r>
            <a:r>
              <a:rPr lang="en-US" sz="3200" dirty="0">
                <a:effectLst/>
                <a:latin typeface="Times New Roman" panose="02020603050405020304" pitchFamily="18" charset="0"/>
                <a:ea typeface="Times New Roman" panose="02020603050405020304" pitchFamily="18" charset="0"/>
              </a:rPr>
              <a:t>S</a:t>
            </a:r>
            <a:r>
              <a:rPr lang="en-US" sz="3200" spc="600" dirty="0">
                <a:effectLst/>
                <a:latin typeface="Times New Roman" panose="02020603050405020304" pitchFamily="18" charset="0"/>
                <a:ea typeface="Times New Roman" panose="02020603050405020304" pitchFamily="18" charset="0"/>
              </a:rPr>
              <a:t> </a:t>
            </a:r>
            <a:r>
              <a:rPr lang="en-US" sz="3200" dirty="0">
                <a:effectLst/>
                <a:latin typeface="Times New Roman" panose="02020603050405020304" pitchFamily="18" charset="0"/>
                <a:ea typeface="Times New Roman" panose="02020603050405020304" pitchFamily="18" charset="0"/>
              </a:rPr>
              <a:t>for</a:t>
            </a:r>
            <a:r>
              <a:rPr lang="en-US" sz="3200" spc="600" dirty="0">
                <a:effectLst/>
                <a:latin typeface="Times New Roman" panose="02020603050405020304" pitchFamily="18" charset="0"/>
                <a:ea typeface="Times New Roman" panose="02020603050405020304" pitchFamily="18" charset="0"/>
              </a:rPr>
              <a:t> </a:t>
            </a:r>
            <a:r>
              <a:rPr lang="en-US" sz="3200" dirty="0">
                <a:effectLst/>
                <a:latin typeface="Times New Roman" panose="02020603050405020304" pitchFamily="18" charset="0"/>
                <a:ea typeface="Times New Roman" panose="02020603050405020304" pitchFamily="18" charset="0"/>
              </a:rPr>
              <a:t>a</a:t>
            </a:r>
            <a:r>
              <a:rPr lang="en-US" sz="3200" spc="600" dirty="0">
                <a:effectLst/>
                <a:latin typeface="Times New Roman" panose="02020603050405020304" pitchFamily="18" charset="0"/>
                <a:ea typeface="Times New Roman" panose="02020603050405020304" pitchFamily="18" charset="0"/>
              </a:rPr>
              <a:t> </a:t>
            </a:r>
            <a:r>
              <a:rPr lang="en-US" sz="3200" b="1" dirty="0">
                <a:effectLst/>
                <a:latin typeface="Times New Roman" panose="02020603050405020304" pitchFamily="18" charset="0"/>
                <a:ea typeface="Times New Roman" panose="02020603050405020304" pitchFamily="18" charset="0"/>
              </a:rPr>
              <a:t>probability</a:t>
            </a:r>
            <a:r>
              <a:rPr lang="en-US" sz="3200" b="1" spc="5" dirty="0">
                <a:effectLst/>
                <a:latin typeface="Times New Roman" panose="02020603050405020304" pitchFamily="18" charset="0"/>
                <a:ea typeface="Times New Roman" panose="02020603050405020304" pitchFamily="18" charset="0"/>
              </a:rPr>
              <a:t> </a:t>
            </a:r>
            <a:r>
              <a:rPr lang="en-US" sz="3200" b="1" dirty="0">
                <a:effectLst/>
                <a:latin typeface="Times New Roman" panose="02020603050405020304" pitchFamily="18" charset="0"/>
                <a:ea typeface="Times New Roman" panose="02020603050405020304" pitchFamily="18" charset="0"/>
              </a:rPr>
              <a:t>model</a:t>
            </a:r>
            <a:r>
              <a:rPr lang="en-US" sz="3200" b="1" spc="-5" dirty="0">
                <a:effectLst/>
                <a:latin typeface="Times New Roman" panose="02020603050405020304" pitchFamily="18" charset="0"/>
                <a:ea typeface="Times New Roman" panose="02020603050405020304" pitchFamily="18" charset="0"/>
              </a:rPr>
              <a:t> </a:t>
            </a:r>
            <a:r>
              <a:rPr lang="en-US" sz="3200" dirty="0">
                <a:effectLst/>
                <a:latin typeface="Times New Roman" panose="02020603050405020304" pitchFamily="18" charset="0"/>
                <a:ea typeface="Times New Roman" panose="02020603050405020304" pitchFamily="18" charset="0"/>
              </a:rPr>
              <a:t>is</a:t>
            </a:r>
            <a:r>
              <a:rPr lang="en-US" sz="3200" spc="-20" dirty="0">
                <a:effectLst/>
                <a:latin typeface="Times New Roman" panose="02020603050405020304" pitchFamily="18" charset="0"/>
                <a:ea typeface="Times New Roman" panose="02020603050405020304" pitchFamily="18" charset="0"/>
              </a:rPr>
              <a:t> </a:t>
            </a:r>
            <a:r>
              <a:rPr lang="en-US" sz="3200" dirty="0">
                <a:effectLst/>
                <a:latin typeface="Times New Roman" panose="02020603050405020304" pitchFamily="18" charset="0"/>
                <a:ea typeface="Times New Roman" panose="02020603050405020304" pitchFamily="18" charset="0"/>
              </a:rPr>
              <a:t>the</a:t>
            </a:r>
            <a:r>
              <a:rPr lang="en-US" sz="3200" spc="-35" dirty="0">
                <a:effectLst/>
                <a:latin typeface="Times New Roman" panose="02020603050405020304" pitchFamily="18" charset="0"/>
                <a:ea typeface="Times New Roman" panose="02020603050405020304" pitchFamily="18" charset="0"/>
              </a:rPr>
              <a:t> </a:t>
            </a:r>
            <a:r>
              <a:rPr lang="en-US" sz="3200" dirty="0">
                <a:effectLst/>
                <a:latin typeface="Times New Roman" panose="02020603050405020304" pitchFamily="18" charset="0"/>
                <a:ea typeface="Times New Roman" panose="02020603050405020304" pitchFamily="18" charset="0"/>
              </a:rPr>
              <a:t>set</a:t>
            </a:r>
            <a:r>
              <a:rPr lang="en-US" sz="3200" spc="5" dirty="0">
                <a:effectLst/>
                <a:latin typeface="Times New Roman" panose="02020603050405020304" pitchFamily="18" charset="0"/>
                <a:ea typeface="Times New Roman" panose="02020603050405020304" pitchFamily="18" charset="0"/>
              </a:rPr>
              <a:t> </a:t>
            </a:r>
            <a:r>
              <a:rPr lang="en-US" sz="3200" dirty="0">
                <a:effectLst/>
                <a:latin typeface="Times New Roman" panose="02020603050405020304" pitchFamily="18" charset="0"/>
                <a:ea typeface="Times New Roman" panose="02020603050405020304" pitchFamily="18" charset="0"/>
              </a:rPr>
              <a:t>of</a:t>
            </a:r>
            <a:r>
              <a:rPr lang="en-US" sz="3200" spc="-10" dirty="0">
                <a:effectLst/>
                <a:latin typeface="Times New Roman" panose="02020603050405020304" pitchFamily="18" charset="0"/>
                <a:ea typeface="Times New Roman" panose="02020603050405020304" pitchFamily="18" charset="0"/>
              </a:rPr>
              <a:t> </a:t>
            </a:r>
            <a:r>
              <a:rPr lang="en-US" sz="3200" dirty="0">
                <a:effectLst/>
                <a:latin typeface="Times New Roman" panose="02020603050405020304" pitchFamily="18" charset="0"/>
                <a:ea typeface="Times New Roman" panose="02020603050405020304" pitchFamily="18" charset="0"/>
              </a:rPr>
              <a:t>all</a:t>
            </a:r>
            <a:r>
              <a:rPr lang="en-US" sz="3200" spc="-45" dirty="0">
                <a:effectLst/>
                <a:latin typeface="Times New Roman" panose="02020603050405020304" pitchFamily="18" charset="0"/>
                <a:ea typeface="Times New Roman" panose="02020603050405020304" pitchFamily="18" charset="0"/>
              </a:rPr>
              <a:t> </a:t>
            </a:r>
            <a:r>
              <a:rPr lang="en-US" sz="3200" dirty="0">
                <a:effectLst/>
                <a:latin typeface="Times New Roman" panose="02020603050405020304" pitchFamily="18" charset="0"/>
                <a:ea typeface="Times New Roman" panose="02020603050405020304" pitchFamily="18" charset="0"/>
              </a:rPr>
              <a:t>possible</a:t>
            </a:r>
            <a:r>
              <a:rPr lang="en-US" sz="3200" spc="-10" dirty="0">
                <a:effectLst/>
                <a:latin typeface="Times New Roman" panose="02020603050405020304" pitchFamily="18" charset="0"/>
                <a:ea typeface="Times New Roman" panose="02020603050405020304" pitchFamily="18" charset="0"/>
              </a:rPr>
              <a:t> </a:t>
            </a:r>
            <a:r>
              <a:rPr lang="en-US" sz="3200" dirty="0">
                <a:effectLst/>
                <a:latin typeface="Times New Roman" panose="02020603050405020304" pitchFamily="18" charset="0"/>
                <a:ea typeface="Times New Roman" panose="02020603050405020304" pitchFamily="18" charset="0"/>
              </a:rPr>
              <a:t>outcomes.</a:t>
            </a:r>
            <a:r>
              <a:rPr lang="en-IN" sz="3200" dirty="0">
                <a:effectLst/>
              </a:rPr>
              <a:t> </a:t>
            </a:r>
          </a:p>
          <a:p>
            <a:endParaRPr lang="en-IN" sz="3200" dirty="0"/>
          </a:p>
          <a:p>
            <a:pPr marL="523240">
              <a:spcBef>
                <a:spcPts val="775"/>
              </a:spcBef>
            </a:pPr>
            <a:r>
              <a:rPr lang="en-US" sz="3200" b="1" dirty="0">
                <a:effectLst/>
                <a:latin typeface="Times New Roman" panose="02020603050405020304" pitchFamily="18" charset="0"/>
                <a:ea typeface="Times New Roman" panose="02020603050405020304" pitchFamily="18" charset="0"/>
              </a:rPr>
              <a:t>Who</a:t>
            </a:r>
            <a:r>
              <a:rPr lang="en-US" sz="3200" b="1" spc="-50" dirty="0">
                <a:effectLst/>
                <a:latin typeface="Times New Roman" panose="02020603050405020304" pitchFamily="18" charset="0"/>
                <a:ea typeface="Times New Roman" panose="02020603050405020304" pitchFamily="18" charset="0"/>
              </a:rPr>
              <a:t> </a:t>
            </a:r>
            <a:r>
              <a:rPr lang="en-US" sz="3200" b="1" dirty="0">
                <a:effectLst/>
                <a:latin typeface="Times New Roman" panose="02020603050405020304" pitchFamily="18" charset="0"/>
                <a:ea typeface="Times New Roman" panose="02020603050405020304" pitchFamily="18" charset="0"/>
              </a:rPr>
              <a:t>is</a:t>
            </a:r>
            <a:r>
              <a:rPr lang="en-US" sz="3200" b="1" spc="-5" dirty="0">
                <a:effectLst/>
                <a:latin typeface="Times New Roman" panose="02020603050405020304" pitchFamily="18" charset="0"/>
                <a:ea typeface="Times New Roman" panose="02020603050405020304" pitchFamily="18" charset="0"/>
              </a:rPr>
              <a:t> </a:t>
            </a:r>
            <a:r>
              <a:rPr lang="en-US" sz="3200" b="1" dirty="0">
                <a:effectLst/>
                <a:latin typeface="Times New Roman" panose="02020603050405020304" pitchFamily="18" charset="0"/>
                <a:ea typeface="Times New Roman" panose="02020603050405020304" pitchFamily="18" charset="0"/>
              </a:rPr>
              <a:t>known</a:t>
            </a:r>
            <a:r>
              <a:rPr lang="en-US" sz="3200" b="1" spc="-80" dirty="0">
                <a:effectLst/>
                <a:latin typeface="Times New Roman" panose="02020603050405020304" pitchFamily="18" charset="0"/>
                <a:ea typeface="Times New Roman" panose="02020603050405020304" pitchFamily="18" charset="0"/>
              </a:rPr>
              <a:t> </a:t>
            </a:r>
            <a:r>
              <a:rPr lang="en-US" sz="3200" b="1" dirty="0">
                <a:effectLst/>
                <a:latin typeface="Times New Roman" panose="02020603050405020304" pitchFamily="18" charset="0"/>
                <a:ea typeface="Times New Roman" panose="02020603050405020304" pitchFamily="18" charset="0"/>
              </a:rPr>
              <a:t>as</a:t>
            </a:r>
            <a:r>
              <a:rPr lang="en-US" sz="3200" b="1" spc="-30" dirty="0">
                <a:effectLst/>
                <a:latin typeface="Times New Roman" panose="02020603050405020304" pitchFamily="18" charset="0"/>
                <a:ea typeface="Times New Roman" panose="02020603050405020304" pitchFamily="18" charset="0"/>
              </a:rPr>
              <a:t> </a:t>
            </a:r>
            <a:r>
              <a:rPr lang="en-US" sz="3200" b="1" dirty="0">
                <a:effectLst/>
                <a:latin typeface="Times New Roman" panose="02020603050405020304" pitchFamily="18" charset="0"/>
                <a:ea typeface="Times New Roman" panose="02020603050405020304" pitchFamily="18" charset="0"/>
              </a:rPr>
              <a:t>father</a:t>
            </a:r>
            <a:r>
              <a:rPr lang="en-US" sz="3200" b="1" spc="-155" dirty="0">
                <a:effectLst/>
                <a:latin typeface="Times New Roman" panose="02020603050405020304" pitchFamily="18" charset="0"/>
                <a:ea typeface="Times New Roman" panose="02020603050405020304" pitchFamily="18" charset="0"/>
              </a:rPr>
              <a:t> </a:t>
            </a:r>
            <a:r>
              <a:rPr lang="en-US" sz="3200" b="1" dirty="0">
                <a:effectLst/>
                <a:latin typeface="Times New Roman" panose="02020603050405020304" pitchFamily="18" charset="0"/>
                <a:ea typeface="Times New Roman" panose="02020603050405020304" pitchFamily="18" charset="0"/>
              </a:rPr>
              <a:t>of</a:t>
            </a:r>
            <a:r>
              <a:rPr lang="en-US" sz="3200" b="1" spc="-45" dirty="0">
                <a:effectLst/>
                <a:latin typeface="Times New Roman" panose="02020603050405020304" pitchFamily="18" charset="0"/>
                <a:ea typeface="Times New Roman" panose="02020603050405020304" pitchFamily="18" charset="0"/>
              </a:rPr>
              <a:t> </a:t>
            </a:r>
            <a:r>
              <a:rPr lang="en-US" sz="3200" b="1" dirty="0">
                <a:effectLst/>
                <a:latin typeface="Times New Roman" panose="02020603050405020304" pitchFamily="18" charset="0"/>
                <a:ea typeface="Times New Roman" panose="02020603050405020304" pitchFamily="18" charset="0"/>
              </a:rPr>
              <a:t>probability?</a:t>
            </a:r>
            <a:endParaRPr lang="en-IN" sz="3200" b="1" dirty="0">
              <a:effectLst/>
              <a:latin typeface="Times New Roman" panose="02020603050405020304" pitchFamily="18" charset="0"/>
              <a:ea typeface="Times New Roman" panose="02020603050405020304" pitchFamily="18" charset="0"/>
            </a:endParaRPr>
          </a:p>
          <a:p>
            <a:r>
              <a:rPr lang="en-US" sz="3200" dirty="0">
                <a:effectLst/>
                <a:latin typeface="Times New Roman" panose="02020603050405020304" pitchFamily="18" charset="0"/>
                <a:ea typeface="Times New Roman" panose="02020603050405020304" pitchFamily="18" charset="0"/>
              </a:rPr>
              <a:t>	A</a:t>
            </a:r>
            <a:r>
              <a:rPr lang="en-US" sz="3200" spc="5" dirty="0">
                <a:effectLst/>
                <a:latin typeface="Times New Roman" panose="02020603050405020304" pitchFamily="18" charset="0"/>
                <a:ea typeface="Times New Roman" panose="02020603050405020304" pitchFamily="18" charset="0"/>
              </a:rPr>
              <a:t> </a:t>
            </a:r>
            <a:r>
              <a:rPr lang="en-US" sz="3200" dirty="0">
                <a:effectLst/>
                <a:latin typeface="Times New Roman" panose="02020603050405020304" pitchFamily="18" charset="0"/>
                <a:ea typeface="Times New Roman" panose="02020603050405020304" pitchFamily="18" charset="0"/>
              </a:rPr>
              <a:t>gambler's</a:t>
            </a:r>
            <a:r>
              <a:rPr lang="en-US" sz="3200" spc="5" dirty="0">
                <a:effectLst/>
                <a:latin typeface="Times New Roman" panose="02020603050405020304" pitchFamily="18" charset="0"/>
                <a:ea typeface="Times New Roman" panose="02020603050405020304" pitchFamily="18" charset="0"/>
              </a:rPr>
              <a:t> </a:t>
            </a:r>
            <a:r>
              <a:rPr lang="en-US" sz="3200" dirty="0">
                <a:effectLst/>
                <a:latin typeface="Times New Roman" panose="02020603050405020304" pitchFamily="18" charset="0"/>
                <a:ea typeface="Times New Roman" panose="02020603050405020304" pitchFamily="18" charset="0"/>
              </a:rPr>
              <a:t>dispute</a:t>
            </a:r>
            <a:r>
              <a:rPr lang="en-US" sz="3200" spc="5" dirty="0">
                <a:effectLst/>
                <a:latin typeface="Times New Roman" panose="02020603050405020304" pitchFamily="18" charset="0"/>
                <a:ea typeface="Times New Roman" panose="02020603050405020304" pitchFamily="18" charset="0"/>
              </a:rPr>
              <a:t> </a:t>
            </a:r>
            <a:r>
              <a:rPr lang="en-US" sz="3200" dirty="0">
                <a:effectLst/>
                <a:latin typeface="Times New Roman" panose="02020603050405020304" pitchFamily="18" charset="0"/>
                <a:ea typeface="Times New Roman" panose="02020603050405020304" pitchFamily="18" charset="0"/>
              </a:rPr>
              <a:t>in</a:t>
            </a:r>
            <a:r>
              <a:rPr lang="en-US" sz="3200" spc="5" dirty="0">
                <a:effectLst/>
                <a:latin typeface="Times New Roman" panose="02020603050405020304" pitchFamily="18" charset="0"/>
                <a:ea typeface="Times New Roman" panose="02020603050405020304" pitchFamily="18" charset="0"/>
              </a:rPr>
              <a:t> </a:t>
            </a:r>
            <a:r>
              <a:rPr lang="en-US" sz="3200" dirty="0">
                <a:effectLst/>
                <a:latin typeface="Times New Roman" panose="02020603050405020304" pitchFamily="18" charset="0"/>
                <a:ea typeface="Times New Roman" panose="02020603050405020304" pitchFamily="18" charset="0"/>
              </a:rPr>
              <a:t>1654</a:t>
            </a:r>
            <a:r>
              <a:rPr lang="en-US" sz="3200" spc="5" dirty="0">
                <a:effectLst/>
                <a:latin typeface="Times New Roman" panose="02020603050405020304" pitchFamily="18" charset="0"/>
                <a:ea typeface="Times New Roman" panose="02020603050405020304" pitchFamily="18" charset="0"/>
              </a:rPr>
              <a:t> </a:t>
            </a:r>
            <a:r>
              <a:rPr lang="en-US" sz="3200" dirty="0">
                <a:effectLst/>
                <a:latin typeface="Times New Roman" panose="02020603050405020304" pitchFamily="18" charset="0"/>
                <a:ea typeface="Times New Roman" panose="02020603050405020304" pitchFamily="18" charset="0"/>
              </a:rPr>
              <a:t>led</a:t>
            </a:r>
            <a:r>
              <a:rPr lang="en-US" sz="3200" spc="5" dirty="0">
                <a:effectLst/>
                <a:latin typeface="Times New Roman" panose="02020603050405020304" pitchFamily="18" charset="0"/>
                <a:ea typeface="Times New Roman" panose="02020603050405020304" pitchFamily="18" charset="0"/>
              </a:rPr>
              <a:t> </a:t>
            </a:r>
            <a:r>
              <a:rPr lang="en-US" sz="3200" dirty="0">
                <a:effectLst/>
                <a:latin typeface="Times New Roman" panose="02020603050405020304" pitchFamily="18" charset="0"/>
                <a:ea typeface="Times New Roman" panose="02020603050405020304" pitchFamily="18" charset="0"/>
              </a:rPr>
              <a:t>to</a:t>
            </a:r>
            <a:r>
              <a:rPr lang="en-US" sz="3200" spc="5" dirty="0">
                <a:effectLst/>
                <a:latin typeface="Times New Roman" panose="02020603050405020304" pitchFamily="18" charset="0"/>
                <a:ea typeface="Times New Roman" panose="02020603050405020304" pitchFamily="18" charset="0"/>
              </a:rPr>
              <a:t> </a:t>
            </a:r>
            <a:r>
              <a:rPr lang="en-US" sz="3200" dirty="0">
                <a:effectLst/>
                <a:latin typeface="Times New Roman" panose="02020603050405020304" pitchFamily="18" charset="0"/>
                <a:ea typeface="Times New Roman" panose="02020603050405020304" pitchFamily="18" charset="0"/>
              </a:rPr>
              <a:t>the</a:t>
            </a:r>
            <a:r>
              <a:rPr lang="en-US" sz="3200" spc="5" dirty="0">
                <a:effectLst/>
                <a:latin typeface="Times New Roman" panose="02020603050405020304" pitchFamily="18" charset="0"/>
                <a:ea typeface="Times New Roman" panose="02020603050405020304" pitchFamily="18" charset="0"/>
              </a:rPr>
              <a:t> </a:t>
            </a:r>
            <a:r>
              <a:rPr lang="en-US" sz="3200" dirty="0">
                <a:effectLst/>
                <a:latin typeface="Times New Roman" panose="02020603050405020304" pitchFamily="18" charset="0"/>
                <a:ea typeface="Times New Roman" panose="02020603050405020304" pitchFamily="18" charset="0"/>
              </a:rPr>
              <a:t>creation</a:t>
            </a:r>
            <a:r>
              <a:rPr lang="en-US" sz="3200" spc="5" dirty="0">
                <a:effectLst/>
                <a:latin typeface="Times New Roman" panose="02020603050405020304" pitchFamily="18" charset="0"/>
                <a:ea typeface="Times New Roman" panose="02020603050405020304" pitchFamily="18" charset="0"/>
              </a:rPr>
              <a:t> </a:t>
            </a:r>
            <a:r>
              <a:rPr lang="en-US" sz="3200" dirty="0">
                <a:effectLst/>
                <a:latin typeface="Times New Roman" panose="02020603050405020304" pitchFamily="18" charset="0"/>
                <a:ea typeface="Times New Roman" panose="02020603050405020304" pitchFamily="18" charset="0"/>
              </a:rPr>
              <a:t>of</a:t>
            </a:r>
            <a:r>
              <a:rPr lang="en-US" sz="3200" spc="5" dirty="0">
                <a:effectLst/>
                <a:latin typeface="Times New Roman" panose="02020603050405020304" pitchFamily="18" charset="0"/>
                <a:ea typeface="Times New Roman" panose="02020603050405020304" pitchFamily="18" charset="0"/>
              </a:rPr>
              <a:t> </a:t>
            </a:r>
            <a:r>
              <a:rPr lang="en-US" sz="3200" dirty="0">
                <a:effectLst/>
                <a:latin typeface="Times New Roman" panose="02020603050405020304" pitchFamily="18" charset="0"/>
                <a:ea typeface="Times New Roman" panose="02020603050405020304" pitchFamily="18" charset="0"/>
              </a:rPr>
              <a:t>a</a:t>
            </a:r>
            <a:r>
              <a:rPr lang="en-US" sz="3200" spc="5" dirty="0">
                <a:effectLst/>
                <a:latin typeface="Times New Roman" panose="02020603050405020304" pitchFamily="18" charset="0"/>
                <a:ea typeface="Times New Roman" panose="02020603050405020304" pitchFamily="18" charset="0"/>
              </a:rPr>
              <a:t> </a:t>
            </a:r>
            <a:r>
              <a:rPr lang="en-US" sz="3200" dirty="0">
                <a:effectLst/>
                <a:latin typeface="Times New Roman" panose="02020603050405020304" pitchFamily="18" charset="0"/>
                <a:ea typeface="Times New Roman" panose="02020603050405020304" pitchFamily="18" charset="0"/>
              </a:rPr>
              <a:t>mathematical</a:t>
            </a:r>
            <a:r>
              <a:rPr lang="en-US" sz="3200" spc="5" dirty="0">
                <a:effectLst/>
                <a:latin typeface="Times New Roman" panose="02020603050405020304" pitchFamily="18" charset="0"/>
                <a:ea typeface="Times New Roman" panose="02020603050405020304" pitchFamily="18" charset="0"/>
              </a:rPr>
              <a:t> </a:t>
            </a:r>
            <a:r>
              <a:rPr lang="en-US" sz="3200" dirty="0">
                <a:effectLst/>
                <a:latin typeface="Times New Roman" panose="02020603050405020304" pitchFamily="18" charset="0"/>
                <a:ea typeface="Times New Roman" panose="02020603050405020304" pitchFamily="18" charset="0"/>
              </a:rPr>
              <a:t>theory</a:t>
            </a:r>
            <a:r>
              <a:rPr lang="en-US" sz="3200" spc="5" dirty="0">
                <a:effectLst/>
                <a:latin typeface="Times New Roman" panose="02020603050405020304" pitchFamily="18" charset="0"/>
                <a:ea typeface="Times New Roman" panose="02020603050405020304" pitchFamily="18" charset="0"/>
              </a:rPr>
              <a:t> </a:t>
            </a:r>
            <a:r>
              <a:rPr lang="en-US" sz="3200" dirty="0">
                <a:effectLst/>
                <a:latin typeface="Times New Roman" panose="02020603050405020304" pitchFamily="18" charset="0"/>
                <a:ea typeface="Times New Roman" panose="02020603050405020304" pitchFamily="18" charset="0"/>
              </a:rPr>
              <a:t>of</a:t>
            </a:r>
            <a:r>
              <a:rPr lang="en-US" sz="3200" spc="5" dirty="0">
                <a:effectLst/>
                <a:latin typeface="Times New Roman" panose="02020603050405020304" pitchFamily="18" charset="0"/>
                <a:ea typeface="Times New Roman" panose="02020603050405020304" pitchFamily="18" charset="0"/>
              </a:rPr>
              <a:t> </a:t>
            </a:r>
            <a:r>
              <a:rPr lang="en-US" sz="3200" dirty="0">
                <a:effectLst/>
                <a:latin typeface="Times New Roman" panose="02020603050405020304" pitchFamily="18" charset="0"/>
                <a:ea typeface="Times New Roman" panose="02020603050405020304" pitchFamily="18" charset="0"/>
              </a:rPr>
              <a:t>probability</a:t>
            </a:r>
            <a:r>
              <a:rPr lang="en-US" sz="3200" spc="5" dirty="0">
                <a:effectLst/>
                <a:latin typeface="Times New Roman" panose="02020603050405020304" pitchFamily="18" charset="0"/>
                <a:ea typeface="Times New Roman" panose="02020603050405020304" pitchFamily="18" charset="0"/>
              </a:rPr>
              <a:t> </a:t>
            </a:r>
            <a:r>
              <a:rPr lang="en-US" sz="3200" dirty="0">
                <a:effectLst/>
                <a:latin typeface="Times New Roman" panose="02020603050405020304" pitchFamily="18" charset="0"/>
                <a:ea typeface="Times New Roman" panose="02020603050405020304" pitchFamily="18" charset="0"/>
              </a:rPr>
              <a:t>by</a:t>
            </a:r>
            <a:r>
              <a:rPr lang="en-US" sz="3200" spc="5" dirty="0">
                <a:effectLst/>
                <a:latin typeface="Times New Roman" panose="02020603050405020304" pitchFamily="18" charset="0"/>
                <a:ea typeface="Times New Roman" panose="02020603050405020304" pitchFamily="18" charset="0"/>
              </a:rPr>
              <a:t> </a:t>
            </a:r>
            <a:r>
              <a:rPr lang="en-US" sz="3200" dirty="0">
                <a:effectLst/>
                <a:latin typeface="Times New Roman" panose="02020603050405020304" pitchFamily="18" charset="0"/>
                <a:ea typeface="Times New Roman" panose="02020603050405020304" pitchFamily="18" charset="0"/>
              </a:rPr>
              <a:t>two</a:t>
            </a:r>
            <a:r>
              <a:rPr lang="en-US" sz="3200" spc="5" dirty="0">
                <a:effectLst/>
                <a:latin typeface="Times New Roman" panose="02020603050405020304" pitchFamily="18" charset="0"/>
                <a:ea typeface="Times New Roman" panose="02020603050405020304" pitchFamily="18" charset="0"/>
              </a:rPr>
              <a:t> </a:t>
            </a:r>
            <a:r>
              <a:rPr lang="en-US" sz="3200" dirty="0">
                <a:effectLst/>
                <a:latin typeface="Times New Roman" panose="02020603050405020304" pitchFamily="18" charset="0"/>
                <a:ea typeface="Times New Roman" panose="02020603050405020304" pitchFamily="18" charset="0"/>
              </a:rPr>
              <a:t>famous</a:t>
            </a:r>
            <a:r>
              <a:rPr lang="en-US" sz="3200" spc="5" dirty="0">
                <a:effectLst/>
                <a:latin typeface="Times New Roman" panose="02020603050405020304" pitchFamily="18" charset="0"/>
                <a:ea typeface="Times New Roman" panose="02020603050405020304" pitchFamily="18" charset="0"/>
              </a:rPr>
              <a:t> </a:t>
            </a:r>
            <a:r>
              <a:rPr lang="en-US" sz="3200" dirty="0">
                <a:effectLst/>
                <a:latin typeface="Times New Roman" panose="02020603050405020304" pitchFamily="18" charset="0"/>
                <a:ea typeface="Times New Roman" panose="02020603050405020304" pitchFamily="18" charset="0"/>
              </a:rPr>
              <a:t>French</a:t>
            </a:r>
            <a:r>
              <a:rPr lang="en-US" sz="3200" spc="5" dirty="0">
                <a:effectLst/>
                <a:latin typeface="Times New Roman" panose="02020603050405020304" pitchFamily="18" charset="0"/>
                <a:ea typeface="Times New Roman" panose="02020603050405020304" pitchFamily="18" charset="0"/>
              </a:rPr>
              <a:t> </a:t>
            </a:r>
            <a:r>
              <a:rPr lang="en-US" sz="3200" dirty="0">
                <a:effectLst/>
                <a:latin typeface="Times New Roman" panose="02020603050405020304" pitchFamily="18" charset="0"/>
                <a:ea typeface="Times New Roman" panose="02020603050405020304" pitchFamily="18" charset="0"/>
              </a:rPr>
              <a:t>mathematicians,</a:t>
            </a:r>
            <a:r>
              <a:rPr lang="en-US" sz="3200" spc="-100" dirty="0">
                <a:effectLst/>
                <a:latin typeface="Times New Roman" panose="02020603050405020304" pitchFamily="18" charset="0"/>
                <a:ea typeface="Times New Roman" panose="02020603050405020304" pitchFamily="18" charset="0"/>
              </a:rPr>
              <a:t> </a:t>
            </a:r>
            <a:r>
              <a:rPr lang="en-US" sz="3200" dirty="0">
                <a:effectLst/>
                <a:latin typeface="Times New Roman" panose="02020603050405020304" pitchFamily="18" charset="0"/>
                <a:ea typeface="Times New Roman" panose="02020603050405020304" pitchFamily="18" charset="0"/>
              </a:rPr>
              <a:t>Blaise</a:t>
            </a:r>
            <a:r>
              <a:rPr lang="en-US" sz="3200" spc="-10" dirty="0">
                <a:effectLst/>
                <a:latin typeface="Times New Roman" panose="02020603050405020304" pitchFamily="18" charset="0"/>
                <a:ea typeface="Times New Roman" panose="02020603050405020304" pitchFamily="18" charset="0"/>
              </a:rPr>
              <a:t> </a:t>
            </a:r>
            <a:r>
              <a:rPr lang="en-US" sz="3200" dirty="0">
                <a:effectLst/>
                <a:latin typeface="Times New Roman" panose="02020603050405020304" pitchFamily="18" charset="0"/>
                <a:ea typeface="Times New Roman" panose="02020603050405020304" pitchFamily="18" charset="0"/>
              </a:rPr>
              <a:t>Pascal</a:t>
            </a:r>
            <a:r>
              <a:rPr lang="en-US" sz="3200" spc="-20" dirty="0">
                <a:effectLst/>
                <a:latin typeface="Times New Roman" panose="02020603050405020304" pitchFamily="18" charset="0"/>
                <a:ea typeface="Times New Roman" panose="02020603050405020304" pitchFamily="18" charset="0"/>
              </a:rPr>
              <a:t> </a:t>
            </a:r>
            <a:r>
              <a:rPr lang="en-US" sz="3200" dirty="0">
                <a:effectLst/>
                <a:latin typeface="Times New Roman" panose="02020603050405020304" pitchFamily="18" charset="0"/>
                <a:ea typeface="Times New Roman" panose="02020603050405020304" pitchFamily="18" charset="0"/>
              </a:rPr>
              <a:t>and</a:t>
            </a:r>
            <a:r>
              <a:rPr lang="en-US" sz="3200" spc="-5" dirty="0">
                <a:effectLst/>
                <a:latin typeface="Times New Roman" panose="02020603050405020304" pitchFamily="18" charset="0"/>
                <a:ea typeface="Times New Roman" panose="02020603050405020304" pitchFamily="18" charset="0"/>
              </a:rPr>
              <a:t> </a:t>
            </a:r>
            <a:r>
              <a:rPr lang="en-US" sz="3200" dirty="0">
                <a:effectLst/>
                <a:latin typeface="Times New Roman" panose="02020603050405020304" pitchFamily="18" charset="0"/>
                <a:ea typeface="Times New Roman" panose="02020603050405020304" pitchFamily="18" charset="0"/>
              </a:rPr>
              <a:t>Pierre</a:t>
            </a:r>
            <a:r>
              <a:rPr lang="en-US" sz="3200" spc="-45" dirty="0">
                <a:effectLst/>
                <a:latin typeface="Times New Roman" panose="02020603050405020304" pitchFamily="18" charset="0"/>
                <a:ea typeface="Times New Roman" panose="02020603050405020304" pitchFamily="18" charset="0"/>
              </a:rPr>
              <a:t> </a:t>
            </a:r>
            <a:r>
              <a:rPr lang="en-US" sz="3200" dirty="0">
                <a:effectLst/>
                <a:latin typeface="Times New Roman" panose="02020603050405020304" pitchFamily="18" charset="0"/>
                <a:ea typeface="Times New Roman" panose="02020603050405020304" pitchFamily="18" charset="0"/>
              </a:rPr>
              <a:t>de</a:t>
            </a:r>
            <a:r>
              <a:rPr lang="en-US" sz="3200" spc="-20" dirty="0">
                <a:effectLst/>
                <a:latin typeface="Times New Roman" panose="02020603050405020304" pitchFamily="18" charset="0"/>
                <a:ea typeface="Times New Roman" panose="02020603050405020304" pitchFamily="18" charset="0"/>
              </a:rPr>
              <a:t> </a:t>
            </a:r>
            <a:r>
              <a:rPr lang="en-US" sz="3200" dirty="0">
                <a:effectLst/>
                <a:latin typeface="Times New Roman" panose="02020603050405020304" pitchFamily="18" charset="0"/>
                <a:ea typeface="Times New Roman" panose="02020603050405020304" pitchFamily="18" charset="0"/>
              </a:rPr>
              <a:t>Fermat</a:t>
            </a:r>
            <a:r>
              <a:rPr lang="en-IN" sz="3200" dirty="0">
                <a:effectLst/>
              </a:rPr>
              <a:t> </a:t>
            </a:r>
            <a:endParaRPr lang="en-US" sz="3200" dirty="0"/>
          </a:p>
        </p:txBody>
      </p:sp>
    </p:spTree>
    <p:extLst>
      <p:ext uri="{BB962C8B-B14F-4D97-AF65-F5344CB8AC3E}">
        <p14:creationId xmlns:p14="http://schemas.microsoft.com/office/powerpoint/2010/main" val="129412695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image76.png">
            <a:extLst>
              <a:ext uri="{FF2B5EF4-FFF2-40B4-BE49-F238E27FC236}">
                <a16:creationId xmlns:a16="http://schemas.microsoft.com/office/drawing/2014/main" id="{079ACF34-A5D3-3CA3-7198-AC2E88114D00}"/>
              </a:ext>
            </a:extLst>
          </p:cNvPr>
          <p:cNvPicPr>
            <a:picLocks noChangeAspect="1"/>
          </p:cNvPicPr>
          <p:nvPr/>
        </p:nvPicPr>
        <p:blipFill>
          <a:blip r:embed="rId2" cstate="print"/>
          <a:stretch>
            <a:fillRect/>
          </a:stretch>
        </p:blipFill>
        <p:spPr>
          <a:xfrm>
            <a:off x="6019800" y="2328862"/>
            <a:ext cx="6038850" cy="2674873"/>
          </a:xfrm>
          <a:prstGeom prst="rect">
            <a:avLst/>
          </a:prstGeom>
        </p:spPr>
      </p:pic>
      <p:sp>
        <p:nvSpPr>
          <p:cNvPr id="2" name="Title 1">
            <a:extLst>
              <a:ext uri="{FF2B5EF4-FFF2-40B4-BE49-F238E27FC236}">
                <a16:creationId xmlns:a16="http://schemas.microsoft.com/office/drawing/2014/main" id="{7EBA1C76-FC0E-42DF-73C6-00965D8D730E}"/>
              </a:ext>
            </a:extLst>
          </p:cNvPr>
          <p:cNvSpPr>
            <a:spLocks noGrp="1"/>
          </p:cNvSpPr>
          <p:nvPr>
            <p:ph type="title"/>
          </p:nvPr>
        </p:nvSpPr>
        <p:spPr>
          <a:xfrm>
            <a:off x="133350" y="314325"/>
            <a:ext cx="12296775" cy="1451105"/>
          </a:xfrm>
        </p:spPr>
        <p:txBody>
          <a:bodyPr>
            <a:normAutofit fontScale="90000"/>
          </a:bodyPr>
          <a:lstStyle/>
          <a:p>
            <a:pPr marL="867410">
              <a:spcBef>
                <a:spcPts val="605"/>
              </a:spcBef>
              <a:spcAft>
                <a:spcPts val="0"/>
              </a:spcAft>
            </a:pPr>
            <a:r>
              <a:rPr lang="en-US" sz="3100" b="1" dirty="0">
                <a:effectLst/>
                <a:latin typeface="Times New Roman" panose="02020603050405020304" pitchFamily="18" charset="0"/>
                <a:ea typeface="Times New Roman" panose="02020603050405020304" pitchFamily="18" charset="0"/>
              </a:rPr>
              <a:t>Question:</a:t>
            </a:r>
            <a:r>
              <a:rPr lang="en-US" sz="3100" b="1" spc="-65" dirty="0">
                <a:effectLst/>
                <a:latin typeface="Times New Roman" panose="02020603050405020304" pitchFamily="18" charset="0"/>
                <a:ea typeface="Times New Roman" panose="02020603050405020304" pitchFamily="18" charset="0"/>
              </a:rPr>
              <a:t> </a:t>
            </a:r>
            <a:r>
              <a:rPr lang="en-US" sz="3100" b="1" dirty="0">
                <a:effectLst/>
                <a:latin typeface="Times New Roman" panose="02020603050405020304" pitchFamily="18" charset="0"/>
                <a:ea typeface="Times New Roman" panose="02020603050405020304" pitchFamily="18" charset="0"/>
              </a:rPr>
              <a:t>what</a:t>
            </a:r>
            <a:r>
              <a:rPr lang="en-US" sz="3100" b="1" spc="-35" dirty="0">
                <a:effectLst/>
                <a:latin typeface="Times New Roman" panose="02020603050405020304" pitchFamily="18" charset="0"/>
                <a:ea typeface="Times New Roman" panose="02020603050405020304" pitchFamily="18" charset="0"/>
              </a:rPr>
              <a:t> </a:t>
            </a:r>
            <a:r>
              <a:rPr lang="en-US" sz="3100" b="1" dirty="0">
                <a:effectLst/>
                <a:latin typeface="Times New Roman" panose="02020603050405020304" pitchFamily="18" charset="0"/>
                <a:ea typeface="Times New Roman" panose="02020603050405020304" pitchFamily="18" charset="0"/>
              </a:rPr>
              <a:t>is</a:t>
            </a:r>
            <a:r>
              <a:rPr lang="en-US" sz="3100" b="1" spc="-55" dirty="0">
                <a:effectLst/>
                <a:latin typeface="Times New Roman" panose="02020603050405020304" pitchFamily="18" charset="0"/>
                <a:ea typeface="Times New Roman" panose="02020603050405020304" pitchFamily="18" charset="0"/>
              </a:rPr>
              <a:t> </a:t>
            </a:r>
            <a:r>
              <a:rPr lang="en-US" sz="3100" b="1" dirty="0">
                <a:effectLst/>
                <a:latin typeface="Times New Roman" panose="02020603050405020304" pitchFamily="18" charset="0"/>
                <a:ea typeface="Times New Roman" panose="02020603050405020304" pitchFamily="18" charset="0"/>
              </a:rPr>
              <a:t>the</a:t>
            </a:r>
            <a:r>
              <a:rPr lang="en-US" sz="3100" b="1" spc="-50" dirty="0">
                <a:effectLst/>
                <a:latin typeface="Times New Roman" panose="02020603050405020304" pitchFamily="18" charset="0"/>
                <a:ea typeface="Times New Roman" panose="02020603050405020304" pitchFamily="18" charset="0"/>
              </a:rPr>
              <a:t> </a:t>
            </a:r>
            <a:r>
              <a:rPr lang="en-US" sz="3100" b="1" dirty="0">
                <a:effectLst/>
                <a:latin typeface="Times New Roman" panose="02020603050405020304" pitchFamily="18" charset="0"/>
                <a:ea typeface="Times New Roman" panose="02020603050405020304" pitchFamily="18" charset="0"/>
              </a:rPr>
              <a:t>probability</a:t>
            </a:r>
            <a:r>
              <a:rPr lang="en-US" sz="3100" b="1" spc="-105" dirty="0">
                <a:effectLst/>
                <a:latin typeface="Times New Roman" panose="02020603050405020304" pitchFamily="18" charset="0"/>
                <a:ea typeface="Times New Roman" panose="02020603050405020304" pitchFamily="18" charset="0"/>
              </a:rPr>
              <a:t> </a:t>
            </a:r>
            <a:r>
              <a:rPr lang="en-US" sz="3100" b="1" dirty="0">
                <a:effectLst/>
                <a:latin typeface="Times New Roman" panose="02020603050405020304" pitchFamily="18" charset="0"/>
                <a:ea typeface="Times New Roman" panose="02020603050405020304" pitchFamily="18" charset="0"/>
              </a:rPr>
              <a:t>that</a:t>
            </a:r>
            <a:r>
              <a:rPr lang="en-US" sz="3100" b="1" spc="-40" dirty="0">
                <a:effectLst/>
                <a:latin typeface="Times New Roman" panose="02020603050405020304" pitchFamily="18" charset="0"/>
                <a:ea typeface="Times New Roman" panose="02020603050405020304" pitchFamily="18" charset="0"/>
              </a:rPr>
              <a:t> </a:t>
            </a:r>
            <a:r>
              <a:rPr lang="en-US" sz="3100" b="1" dirty="0">
                <a:effectLst/>
                <a:latin typeface="Times New Roman" panose="02020603050405020304" pitchFamily="18" charset="0"/>
                <a:ea typeface="Times New Roman" panose="02020603050405020304" pitchFamily="18" charset="0"/>
              </a:rPr>
              <a:t>a</a:t>
            </a:r>
            <a:r>
              <a:rPr lang="en-US" sz="3100" b="1" spc="-35" dirty="0">
                <a:effectLst/>
                <a:latin typeface="Times New Roman" panose="02020603050405020304" pitchFamily="18" charset="0"/>
                <a:ea typeface="Times New Roman" panose="02020603050405020304" pitchFamily="18" charset="0"/>
              </a:rPr>
              <a:t> </a:t>
            </a:r>
            <a:r>
              <a:rPr lang="en-US" sz="3100" b="1" dirty="0">
                <a:effectLst/>
                <a:latin typeface="Times New Roman" panose="02020603050405020304" pitchFamily="18" charset="0"/>
                <a:ea typeface="Times New Roman" panose="02020603050405020304" pitchFamily="18" charset="0"/>
              </a:rPr>
              <a:t>patient</a:t>
            </a:r>
            <a:r>
              <a:rPr lang="en-US" sz="3100" b="1" spc="-90" dirty="0">
                <a:effectLst/>
                <a:latin typeface="Times New Roman" panose="02020603050405020304" pitchFamily="18" charset="0"/>
                <a:ea typeface="Times New Roman" panose="02020603050405020304" pitchFamily="18" charset="0"/>
              </a:rPr>
              <a:t> </a:t>
            </a:r>
            <a:r>
              <a:rPr lang="en-US" sz="3100" b="1" dirty="0">
                <a:effectLst/>
                <a:latin typeface="Times New Roman" panose="02020603050405020304" pitchFamily="18" charset="0"/>
                <a:ea typeface="Times New Roman" panose="02020603050405020304" pitchFamily="18" charset="0"/>
              </a:rPr>
              <a:t>has</a:t>
            </a:r>
            <a:r>
              <a:rPr lang="en-US" sz="3100" b="1" spc="-20" dirty="0">
                <a:effectLst/>
                <a:latin typeface="Times New Roman" panose="02020603050405020304" pitchFamily="18" charset="0"/>
                <a:ea typeface="Times New Roman" panose="02020603050405020304" pitchFamily="18" charset="0"/>
              </a:rPr>
              <a:t> </a:t>
            </a:r>
            <a:r>
              <a:rPr lang="en-US" sz="3100" b="1" dirty="0">
                <a:effectLst/>
                <a:latin typeface="Times New Roman" panose="02020603050405020304" pitchFamily="18" charset="0"/>
                <a:ea typeface="Times New Roman" panose="02020603050405020304" pitchFamily="18" charset="0"/>
              </a:rPr>
              <a:t>diseases</a:t>
            </a:r>
            <a:r>
              <a:rPr lang="en-US" sz="3100" b="1" spc="-55" dirty="0">
                <a:effectLst/>
                <a:latin typeface="Times New Roman" panose="02020603050405020304" pitchFamily="18" charset="0"/>
                <a:ea typeface="Times New Roman" panose="02020603050405020304" pitchFamily="18" charset="0"/>
              </a:rPr>
              <a:t> </a:t>
            </a:r>
            <a:r>
              <a:rPr lang="en-US" sz="3100" b="1" dirty="0">
                <a:effectLst/>
                <a:latin typeface="Times New Roman" panose="02020603050405020304" pitchFamily="18" charset="0"/>
                <a:ea typeface="Times New Roman" panose="02020603050405020304" pitchFamily="18" charset="0"/>
              </a:rPr>
              <a:t>meningitis</a:t>
            </a:r>
            <a:br>
              <a:rPr lang="en-IN" sz="3100" dirty="0">
                <a:effectLst/>
                <a:latin typeface="Times New Roman" panose="02020603050405020304" pitchFamily="18" charset="0"/>
                <a:ea typeface="Times New Roman" panose="02020603050405020304" pitchFamily="18" charset="0"/>
              </a:rPr>
            </a:br>
            <a:r>
              <a:rPr lang="en-US" sz="3100" b="1" dirty="0">
                <a:effectLst/>
                <a:latin typeface="Times New Roman" panose="02020603050405020304" pitchFamily="18" charset="0"/>
                <a:ea typeface="Times New Roman" panose="02020603050405020304" pitchFamily="18" charset="0"/>
              </a:rPr>
              <a:t>with</a:t>
            </a:r>
            <a:r>
              <a:rPr lang="en-US" sz="3100" b="1" spc="-85" dirty="0">
                <a:effectLst/>
                <a:latin typeface="Times New Roman" panose="02020603050405020304" pitchFamily="18" charset="0"/>
                <a:ea typeface="Times New Roman" panose="02020603050405020304" pitchFamily="18" charset="0"/>
              </a:rPr>
              <a:t> </a:t>
            </a:r>
            <a:r>
              <a:rPr lang="en-US" sz="3100" b="1" dirty="0">
                <a:effectLst/>
                <a:latin typeface="Times New Roman" panose="02020603050405020304" pitchFamily="18" charset="0"/>
                <a:ea typeface="Times New Roman" panose="02020603050405020304" pitchFamily="18" charset="0"/>
              </a:rPr>
              <a:t>a</a:t>
            </a:r>
            <a:r>
              <a:rPr lang="en-US" sz="3100" b="1" spc="-25" dirty="0">
                <a:effectLst/>
                <a:latin typeface="Times New Roman" panose="02020603050405020304" pitchFamily="18" charset="0"/>
                <a:ea typeface="Times New Roman" panose="02020603050405020304" pitchFamily="18" charset="0"/>
              </a:rPr>
              <a:t> </a:t>
            </a:r>
            <a:r>
              <a:rPr lang="en-US" sz="3100" b="1" dirty="0">
                <a:effectLst/>
                <a:latin typeface="Times New Roman" panose="02020603050405020304" pitchFamily="18" charset="0"/>
                <a:ea typeface="Times New Roman" panose="02020603050405020304" pitchFamily="18" charset="0"/>
              </a:rPr>
              <a:t>stiff</a:t>
            </a:r>
            <a:r>
              <a:rPr lang="en-US" sz="3100" b="1" spc="-110" dirty="0">
                <a:effectLst/>
                <a:latin typeface="Times New Roman" panose="02020603050405020304" pitchFamily="18" charset="0"/>
                <a:ea typeface="Times New Roman" panose="02020603050405020304" pitchFamily="18" charset="0"/>
              </a:rPr>
              <a:t> </a:t>
            </a:r>
            <a:r>
              <a:rPr lang="en-US" sz="3100" b="1" dirty="0">
                <a:effectLst/>
                <a:latin typeface="Times New Roman" panose="02020603050405020304" pitchFamily="18" charset="0"/>
                <a:ea typeface="Times New Roman" panose="02020603050405020304" pitchFamily="18" charset="0"/>
              </a:rPr>
              <a:t>neck</a:t>
            </a:r>
            <a:r>
              <a:rPr lang="en-US" sz="4400" b="1" dirty="0">
                <a:effectLst/>
                <a:latin typeface="Times New Roman" panose="02020603050405020304" pitchFamily="18" charset="0"/>
                <a:ea typeface="Times New Roman" panose="02020603050405020304" pitchFamily="18" charset="0"/>
              </a:rPr>
              <a:t>?</a:t>
            </a:r>
            <a:br>
              <a:rPr lang="en-IN" sz="3600" dirty="0">
                <a:effectLst/>
                <a:latin typeface="Times New Roman" panose="02020603050405020304" pitchFamily="18" charset="0"/>
                <a:ea typeface="Times New Roman" panose="02020603050405020304" pitchFamily="18" charset="0"/>
              </a:rPr>
            </a:br>
            <a:endParaRPr lang="en-US" dirty="0"/>
          </a:p>
        </p:txBody>
      </p:sp>
      <p:sp>
        <p:nvSpPr>
          <p:cNvPr id="3" name="Content Placeholder 2">
            <a:extLst>
              <a:ext uri="{FF2B5EF4-FFF2-40B4-BE49-F238E27FC236}">
                <a16:creationId xmlns:a16="http://schemas.microsoft.com/office/drawing/2014/main" id="{2E55531D-2962-15C8-4012-D1F534D5B69F}"/>
              </a:ext>
            </a:extLst>
          </p:cNvPr>
          <p:cNvSpPr>
            <a:spLocks noGrp="1"/>
          </p:cNvSpPr>
          <p:nvPr>
            <p:ph sz="half" idx="1"/>
          </p:nvPr>
        </p:nvSpPr>
        <p:spPr>
          <a:xfrm>
            <a:off x="500063" y="1343025"/>
            <a:ext cx="5519737" cy="4833938"/>
          </a:xfrm>
        </p:spPr>
        <p:txBody>
          <a:bodyPr>
            <a:normAutofit fontScale="85000" lnSpcReduction="20000"/>
          </a:bodyPr>
          <a:lstStyle/>
          <a:p>
            <a:pPr marL="457200" marR="364490" lvl="1" indent="0" algn="just">
              <a:lnSpc>
                <a:spcPct val="103000"/>
              </a:lnSpc>
              <a:spcBef>
                <a:spcPts val="600"/>
              </a:spcBef>
              <a:spcAft>
                <a:spcPts val="0"/>
              </a:spcAft>
              <a:buNone/>
              <a:tabLst>
                <a:tab pos="868045" algn="l"/>
              </a:tabLst>
            </a:pPr>
            <a:r>
              <a:rPr lang="en-US" dirty="0">
                <a:effectLst/>
                <a:latin typeface="Times New Roman" panose="02020603050405020304" pitchFamily="18" charset="0"/>
                <a:ea typeface="Times New Roman" panose="02020603050405020304" pitchFamily="18" charset="0"/>
              </a:rPr>
              <a:t>GIVEN DATA</a:t>
            </a:r>
          </a:p>
          <a:p>
            <a:pPr marL="742950" marR="364490" lvl="1" indent="-285750" algn="just">
              <a:lnSpc>
                <a:spcPct val="103000"/>
              </a:lnSpc>
              <a:spcBef>
                <a:spcPts val="600"/>
              </a:spcBef>
              <a:spcAft>
                <a:spcPts val="0"/>
              </a:spcAft>
              <a:buFont typeface="Arial" panose="020B0604020202020204" pitchFamily="34" charset="0"/>
              <a:buChar char="•"/>
              <a:tabLst>
                <a:tab pos="868045" algn="l"/>
              </a:tabLst>
            </a:pPr>
            <a:r>
              <a:rPr lang="en-US" dirty="0">
                <a:effectLst/>
                <a:latin typeface="Times New Roman" panose="02020603050405020304" pitchFamily="18" charset="0"/>
                <a:ea typeface="Times New Roman" panose="02020603050405020304" pitchFamily="18" charset="0"/>
              </a:rPr>
              <a:t>A doctor is aware that disease meningitis causes a patient to have a stiff</a:t>
            </a:r>
            <a:r>
              <a:rPr lang="en-US" spc="5" dirty="0">
                <a:effectLst/>
                <a:latin typeface="Times New Roman" panose="02020603050405020304" pitchFamily="18" charset="0"/>
                <a:ea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rPr>
              <a:t>neck, and it occurs 80% of the time. He is also aware of some more facts,</a:t>
            </a:r>
            <a:r>
              <a:rPr lang="en-US" spc="5" dirty="0">
                <a:effectLst/>
                <a:latin typeface="Times New Roman" panose="02020603050405020304" pitchFamily="18" charset="0"/>
                <a:ea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rPr>
              <a:t>which</a:t>
            </a:r>
            <a:r>
              <a:rPr lang="en-US" spc="125" dirty="0">
                <a:effectLst/>
                <a:latin typeface="Times New Roman" panose="02020603050405020304" pitchFamily="18" charset="0"/>
                <a:ea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rPr>
              <a:t>are</a:t>
            </a:r>
            <a:r>
              <a:rPr lang="en-US" spc="5" dirty="0">
                <a:effectLst/>
                <a:latin typeface="Times New Roman" panose="02020603050405020304" pitchFamily="18" charset="0"/>
                <a:ea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rPr>
              <a:t>given</a:t>
            </a:r>
            <a:r>
              <a:rPr lang="en-US" spc="10" dirty="0">
                <a:effectLst/>
                <a:latin typeface="Times New Roman" panose="02020603050405020304" pitchFamily="18" charset="0"/>
                <a:ea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rPr>
              <a:t>as</a:t>
            </a:r>
            <a:r>
              <a:rPr lang="en-US" spc="-15" dirty="0">
                <a:effectLst/>
                <a:latin typeface="Times New Roman" panose="02020603050405020304" pitchFamily="18" charset="0"/>
                <a:ea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rPr>
              <a:t>follows:</a:t>
            </a:r>
            <a:endParaRPr lang="en-IN" dirty="0">
              <a:effectLst/>
              <a:latin typeface="Times New Roman" panose="02020603050405020304" pitchFamily="18" charset="0"/>
              <a:ea typeface="Times New Roman" panose="02020603050405020304" pitchFamily="18" charset="0"/>
            </a:endParaRPr>
          </a:p>
          <a:p>
            <a:pPr marL="742950" lvl="1" indent="-285750">
              <a:spcBef>
                <a:spcPts val="520"/>
              </a:spcBef>
              <a:buFont typeface="Arial" panose="020B0604020202020204" pitchFamily="34" charset="0"/>
              <a:buChar char="•"/>
              <a:tabLst>
                <a:tab pos="867410" algn="l"/>
                <a:tab pos="868045" algn="l"/>
              </a:tabLst>
            </a:pPr>
            <a:r>
              <a:rPr lang="en-US" spc="-5" dirty="0">
                <a:effectLst/>
                <a:latin typeface="Times New Roman" panose="02020603050405020304" pitchFamily="18" charset="0"/>
                <a:ea typeface="Times New Roman" panose="02020603050405020304" pitchFamily="18" charset="0"/>
              </a:rPr>
              <a:t>The</a:t>
            </a:r>
            <a:r>
              <a:rPr lang="en-US" spc="-30" dirty="0">
                <a:effectLst/>
                <a:latin typeface="Times New Roman" panose="02020603050405020304" pitchFamily="18" charset="0"/>
                <a:ea typeface="Times New Roman" panose="02020603050405020304" pitchFamily="18" charset="0"/>
              </a:rPr>
              <a:t> </a:t>
            </a:r>
            <a:r>
              <a:rPr lang="en-US" spc="-5" dirty="0">
                <a:effectLst/>
                <a:latin typeface="Times New Roman" panose="02020603050405020304" pitchFamily="18" charset="0"/>
                <a:ea typeface="Times New Roman" panose="02020603050405020304" pitchFamily="18" charset="0"/>
              </a:rPr>
              <a:t>Known</a:t>
            </a:r>
            <a:r>
              <a:rPr lang="en-US" spc="120" dirty="0">
                <a:effectLst/>
                <a:latin typeface="Times New Roman" panose="02020603050405020304" pitchFamily="18" charset="0"/>
                <a:ea typeface="Times New Roman" panose="02020603050405020304" pitchFamily="18" charset="0"/>
              </a:rPr>
              <a:t> </a:t>
            </a:r>
            <a:r>
              <a:rPr lang="en-US" spc="-5" dirty="0">
                <a:effectLst/>
                <a:latin typeface="Times New Roman" panose="02020603050405020304" pitchFamily="18" charset="0"/>
                <a:ea typeface="Times New Roman" panose="02020603050405020304" pitchFamily="18" charset="0"/>
              </a:rPr>
              <a:t>probability</a:t>
            </a:r>
            <a:r>
              <a:rPr lang="en-US" spc="-120" dirty="0">
                <a:effectLst/>
                <a:latin typeface="Times New Roman" panose="02020603050405020304" pitchFamily="18" charset="0"/>
                <a:ea typeface="Times New Roman" panose="02020603050405020304" pitchFamily="18" charset="0"/>
              </a:rPr>
              <a:t> </a:t>
            </a:r>
            <a:r>
              <a:rPr lang="en-US" spc="-5" dirty="0">
                <a:effectLst/>
                <a:latin typeface="Times New Roman" panose="02020603050405020304" pitchFamily="18" charset="0"/>
                <a:ea typeface="Times New Roman" panose="02020603050405020304" pitchFamily="18" charset="0"/>
              </a:rPr>
              <a:t>that</a:t>
            </a:r>
            <a:r>
              <a:rPr lang="en-US" spc="-50" dirty="0">
                <a:effectLst/>
                <a:latin typeface="Times New Roman" panose="02020603050405020304" pitchFamily="18" charset="0"/>
                <a:ea typeface="Times New Roman" panose="02020603050405020304" pitchFamily="18" charset="0"/>
              </a:rPr>
              <a:t> </a:t>
            </a:r>
            <a:r>
              <a:rPr lang="en-US" spc="-5" dirty="0">
                <a:effectLst/>
                <a:latin typeface="Times New Roman" panose="02020603050405020304" pitchFamily="18" charset="0"/>
                <a:ea typeface="Times New Roman" panose="02020603050405020304" pitchFamily="18" charset="0"/>
              </a:rPr>
              <a:t>a</a:t>
            </a:r>
            <a:r>
              <a:rPr lang="en-US" spc="-25" dirty="0">
                <a:effectLst/>
                <a:latin typeface="Times New Roman" panose="02020603050405020304" pitchFamily="18" charset="0"/>
                <a:ea typeface="Times New Roman" panose="02020603050405020304" pitchFamily="18" charset="0"/>
              </a:rPr>
              <a:t> </a:t>
            </a:r>
            <a:r>
              <a:rPr lang="en-US" spc="-5" dirty="0">
                <a:effectLst/>
                <a:latin typeface="Times New Roman" panose="02020603050405020304" pitchFamily="18" charset="0"/>
                <a:ea typeface="Times New Roman" panose="02020603050405020304" pitchFamily="18" charset="0"/>
              </a:rPr>
              <a:t>patient</a:t>
            </a:r>
            <a:r>
              <a:rPr lang="en-US" spc="-50" dirty="0">
                <a:effectLst/>
                <a:latin typeface="Times New Roman" panose="02020603050405020304" pitchFamily="18" charset="0"/>
                <a:ea typeface="Times New Roman" panose="02020603050405020304" pitchFamily="18" charset="0"/>
              </a:rPr>
              <a:t> </a:t>
            </a:r>
            <a:r>
              <a:rPr lang="en-US" spc="-5" dirty="0">
                <a:effectLst/>
                <a:latin typeface="Times New Roman" panose="02020603050405020304" pitchFamily="18" charset="0"/>
                <a:ea typeface="Times New Roman" panose="02020603050405020304" pitchFamily="18" charset="0"/>
              </a:rPr>
              <a:t>has</a:t>
            </a:r>
            <a:r>
              <a:rPr lang="en-US" spc="-35" dirty="0">
                <a:effectLst/>
                <a:latin typeface="Times New Roman" panose="02020603050405020304" pitchFamily="18" charset="0"/>
                <a:ea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rPr>
              <a:t>meningitis</a:t>
            </a:r>
            <a:r>
              <a:rPr lang="en-US" spc="145" dirty="0">
                <a:effectLst/>
                <a:latin typeface="Times New Roman" panose="02020603050405020304" pitchFamily="18" charset="0"/>
                <a:ea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rPr>
              <a:t>disease</a:t>
            </a:r>
            <a:r>
              <a:rPr lang="en-US" spc="-60" dirty="0">
                <a:effectLst/>
                <a:latin typeface="Times New Roman" panose="02020603050405020304" pitchFamily="18" charset="0"/>
                <a:ea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rPr>
              <a:t>is</a:t>
            </a:r>
            <a:r>
              <a:rPr lang="en-US" spc="-35" dirty="0">
                <a:effectLst/>
                <a:latin typeface="Times New Roman" panose="02020603050405020304" pitchFamily="18" charset="0"/>
                <a:ea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rPr>
              <a:t>1/30,000.</a:t>
            </a:r>
            <a:endParaRPr lang="en-IN" dirty="0">
              <a:effectLst/>
              <a:latin typeface="Times New Roman" panose="02020603050405020304" pitchFamily="18" charset="0"/>
              <a:ea typeface="Times New Roman" panose="02020603050405020304" pitchFamily="18" charset="0"/>
            </a:endParaRPr>
          </a:p>
          <a:p>
            <a:pPr marL="742950" lvl="1" indent="-285750">
              <a:spcBef>
                <a:spcPts val="595"/>
              </a:spcBef>
              <a:buFont typeface="Arial" panose="020B0604020202020204" pitchFamily="34" charset="0"/>
              <a:buChar char="•"/>
              <a:tabLst>
                <a:tab pos="867410" algn="l"/>
                <a:tab pos="868045" algn="l"/>
              </a:tabLst>
            </a:pPr>
            <a:r>
              <a:rPr lang="en-US" dirty="0">
                <a:effectLst/>
                <a:latin typeface="Times New Roman" panose="02020603050405020304" pitchFamily="18" charset="0"/>
                <a:ea typeface="Times New Roman" panose="02020603050405020304" pitchFamily="18" charset="0"/>
              </a:rPr>
              <a:t>The</a:t>
            </a:r>
            <a:r>
              <a:rPr lang="en-US" spc="-35" dirty="0">
                <a:effectLst/>
                <a:latin typeface="Times New Roman" panose="02020603050405020304" pitchFamily="18" charset="0"/>
                <a:ea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rPr>
              <a:t>Known</a:t>
            </a:r>
            <a:r>
              <a:rPr lang="en-US" spc="105" dirty="0">
                <a:effectLst/>
                <a:latin typeface="Times New Roman" panose="02020603050405020304" pitchFamily="18" charset="0"/>
                <a:ea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rPr>
              <a:t>probability</a:t>
            </a:r>
            <a:r>
              <a:rPr lang="en-US" spc="-105" dirty="0">
                <a:effectLst/>
                <a:latin typeface="Times New Roman" panose="02020603050405020304" pitchFamily="18" charset="0"/>
                <a:ea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rPr>
              <a:t>that</a:t>
            </a:r>
            <a:r>
              <a:rPr lang="en-US" spc="-50" dirty="0">
                <a:effectLst/>
                <a:latin typeface="Times New Roman" panose="02020603050405020304" pitchFamily="18" charset="0"/>
                <a:ea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rPr>
              <a:t>a</a:t>
            </a:r>
            <a:r>
              <a:rPr lang="en-US" spc="-60" dirty="0">
                <a:effectLst/>
                <a:latin typeface="Times New Roman" panose="02020603050405020304" pitchFamily="18" charset="0"/>
                <a:ea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rPr>
              <a:t>patient</a:t>
            </a:r>
            <a:r>
              <a:rPr lang="en-US" spc="-60" dirty="0">
                <a:effectLst/>
                <a:latin typeface="Times New Roman" panose="02020603050405020304" pitchFamily="18" charset="0"/>
                <a:ea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rPr>
              <a:t>has</a:t>
            </a:r>
            <a:r>
              <a:rPr lang="en-US" spc="-60" dirty="0">
                <a:effectLst/>
                <a:latin typeface="Times New Roman" panose="02020603050405020304" pitchFamily="18" charset="0"/>
                <a:ea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rPr>
              <a:t>a</a:t>
            </a:r>
            <a:r>
              <a:rPr lang="en-US" spc="-35" dirty="0">
                <a:effectLst/>
                <a:latin typeface="Times New Roman" panose="02020603050405020304" pitchFamily="18" charset="0"/>
                <a:ea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rPr>
              <a:t>stiff</a:t>
            </a:r>
            <a:r>
              <a:rPr lang="en-US" spc="15" dirty="0">
                <a:effectLst/>
                <a:latin typeface="Times New Roman" panose="02020603050405020304" pitchFamily="18" charset="0"/>
                <a:ea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rPr>
              <a:t>neck</a:t>
            </a:r>
            <a:r>
              <a:rPr lang="en-US" spc="-50" dirty="0">
                <a:effectLst/>
                <a:latin typeface="Times New Roman" panose="02020603050405020304" pitchFamily="18" charset="0"/>
                <a:ea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rPr>
              <a:t>is</a:t>
            </a:r>
            <a:r>
              <a:rPr lang="en-US" spc="-65" dirty="0">
                <a:effectLst/>
                <a:latin typeface="Times New Roman" panose="02020603050405020304" pitchFamily="18" charset="0"/>
                <a:ea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rPr>
              <a:t>2%.</a:t>
            </a:r>
            <a:endParaRPr lang="en-IN" dirty="0">
              <a:effectLst/>
              <a:latin typeface="Times New Roman" panose="02020603050405020304" pitchFamily="18" charset="0"/>
              <a:ea typeface="Times New Roman" panose="02020603050405020304" pitchFamily="18" charset="0"/>
            </a:endParaRPr>
          </a:p>
          <a:p>
            <a:pPr marL="742950" lvl="1" indent="-285750">
              <a:spcBef>
                <a:spcPts val="575"/>
              </a:spcBef>
              <a:buFont typeface="Arial" panose="020B0604020202020204" pitchFamily="34" charset="0"/>
              <a:buChar char="•"/>
              <a:tabLst>
                <a:tab pos="867410" algn="l"/>
                <a:tab pos="868045" algn="l"/>
              </a:tabLst>
            </a:pPr>
            <a:r>
              <a:rPr lang="en-US" dirty="0">
                <a:effectLst/>
                <a:latin typeface="Times New Roman" panose="02020603050405020304" pitchFamily="18" charset="0"/>
                <a:ea typeface="Times New Roman" panose="02020603050405020304" pitchFamily="18" charset="0"/>
              </a:rPr>
              <a:t>Let</a:t>
            </a:r>
            <a:r>
              <a:rPr lang="en-US" spc="70" dirty="0">
                <a:effectLst/>
                <a:latin typeface="Times New Roman" panose="02020603050405020304" pitchFamily="18" charset="0"/>
                <a:ea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rPr>
              <a:t>a</a:t>
            </a:r>
            <a:r>
              <a:rPr lang="en-US" spc="75" dirty="0">
                <a:effectLst/>
                <a:latin typeface="Times New Roman" panose="02020603050405020304" pitchFamily="18" charset="0"/>
                <a:ea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rPr>
              <a:t>be</a:t>
            </a:r>
            <a:r>
              <a:rPr lang="en-US" spc="75" dirty="0">
                <a:effectLst/>
                <a:latin typeface="Times New Roman" panose="02020603050405020304" pitchFamily="18" charset="0"/>
                <a:ea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rPr>
              <a:t>the</a:t>
            </a:r>
            <a:r>
              <a:rPr lang="en-US" spc="55" dirty="0">
                <a:effectLst/>
                <a:latin typeface="Times New Roman" panose="02020603050405020304" pitchFamily="18" charset="0"/>
                <a:ea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rPr>
              <a:t>proposition</a:t>
            </a:r>
            <a:r>
              <a:rPr lang="en-US" spc="30" dirty="0">
                <a:effectLst/>
                <a:latin typeface="Times New Roman" panose="02020603050405020304" pitchFamily="18" charset="0"/>
                <a:ea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rPr>
              <a:t>that</a:t>
            </a:r>
            <a:r>
              <a:rPr lang="en-US" spc="50" dirty="0">
                <a:effectLst/>
                <a:latin typeface="Times New Roman" panose="02020603050405020304" pitchFamily="18" charset="0"/>
                <a:ea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rPr>
              <a:t>patient</a:t>
            </a:r>
            <a:r>
              <a:rPr lang="en-US" spc="30" dirty="0">
                <a:effectLst/>
                <a:latin typeface="Times New Roman" panose="02020603050405020304" pitchFamily="18" charset="0"/>
                <a:ea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rPr>
              <a:t>has</a:t>
            </a:r>
            <a:r>
              <a:rPr lang="en-US" spc="45" dirty="0">
                <a:effectLst/>
                <a:latin typeface="Times New Roman" panose="02020603050405020304" pitchFamily="18" charset="0"/>
                <a:ea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rPr>
              <a:t>stiff</a:t>
            </a:r>
            <a:r>
              <a:rPr lang="en-US" spc="60" dirty="0">
                <a:effectLst/>
                <a:latin typeface="Times New Roman" panose="02020603050405020304" pitchFamily="18" charset="0"/>
                <a:ea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rPr>
              <a:t>neck</a:t>
            </a:r>
            <a:r>
              <a:rPr lang="en-US" spc="65" dirty="0">
                <a:effectLst/>
                <a:latin typeface="Times New Roman" panose="02020603050405020304" pitchFamily="18" charset="0"/>
                <a:ea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rPr>
              <a:t>and</a:t>
            </a:r>
            <a:r>
              <a:rPr lang="en-US" spc="85" dirty="0">
                <a:effectLst/>
                <a:latin typeface="Times New Roman" panose="02020603050405020304" pitchFamily="18" charset="0"/>
                <a:ea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rPr>
              <a:t>b</a:t>
            </a:r>
            <a:r>
              <a:rPr lang="en-US" spc="80" dirty="0">
                <a:effectLst/>
                <a:latin typeface="Times New Roman" panose="02020603050405020304" pitchFamily="18" charset="0"/>
                <a:ea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rPr>
              <a:t>be</a:t>
            </a:r>
            <a:r>
              <a:rPr lang="en-US" spc="75" dirty="0">
                <a:effectLst/>
                <a:latin typeface="Times New Roman" panose="02020603050405020304" pitchFamily="18" charset="0"/>
                <a:ea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rPr>
              <a:t>the</a:t>
            </a:r>
            <a:r>
              <a:rPr lang="en-US" spc="80" dirty="0">
                <a:effectLst/>
                <a:latin typeface="Times New Roman" panose="02020603050405020304" pitchFamily="18" charset="0"/>
                <a:ea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rPr>
              <a:t>proposition</a:t>
            </a:r>
            <a:endParaRPr lang="en-IN" dirty="0">
              <a:effectLst/>
              <a:latin typeface="Times New Roman" panose="02020603050405020304" pitchFamily="18" charset="0"/>
              <a:ea typeface="Times New Roman" panose="02020603050405020304" pitchFamily="18" charset="0"/>
            </a:endParaRPr>
          </a:p>
          <a:p>
            <a:pPr marL="867410">
              <a:spcBef>
                <a:spcPts val="100"/>
              </a:spcBef>
              <a:spcAft>
                <a:spcPts val="0"/>
              </a:spcAft>
            </a:pPr>
            <a:r>
              <a:rPr lang="en-US" sz="2400" dirty="0">
                <a:effectLst/>
                <a:latin typeface="Times New Roman" panose="02020603050405020304" pitchFamily="18" charset="0"/>
                <a:ea typeface="Times New Roman" panose="02020603050405020304" pitchFamily="18" charset="0"/>
              </a:rPr>
              <a:t>that</a:t>
            </a:r>
            <a:r>
              <a:rPr lang="en-US" sz="2400" spc="-85" dirty="0">
                <a:effectLst/>
                <a:latin typeface="Times New Roman" panose="02020603050405020304" pitchFamily="18" charset="0"/>
                <a:ea typeface="Times New Roman" panose="02020603050405020304" pitchFamily="18" charset="0"/>
              </a:rPr>
              <a:t> </a:t>
            </a:r>
            <a:r>
              <a:rPr lang="en-US" sz="2400" dirty="0">
                <a:effectLst/>
                <a:latin typeface="Times New Roman" panose="02020603050405020304" pitchFamily="18" charset="0"/>
                <a:ea typeface="Times New Roman" panose="02020603050405020304" pitchFamily="18" charset="0"/>
              </a:rPr>
              <a:t>patient</a:t>
            </a:r>
            <a:r>
              <a:rPr lang="en-US" sz="2400" spc="-105" dirty="0">
                <a:effectLst/>
                <a:latin typeface="Times New Roman" panose="02020603050405020304" pitchFamily="18" charset="0"/>
                <a:ea typeface="Times New Roman" panose="02020603050405020304" pitchFamily="18" charset="0"/>
              </a:rPr>
              <a:t> </a:t>
            </a:r>
            <a:r>
              <a:rPr lang="en-US" sz="2400" dirty="0">
                <a:effectLst/>
                <a:latin typeface="Times New Roman" panose="02020603050405020304" pitchFamily="18" charset="0"/>
                <a:ea typeface="Times New Roman" panose="02020603050405020304" pitchFamily="18" charset="0"/>
              </a:rPr>
              <a:t>has</a:t>
            </a:r>
            <a:r>
              <a:rPr lang="en-US" sz="2400" spc="-45" dirty="0">
                <a:effectLst/>
                <a:latin typeface="Times New Roman" panose="02020603050405020304" pitchFamily="18" charset="0"/>
                <a:ea typeface="Times New Roman" panose="02020603050405020304" pitchFamily="18" charset="0"/>
              </a:rPr>
              <a:t> </a:t>
            </a:r>
            <a:r>
              <a:rPr lang="en-US" sz="2400" dirty="0">
                <a:effectLst/>
                <a:latin typeface="Times New Roman" panose="02020603050405020304" pitchFamily="18" charset="0"/>
                <a:ea typeface="Times New Roman" panose="02020603050405020304" pitchFamily="18" charset="0"/>
              </a:rPr>
              <a:t>meningitis.</a:t>
            </a:r>
            <a:r>
              <a:rPr lang="en-US" sz="2400" spc="90" dirty="0">
                <a:effectLst/>
                <a:latin typeface="Times New Roman" panose="02020603050405020304" pitchFamily="18" charset="0"/>
                <a:ea typeface="Times New Roman" panose="02020603050405020304" pitchFamily="18" charset="0"/>
              </a:rPr>
              <a:t> </a:t>
            </a:r>
            <a:r>
              <a:rPr lang="en-US" sz="2400" dirty="0">
                <a:effectLst/>
                <a:latin typeface="Times New Roman" panose="02020603050405020304" pitchFamily="18" charset="0"/>
                <a:ea typeface="Times New Roman" panose="02020603050405020304" pitchFamily="18" charset="0"/>
              </a:rPr>
              <a:t>,</a:t>
            </a:r>
            <a:r>
              <a:rPr lang="en-US" sz="2400" spc="-55" dirty="0">
                <a:effectLst/>
                <a:latin typeface="Times New Roman" panose="02020603050405020304" pitchFamily="18" charset="0"/>
                <a:ea typeface="Times New Roman" panose="02020603050405020304" pitchFamily="18" charset="0"/>
              </a:rPr>
              <a:t> </a:t>
            </a:r>
            <a:r>
              <a:rPr lang="en-US" sz="2400" dirty="0">
                <a:effectLst/>
                <a:latin typeface="Times New Roman" panose="02020603050405020304" pitchFamily="18" charset="0"/>
                <a:ea typeface="Times New Roman" panose="02020603050405020304" pitchFamily="18" charset="0"/>
              </a:rPr>
              <a:t>so</a:t>
            </a:r>
            <a:r>
              <a:rPr lang="en-US" sz="2400" spc="-50" dirty="0">
                <a:effectLst/>
                <a:latin typeface="Times New Roman" panose="02020603050405020304" pitchFamily="18" charset="0"/>
                <a:ea typeface="Times New Roman" panose="02020603050405020304" pitchFamily="18" charset="0"/>
              </a:rPr>
              <a:t> </a:t>
            </a:r>
            <a:r>
              <a:rPr lang="en-US" sz="2400" dirty="0">
                <a:effectLst/>
                <a:latin typeface="Times New Roman" panose="02020603050405020304" pitchFamily="18" charset="0"/>
                <a:ea typeface="Times New Roman" panose="02020603050405020304" pitchFamily="18" charset="0"/>
              </a:rPr>
              <a:t>we can</a:t>
            </a:r>
            <a:r>
              <a:rPr lang="en-US" sz="2400" spc="-95" dirty="0">
                <a:effectLst/>
                <a:latin typeface="Times New Roman" panose="02020603050405020304" pitchFamily="18" charset="0"/>
                <a:ea typeface="Times New Roman" panose="02020603050405020304" pitchFamily="18" charset="0"/>
              </a:rPr>
              <a:t> </a:t>
            </a:r>
            <a:r>
              <a:rPr lang="en-US" sz="2400" dirty="0">
                <a:effectLst/>
                <a:latin typeface="Times New Roman" panose="02020603050405020304" pitchFamily="18" charset="0"/>
                <a:ea typeface="Times New Roman" panose="02020603050405020304" pitchFamily="18" charset="0"/>
              </a:rPr>
              <a:t>calculate</a:t>
            </a:r>
            <a:r>
              <a:rPr lang="en-US" sz="2400" spc="-80" dirty="0">
                <a:effectLst/>
                <a:latin typeface="Times New Roman" panose="02020603050405020304" pitchFamily="18" charset="0"/>
                <a:ea typeface="Times New Roman" panose="02020603050405020304" pitchFamily="18" charset="0"/>
              </a:rPr>
              <a:t> </a:t>
            </a:r>
            <a:r>
              <a:rPr lang="en-US" sz="2400" dirty="0">
                <a:effectLst/>
                <a:latin typeface="Times New Roman" panose="02020603050405020304" pitchFamily="18" charset="0"/>
                <a:ea typeface="Times New Roman" panose="02020603050405020304" pitchFamily="18" charset="0"/>
              </a:rPr>
              <a:t>the</a:t>
            </a:r>
            <a:r>
              <a:rPr lang="en-US" sz="2400" spc="-35" dirty="0">
                <a:effectLst/>
                <a:latin typeface="Times New Roman" panose="02020603050405020304" pitchFamily="18" charset="0"/>
                <a:ea typeface="Times New Roman" panose="02020603050405020304" pitchFamily="18" charset="0"/>
              </a:rPr>
              <a:t> </a:t>
            </a:r>
            <a:r>
              <a:rPr lang="en-US" sz="2400" dirty="0">
                <a:effectLst/>
                <a:latin typeface="Times New Roman" panose="02020603050405020304" pitchFamily="18" charset="0"/>
                <a:ea typeface="Times New Roman" panose="02020603050405020304" pitchFamily="18" charset="0"/>
              </a:rPr>
              <a:t>following</a:t>
            </a:r>
            <a:r>
              <a:rPr lang="en-US" sz="2400" spc="75" dirty="0">
                <a:effectLst/>
                <a:latin typeface="Times New Roman" panose="02020603050405020304" pitchFamily="18" charset="0"/>
                <a:ea typeface="Times New Roman" panose="02020603050405020304" pitchFamily="18" charset="0"/>
              </a:rPr>
              <a:t> </a:t>
            </a:r>
            <a:r>
              <a:rPr lang="en-US" sz="2400" dirty="0">
                <a:effectLst/>
                <a:latin typeface="Times New Roman" panose="02020603050405020304" pitchFamily="18" charset="0"/>
                <a:ea typeface="Times New Roman" panose="02020603050405020304" pitchFamily="18" charset="0"/>
              </a:rPr>
              <a:t>as:</a:t>
            </a:r>
            <a:endParaRPr lang="en-IN" sz="2400" dirty="0">
              <a:effectLst/>
              <a:latin typeface="Times New Roman" panose="02020603050405020304" pitchFamily="18" charset="0"/>
              <a:ea typeface="Times New Roman" panose="02020603050405020304" pitchFamily="18" charset="0"/>
            </a:endParaRPr>
          </a:p>
          <a:p>
            <a:pPr marL="742950" lvl="1" indent="-285750">
              <a:spcBef>
                <a:spcPts val="595"/>
              </a:spcBef>
              <a:buFont typeface="Arial" panose="020B0604020202020204" pitchFamily="34" charset="0"/>
              <a:buChar char="•"/>
              <a:tabLst>
                <a:tab pos="867410" algn="l"/>
                <a:tab pos="868045" algn="l"/>
              </a:tabLst>
            </a:pPr>
            <a:r>
              <a:rPr lang="en-US" dirty="0">
                <a:effectLst/>
                <a:latin typeface="Times New Roman" panose="02020603050405020304" pitchFamily="18" charset="0"/>
                <a:ea typeface="Times New Roman" panose="02020603050405020304" pitchFamily="18" charset="0"/>
              </a:rPr>
              <a:t>P(</a:t>
            </a:r>
            <a:r>
              <a:rPr lang="en-US" dirty="0" err="1">
                <a:effectLst/>
                <a:latin typeface="Times New Roman" panose="02020603050405020304" pitchFamily="18" charset="0"/>
                <a:ea typeface="Times New Roman" panose="02020603050405020304" pitchFamily="18" charset="0"/>
              </a:rPr>
              <a:t>a|b</a:t>
            </a:r>
            <a:r>
              <a:rPr lang="en-US" dirty="0">
                <a:effectLst/>
                <a:latin typeface="Times New Roman" panose="02020603050405020304" pitchFamily="18" charset="0"/>
                <a:ea typeface="Times New Roman" panose="02020603050405020304" pitchFamily="18" charset="0"/>
              </a:rPr>
              <a:t>)</a:t>
            </a:r>
            <a:r>
              <a:rPr lang="en-US" spc="-50" dirty="0">
                <a:effectLst/>
                <a:latin typeface="Times New Roman" panose="02020603050405020304" pitchFamily="18" charset="0"/>
                <a:ea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rPr>
              <a:t>=</a:t>
            </a:r>
            <a:r>
              <a:rPr lang="en-US" spc="-70" dirty="0">
                <a:effectLst/>
                <a:latin typeface="Times New Roman" panose="02020603050405020304" pitchFamily="18" charset="0"/>
                <a:ea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rPr>
              <a:t>0.8</a:t>
            </a:r>
            <a:endParaRPr lang="en-IN" dirty="0">
              <a:effectLst/>
              <a:latin typeface="Times New Roman" panose="02020603050405020304" pitchFamily="18" charset="0"/>
              <a:ea typeface="Times New Roman" panose="02020603050405020304" pitchFamily="18" charset="0"/>
            </a:endParaRPr>
          </a:p>
          <a:p>
            <a:pPr marL="742950" lvl="1" indent="-285750">
              <a:spcBef>
                <a:spcPts val="600"/>
              </a:spcBef>
              <a:buFont typeface="Arial" panose="020B0604020202020204" pitchFamily="34" charset="0"/>
              <a:buChar char="•"/>
              <a:tabLst>
                <a:tab pos="867410" algn="l"/>
                <a:tab pos="868045" algn="l"/>
              </a:tabLst>
            </a:pPr>
            <a:r>
              <a:rPr lang="en-US" dirty="0">
                <a:effectLst/>
                <a:latin typeface="Times New Roman" panose="02020603050405020304" pitchFamily="18" charset="0"/>
                <a:ea typeface="Times New Roman" panose="02020603050405020304" pitchFamily="18" charset="0"/>
              </a:rPr>
              <a:t>P(b)</a:t>
            </a:r>
            <a:r>
              <a:rPr lang="en-US" spc="-75" dirty="0">
                <a:effectLst/>
                <a:latin typeface="Times New Roman" panose="02020603050405020304" pitchFamily="18" charset="0"/>
                <a:ea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rPr>
              <a:t>=</a:t>
            </a:r>
            <a:r>
              <a:rPr lang="en-US" spc="-10" dirty="0">
                <a:effectLst/>
                <a:latin typeface="Times New Roman" panose="02020603050405020304" pitchFamily="18" charset="0"/>
                <a:ea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rPr>
              <a:t>1/30000</a:t>
            </a:r>
            <a:endParaRPr lang="en-IN" dirty="0">
              <a:effectLst/>
              <a:latin typeface="Times New Roman" panose="02020603050405020304" pitchFamily="18" charset="0"/>
              <a:ea typeface="Times New Roman" panose="02020603050405020304" pitchFamily="18" charset="0"/>
            </a:endParaRPr>
          </a:p>
          <a:p>
            <a:pPr marL="742950" lvl="1" indent="-285750">
              <a:spcBef>
                <a:spcPts val="600"/>
              </a:spcBef>
              <a:buFont typeface="Arial" panose="020B0604020202020204" pitchFamily="34" charset="0"/>
              <a:buChar char="•"/>
              <a:tabLst>
                <a:tab pos="867410" algn="l"/>
                <a:tab pos="868045" algn="l"/>
              </a:tabLst>
            </a:pPr>
            <a:r>
              <a:rPr lang="en-US" dirty="0">
                <a:effectLst/>
                <a:latin typeface="Times New Roman" panose="02020603050405020304" pitchFamily="18" charset="0"/>
                <a:ea typeface="Times New Roman" panose="02020603050405020304" pitchFamily="18" charset="0"/>
              </a:rPr>
              <a:t>P(a)=</a:t>
            </a:r>
            <a:r>
              <a:rPr lang="en-US" spc="-100" dirty="0">
                <a:effectLst/>
                <a:latin typeface="Times New Roman" panose="02020603050405020304" pitchFamily="18" charset="0"/>
                <a:ea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rPr>
              <a:t>0.02</a:t>
            </a:r>
          </a:p>
          <a:p>
            <a:endParaRPr lang="en-US" dirty="0"/>
          </a:p>
        </p:txBody>
      </p:sp>
    </p:spTree>
    <p:extLst>
      <p:ext uri="{BB962C8B-B14F-4D97-AF65-F5344CB8AC3E}">
        <p14:creationId xmlns:p14="http://schemas.microsoft.com/office/powerpoint/2010/main" val="384568083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Slide Background">
            <a:extLst>
              <a:ext uri="{FF2B5EF4-FFF2-40B4-BE49-F238E27FC236}">
                <a16:creationId xmlns:a16="http://schemas.microsoft.com/office/drawing/2014/main" id="{C0763A76-9F1C-4FC5-82B7-DD475DA461B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 y="0"/>
            <a:ext cx="12191999"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useBgFill="1">
        <p:nvSpPr>
          <p:cNvPr id="11" name="Rectangle 10">
            <a:extLst>
              <a:ext uri="{FF2B5EF4-FFF2-40B4-BE49-F238E27FC236}">
                <a16:creationId xmlns:a16="http://schemas.microsoft.com/office/drawing/2014/main" id="{E81BF4F6-F2CF-4984-9D14-D6966D92F99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8522446" cy="2285999"/>
          </a:xfrm>
          <a:prstGeom prst="rect">
            <a:avLst/>
          </a:prstGeom>
          <a:ln>
            <a:noFill/>
          </a:ln>
          <a:effectLst>
            <a:outerShdw blurRad="596900" dist="304800" dir="7140000" sx="90000" sy="90000" algn="t" rotWithShape="0">
              <a:srgbClr val="000000">
                <a:alpha val="1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10F0508B-3A15-39AA-C51A-70DAAC6875E9}"/>
              </a:ext>
            </a:extLst>
          </p:cNvPr>
          <p:cNvSpPr>
            <a:spLocks noGrp="1"/>
          </p:cNvSpPr>
          <p:nvPr>
            <p:ph idx="1"/>
          </p:nvPr>
        </p:nvSpPr>
        <p:spPr>
          <a:xfrm>
            <a:off x="0" y="371476"/>
            <a:ext cx="5408707" cy="5984874"/>
          </a:xfrm>
        </p:spPr>
        <p:txBody>
          <a:bodyPr anchor="ctr">
            <a:normAutofit/>
          </a:bodyPr>
          <a:lstStyle/>
          <a:p>
            <a:pPr marL="638810" marR="360680" indent="0">
              <a:spcBef>
                <a:spcPts val="605"/>
              </a:spcBef>
              <a:spcAft>
                <a:spcPts val="0"/>
              </a:spcAft>
              <a:buNone/>
            </a:pPr>
            <a:endParaRPr lang="en-US" b="1" dirty="0">
              <a:effectLst/>
              <a:latin typeface="Times New Roman" panose="02020603050405020304" pitchFamily="18" charset="0"/>
              <a:ea typeface="Times New Roman" panose="02020603050405020304" pitchFamily="18" charset="0"/>
              <a:cs typeface="Times New Roman" panose="02020603050405020304" pitchFamily="18" charset="0"/>
            </a:endParaRPr>
          </a:p>
          <a:p>
            <a:pPr marL="638810" marR="360680" indent="0">
              <a:spcBef>
                <a:spcPts val="605"/>
              </a:spcBef>
              <a:spcAft>
                <a:spcPts val="0"/>
              </a:spcAft>
              <a:buNone/>
            </a:pPr>
            <a:endParaRPr lang="en-US" b="1" dirty="0">
              <a:latin typeface="Times New Roman" panose="02020603050405020304" pitchFamily="18" charset="0"/>
              <a:ea typeface="Times New Roman" panose="02020603050405020304" pitchFamily="18" charset="0"/>
              <a:cs typeface="Times New Roman" panose="02020603050405020304" pitchFamily="18" charset="0"/>
            </a:endParaRPr>
          </a:p>
          <a:p>
            <a:pPr marL="638810" marR="360680" indent="0">
              <a:spcBef>
                <a:spcPts val="605"/>
              </a:spcBef>
              <a:spcAft>
                <a:spcPts val="0"/>
              </a:spcAft>
              <a:buNone/>
            </a:pPr>
            <a:endParaRPr lang="en-US" b="1" dirty="0">
              <a:effectLst/>
              <a:latin typeface="Times New Roman" panose="02020603050405020304" pitchFamily="18" charset="0"/>
              <a:ea typeface="Times New Roman" panose="02020603050405020304" pitchFamily="18" charset="0"/>
              <a:cs typeface="Times New Roman" panose="02020603050405020304" pitchFamily="18" charset="0"/>
            </a:endParaRPr>
          </a:p>
          <a:p>
            <a:pPr marL="638810" marR="360680" indent="0">
              <a:spcBef>
                <a:spcPts val="605"/>
              </a:spcBef>
              <a:spcAft>
                <a:spcPts val="0"/>
              </a:spcAft>
              <a:buNone/>
            </a:pPr>
            <a:r>
              <a:rPr lang="en-US" b="1" dirty="0">
                <a:effectLst/>
                <a:latin typeface="Times New Roman" panose="02020603050405020304" pitchFamily="18" charset="0"/>
                <a:ea typeface="Times New Roman" panose="02020603050405020304" pitchFamily="18" charset="0"/>
                <a:cs typeface="Times New Roman" panose="02020603050405020304" pitchFamily="18" charset="0"/>
              </a:rPr>
              <a:t>Question:</a:t>
            </a:r>
            <a:r>
              <a:rPr lang="en-US" b="1" spc="5"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b="1" dirty="0">
                <a:effectLst/>
                <a:latin typeface="Times New Roman" panose="02020603050405020304" pitchFamily="18" charset="0"/>
                <a:ea typeface="Times New Roman" panose="02020603050405020304" pitchFamily="18" charset="0"/>
                <a:cs typeface="Times New Roman" panose="02020603050405020304" pitchFamily="18" charset="0"/>
              </a:rPr>
              <a:t>From a</a:t>
            </a:r>
            <a:r>
              <a:rPr lang="en-US" b="1" spc="5"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b="1" dirty="0">
                <a:effectLst/>
                <a:latin typeface="Times New Roman" panose="02020603050405020304" pitchFamily="18" charset="0"/>
                <a:ea typeface="Times New Roman" panose="02020603050405020304" pitchFamily="18" charset="0"/>
                <a:cs typeface="Times New Roman" panose="02020603050405020304" pitchFamily="18" charset="0"/>
              </a:rPr>
              <a:t>standard</a:t>
            </a:r>
            <a:r>
              <a:rPr lang="en-US" b="1" spc="5"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b="1" dirty="0">
                <a:effectLst/>
                <a:latin typeface="Times New Roman" panose="02020603050405020304" pitchFamily="18" charset="0"/>
                <a:ea typeface="Times New Roman" panose="02020603050405020304" pitchFamily="18" charset="0"/>
                <a:cs typeface="Times New Roman" panose="02020603050405020304" pitchFamily="18" charset="0"/>
              </a:rPr>
              <a:t>deck of</a:t>
            </a:r>
            <a:r>
              <a:rPr lang="en-US" b="1" spc="5"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b="1" dirty="0">
                <a:effectLst/>
                <a:latin typeface="Times New Roman" panose="02020603050405020304" pitchFamily="18" charset="0"/>
                <a:ea typeface="Times New Roman" panose="02020603050405020304" pitchFamily="18" charset="0"/>
                <a:cs typeface="Times New Roman" panose="02020603050405020304" pitchFamily="18" charset="0"/>
              </a:rPr>
              <a:t>playing</a:t>
            </a:r>
            <a:r>
              <a:rPr lang="en-US" b="1" spc="5"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b="1" dirty="0">
                <a:effectLst/>
                <a:latin typeface="Times New Roman" panose="02020603050405020304" pitchFamily="18" charset="0"/>
                <a:ea typeface="Times New Roman" panose="02020603050405020304" pitchFamily="18" charset="0"/>
                <a:cs typeface="Times New Roman" panose="02020603050405020304" pitchFamily="18" charset="0"/>
              </a:rPr>
              <a:t>cards, a single</a:t>
            </a:r>
            <a:r>
              <a:rPr lang="en-US" b="1" spc="5"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b="1" dirty="0">
                <a:effectLst/>
                <a:latin typeface="Times New Roman" panose="02020603050405020304" pitchFamily="18" charset="0"/>
                <a:ea typeface="Times New Roman" panose="02020603050405020304" pitchFamily="18" charset="0"/>
                <a:cs typeface="Times New Roman" panose="02020603050405020304" pitchFamily="18" charset="0"/>
              </a:rPr>
              <a:t>card</a:t>
            </a:r>
            <a:r>
              <a:rPr lang="en-US" b="1" spc="5"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b="1" dirty="0">
                <a:effectLst/>
                <a:latin typeface="Times New Roman" panose="02020603050405020304" pitchFamily="18" charset="0"/>
                <a:ea typeface="Times New Roman" panose="02020603050405020304" pitchFamily="18" charset="0"/>
                <a:cs typeface="Times New Roman" panose="02020603050405020304" pitchFamily="18" charset="0"/>
              </a:rPr>
              <a:t>is</a:t>
            </a:r>
            <a:r>
              <a:rPr lang="en-US" b="1" spc="5"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b="1" dirty="0">
                <a:effectLst/>
                <a:latin typeface="Times New Roman" panose="02020603050405020304" pitchFamily="18" charset="0"/>
                <a:ea typeface="Times New Roman" panose="02020603050405020304" pitchFamily="18" charset="0"/>
                <a:cs typeface="Times New Roman" panose="02020603050405020304" pitchFamily="18" charset="0"/>
              </a:rPr>
              <a:t>drawn. The probability that the card is king is 4/52, then calculate</a:t>
            </a:r>
            <a:r>
              <a:rPr lang="en-US" b="1" spc="5"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b="1" dirty="0">
                <a:effectLst/>
                <a:latin typeface="Times New Roman" panose="02020603050405020304" pitchFamily="18" charset="0"/>
                <a:ea typeface="Times New Roman" panose="02020603050405020304" pitchFamily="18" charset="0"/>
                <a:cs typeface="Times New Roman" panose="02020603050405020304" pitchFamily="18" charset="0"/>
              </a:rPr>
              <a:t>posterior probability P(</a:t>
            </a:r>
            <a:r>
              <a:rPr lang="en-US" b="1" dirty="0" err="1">
                <a:effectLst/>
                <a:latin typeface="Times New Roman" panose="02020603050405020304" pitchFamily="18" charset="0"/>
                <a:ea typeface="Times New Roman" panose="02020603050405020304" pitchFamily="18" charset="0"/>
                <a:cs typeface="Times New Roman" panose="02020603050405020304" pitchFamily="18" charset="0"/>
              </a:rPr>
              <a:t>King|Face</a:t>
            </a:r>
            <a:r>
              <a:rPr lang="en-US" b="1" dirty="0">
                <a:effectLst/>
                <a:latin typeface="Times New Roman" panose="02020603050405020304" pitchFamily="18" charset="0"/>
                <a:ea typeface="Times New Roman" panose="02020603050405020304" pitchFamily="18" charset="0"/>
                <a:cs typeface="Times New Roman" panose="02020603050405020304" pitchFamily="18" charset="0"/>
              </a:rPr>
              <a:t>), which means the drawn face</a:t>
            </a:r>
            <a:r>
              <a:rPr lang="en-US" b="1" spc="5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b="1" dirty="0">
                <a:effectLst/>
                <a:latin typeface="Times New Roman" panose="02020603050405020304" pitchFamily="18" charset="0"/>
                <a:ea typeface="Times New Roman" panose="02020603050405020304" pitchFamily="18" charset="0"/>
                <a:cs typeface="Times New Roman" panose="02020603050405020304" pitchFamily="18" charset="0"/>
              </a:rPr>
              <a:t>card</a:t>
            </a:r>
            <a:r>
              <a:rPr lang="en-US" b="1" spc="5"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b="1" dirty="0">
                <a:effectLst/>
                <a:latin typeface="Times New Roman" panose="02020603050405020304" pitchFamily="18" charset="0"/>
                <a:ea typeface="Times New Roman" panose="02020603050405020304" pitchFamily="18" charset="0"/>
                <a:cs typeface="Times New Roman" panose="02020603050405020304" pitchFamily="18" charset="0"/>
              </a:rPr>
              <a:t>is</a:t>
            </a:r>
            <a:r>
              <a:rPr lang="en-US" b="1" spc="-3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b="1" dirty="0">
                <a:effectLst/>
                <a:latin typeface="Times New Roman" panose="02020603050405020304" pitchFamily="18" charset="0"/>
                <a:ea typeface="Times New Roman" panose="02020603050405020304" pitchFamily="18" charset="0"/>
                <a:cs typeface="Times New Roman" panose="02020603050405020304" pitchFamily="18" charset="0"/>
              </a:rPr>
              <a:t>a</a:t>
            </a:r>
            <a:r>
              <a:rPr lang="en-US" b="1" spc="15"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b="1" dirty="0">
                <a:effectLst/>
                <a:latin typeface="Times New Roman" panose="02020603050405020304" pitchFamily="18" charset="0"/>
                <a:ea typeface="Times New Roman" panose="02020603050405020304" pitchFamily="18" charset="0"/>
                <a:cs typeface="Times New Roman" panose="02020603050405020304" pitchFamily="18" charset="0"/>
              </a:rPr>
              <a:t>king</a:t>
            </a:r>
            <a:r>
              <a:rPr lang="en-US" b="1" spc="85"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b="1" dirty="0">
                <a:effectLst/>
                <a:latin typeface="Times New Roman" panose="02020603050405020304" pitchFamily="18" charset="0"/>
                <a:ea typeface="Times New Roman" panose="02020603050405020304" pitchFamily="18" charset="0"/>
                <a:cs typeface="Times New Roman" panose="02020603050405020304" pitchFamily="18" charset="0"/>
              </a:rPr>
              <a:t>card.</a:t>
            </a:r>
            <a:endParaRPr lang="en-IN" dirty="0">
              <a:effectLst/>
              <a:latin typeface="Times New Roman" panose="02020603050405020304" pitchFamily="18" charset="0"/>
              <a:ea typeface="Times New Roman" panose="02020603050405020304" pitchFamily="18" charset="0"/>
              <a:cs typeface="Times New Roman" panose="02020603050405020304" pitchFamily="18" charset="0"/>
            </a:endParaRPr>
          </a:p>
          <a:p>
            <a:pPr marL="867410">
              <a:spcBef>
                <a:spcPts val="545"/>
              </a:spcBef>
              <a:spcAft>
                <a:spcPts val="0"/>
              </a:spcAft>
            </a:pPr>
            <a:r>
              <a:rPr lang="en-US" b="1" dirty="0">
                <a:effectLst/>
                <a:latin typeface="Times New Roman" panose="02020603050405020304" pitchFamily="18" charset="0"/>
                <a:ea typeface="Times New Roman" panose="02020603050405020304" pitchFamily="18" charset="0"/>
                <a:cs typeface="Times New Roman" panose="02020603050405020304" pitchFamily="18" charset="0"/>
              </a:rPr>
              <a:t>Solution:</a:t>
            </a:r>
            <a:endParaRPr lang="en-IN" dirty="0">
              <a:effectLst/>
              <a:latin typeface="Times New Roman" panose="02020603050405020304" pitchFamily="18" charset="0"/>
              <a:ea typeface="Times New Roman" panose="02020603050405020304" pitchFamily="18" charset="0"/>
              <a:cs typeface="Times New Roman" panose="02020603050405020304" pitchFamily="18" charset="0"/>
            </a:endParaRPr>
          </a:p>
          <a:p>
            <a:endParaRPr lang="en-US" dirty="0">
              <a:latin typeface="Times New Roman" panose="02020603050405020304" pitchFamily="18" charset="0"/>
              <a:cs typeface="Times New Roman" panose="02020603050405020304" pitchFamily="18" charset="0"/>
            </a:endParaRPr>
          </a:p>
          <a:p>
            <a:endParaRPr lang="en-US" dirty="0">
              <a:latin typeface="Times New Roman" panose="02020603050405020304" pitchFamily="18" charset="0"/>
              <a:cs typeface="Times New Roman" panose="02020603050405020304" pitchFamily="18" charset="0"/>
            </a:endParaRPr>
          </a:p>
          <a:p>
            <a:endParaRPr lang="en-US" dirty="0">
              <a:latin typeface="Times New Roman" panose="02020603050405020304" pitchFamily="18" charset="0"/>
              <a:cs typeface="Times New Roman" panose="02020603050405020304" pitchFamily="18" charset="0"/>
            </a:endParaRPr>
          </a:p>
          <a:p>
            <a:endParaRPr lang="en-US" dirty="0">
              <a:latin typeface="Times New Roman" panose="02020603050405020304" pitchFamily="18" charset="0"/>
              <a:cs typeface="Times New Roman" panose="02020603050405020304" pitchFamily="18" charset="0"/>
            </a:endParaRPr>
          </a:p>
          <a:p>
            <a:endParaRPr lang="en-US" dirty="0">
              <a:latin typeface="Times New Roman" panose="02020603050405020304" pitchFamily="18" charset="0"/>
              <a:cs typeface="Times New Roman" panose="02020603050405020304" pitchFamily="18" charset="0"/>
            </a:endParaRPr>
          </a:p>
        </p:txBody>
      </p:sp>
      <p:pic>
        <p:nvPicPr>
          <p:cNvPr id="6" name="Picture 5" descr="Dice and pins on a board game">
            <a:extLst>
              <a:ext uri="{FF2B5EF4-FFF2-40B4-BE49-F238E27FC236}">
                <a16:creationId xmlns:a16="http://schemas.microsoft.com/office/drawing/2014/main" id="{F9862F5A-6740-86F2-F8DE-F0AE469C24B4}"/>
              </a:ext>
            </a:extLst>
          </p:cNvPr>
          <p:cNvPicPr>
            <a:picLocks noChangeAspect="1"/>
          </p:cNvPicPr>
          <p:nvPr/>
        </p:nvPicPr>
        <p:blipFill>
          <a:blip r:embed="rId2"/>
          <a:srcRect l="9808" r="31015"/>
          <a:stretch/>
        </p:blipFill>
        <p:spPr>
          <a:xfrm>
            <a:off x="6096000" y="1"/>
            <a:ext cx="6102825" cy="6858000"/>
          </a:xfrm>
          <a:prstGeom prst="rect">
            <a:avLst/>
          </a:prstGeom>
        </p:spPr>
      </p:pic>
      <p:pic>
        <p:nvPicPr>
          <p:cNvPr id="2" name="image77.png">
            <a:extLst>
              <a:ext uri="{FF2B5EF4-FFF2-40B4-BE49-F238E27FC236}">
                <a16:creationId xmlns:a16="http://schemas.microsoft.com/office/drawing/2014/main" id="{701ABEF8-4BB7-DC90-83DD-7A21BF0CF397}"/>
              </a:ext>
            </a:extLst>
          </p:cNvPr>
          <p:cNvPicPr>
            <a:picLocks noChangeAspect="1"/>
          </p:cNvPicPr>
          <p:nvPr/>
        </p:nvPicPr>
        <p:blipFill>
          <a:blip r:embed="rId3" cstate="print"/>
          <a:stretch>
            <a:fillRect/>
          </a:stretch>
        </p:blipFill>
        <p:spPr>
          <a:xfrm>
            <a:off x="6200775" y="557213"/>
            <a:ext cx="4243388" cy="2053252"/>
          </a:xfrm>
          <a:prstGeom prst="rect">
            <a:avLst/>
          </a:prstGeom>
        </p:spPr>
      </p:pic>
      <p:pic>
        <p:nvPicPr>
          <p:cNvPr id="7" name="image78.png">
            <a:extLst>
              <a:ext uri="{FF2B5EF4-FFF2-40B4-BE49-F238E27FC236}">
                <a16:creationId xmlns:a16="http://schemas.microsoft.com/office/drawing/2014/main" id="{53E982A9-C46C-A14A-E4A6-12D4BC3A8D97}"/>
              </a:ext>
            </a:extLst>
          </p:cNvPr>
          <p:cNvPicPr>
            <a:picLocks noChangeAspect="1"/>
          </p:cNvPicPr>
          <p:nvPr/>
        </p:nvPicPr>
        <p:blipFill>
          <a:blip r:embed="rId3" cstate="print"/>
          <a:stretch>
            <a:fillRect/>
          </a:stretch>
        </p:blipFill>
        <p:spPr>
          <a:xfrm>
            <a:off x="6095998" y="2657474"/>
            <a:ext cx="6095999" cy="3514725"/>
          </a:xfrm>
          <a:prstGeom prst="rect">
            <a:avLst/>
          </a:prstGeom>
        </p:spPr>
      </p:pic>
    </p:spTree>
    <p:extLst>
      <p:ext uri="{BB962C8B-B14F-4D97-AF65-F5344CB8AC3E}">
        <p14:creationId xmlns:p14="http://schemas.microsoft.com/office/powerpoint/2010/main" val="415683806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57AF0D7-A5E7-FD3D-A4D5-A37830FC5242}"/>
              </a:ext>
            </a:extLst>
          </p:cNvPr>
          <p:cNvSpPr>
            <a:spLocks noGrp="1"/>
          </p:cNvSpPr>
          <p:nvPr>
            <p:ph idx="1"/>
          </p:nvPr>
        </p:nvSpPr>
        <p:spPr>
          <a:xfrm>
            <a:off x="221226" y="265471"/>
            <a:ext cx="11728604" cy="6461006"/>
          </a:xfrm>
        </p:spPr>
        <p:txBody>
          <a:bodyPr>
            <a:normAutofit fontScale="92500" lnSpcReduction="10000"/>
          </a:bodyPr>
          <a:lstStyle/>
          <a:p>
            <a:pPr marL="528320" marR="398780" algn="ctr">
              <a:spcBef>
                <a:spcPts val="270"/>
              </a:spcBef>
              <a:spcAft>
                <a:spcPts val="0"/>
              </a:spcAft>
            </a:pPr>
            <a:r>
              <a:rPr lang="en-US" sz="3300" b="1" dirty="0">
                <a:solidFill>
                  <a:srgbClr val="FF0000"/>
                </a:solidFill>
                <a:effectLst/>
                <a:latin typeface="Times New Roman" panose="02020603050405020304" pitchFamily="18" charset="0"/>
                <a:ea typeface="Times New Roman" panose="02020603050405020304" pitchFamily="18" charset="0"/>
              </a:rPr>
              <a:t>Bayesian</a:t>
            </a:r>
            <a:r>
              <a:rPr lang="en-US" sz="3300" b="1" spc="-70" dirty="0">
                <a:solidFill>
                  <a:srgbClr val="FF0000"/>
                </a:solidFill>
                <a:effectLst/>
                <a:latin typeface="Times New Roman" panose="02020603050405020304" pitchFamily="18" charset="0"/>
                <a:ea typeface="Times New Roman" panose="02020603050405020304" pitchFamily="18" charset="0"/>
              </a:rPr>
              <a:t> </a:t>
            </a:r>
            <a:r>
              <a:rPr lang="en-US" sz="3300" b="1" dirty="0">
                <a:solidFill>
                  <a:srgbClr val="FF0000"/>
                </a:solidFill>
                <a:effectLst/>
                <a:latin typeface="Times New Roman" panose="02020603050405020304" pitchFamily="18" charset="0"/>
                <a:ea typeface="Times New Roman" panose="02020603050405020304" pitchFamily="18" charset="0"/>
              </a:rPr>
              <a:t>Belief</a:t>
            </a:r>
            <a:r>
              <a:rPr lang="en-US" sz="3300" b="1" spc="-35" dirty="0">
                <a:solidFill>
                  <a:srgbClr val="FF0000"/>
                </a:solidFill>
                <a:effectLst/>
                <a:latin typeface="Times New Roman" panose="02020603050405020304" pitchFamily="18" charset="0"/>
                <a:ea typeface="Times New Roman" panose="02020603050405020304" pitchFamily="18" charset="0"/>
              </a:rPr>
              <a:t> </a:t>
            </a:r>
            <a:r>
              <a:rPr lang="en-US" sz="3300" b="1" dirty="0">
                <a:solidFill>
                  <a:srgbClr val="FF0000"/>
                </a:solidFill>
                <a:effectLst/>
                <a:latin typeface="Times New Roman" panose="02020603050405020304" pitchFamily="18" charset="0"/>
                <a:ea typeface="Times New Roman" panose="02020603050405020304" pitchFamily="18" charset="0"/>
              </a:rPr>
              <a:t>Network</a:t>
            </a:r>
            <a:endParaRPr lang="en-IN" sz="3300" b="1" dirty="0">
              <a:effectLst/>
              <a:latin typeface="Times New Roman" panose="02020603050405020304" pitchFamily="18" charset="0"/>
              <a:ea typeface="Times New Roman" panose="02020603050405020304" pitchFamily="18" charset="0"/>
            </a:endParaRPr>
          </a:p>
          <a:p>
            <a:pPr marL="742950" marR="367665" lvl="1" indent="-285750" algn="just">
              <a:lnSpc>
                <a:spcPct val="103000"/>
              </a:lnSpc>
              <a:spcBef>
                <a:spcPts val="785"/>
              </a:spcBef>
              <a:spcAft>
                <a:spcPts val="0"/>
              </a:spcAft>
              <a:buFont typeface="Arial" panose="020B0604020202020204" pitchFamily="34" charset="0"/>
              <a:buChar char="•"/>
              <a:tabLst>
                <a:tab pos="868045" algn="l"/>
              </a:tabLst>
            </a:pPr>
            <a:r>
              <a:rPr lang="en-US" dirty="0">
                <a:effectLst/>
                <a:latin typeface="Times New Roman" panose="02020603050405020304" pitchFamily="18" charset="0"/>
                <a:ea typeface="Times New Roman" panose="02020603050405020304" pitchFamily="18" charset="0"/>
              </a:rPr>
              <a:t>Bayesian belief network is key computer technology for</a:t>
            </a:r>
            <a:r>
              <a:rPr lang="en-US" spc="5" dirty="0">
                <a:effectLst/>
                <a:latin typeface="Times New Roman" panose="02020603050405020304" pitchFamily="18" charset="0"/>
                <a:ea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rPr>
              <a:t>dealing with probabilistic events and to solve a problem</a:t>
            </a:r>
            <a:r>
              <a:rPr lang="en-US" spc="5" dirty="0">
                <a:effectLst/>
                <a:latin typeface="Times New Roman" panose="02020603050405020304" pitchFamily="18" charset="0"/>
                <a:ea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rPr>
              <a:t>which has uncertainty. We can define a Bayesian network</a:t>
            </a:r>
            <a:r>
              <a:rPr lang="en-US" spc="-635" dirty="0">
                <a:effectLst/>
                <a:latin typeface="Times New Roman" panose="02020603050405020304" pitchFamily="18" charset="0"/>
                <a:ea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rPr>
              <a:t>as:</a:t>
            </a:r>
            <a:endParaRPr lang="en-IN" dirty="0">
              <a:effectLst/>
              <a:latin typeface="Times New Roman" panose="02020603050405020304" pitchFamily="18" charset="0"/>
              <a:ea typeface="Times New Roman" panose="02020603050405020304" pitchFamily="18" charset="0"/>
            </a:endParaRPr>
          </a:p>
          <a:p>
            <a:pPr marL="867410" marR="365760" algn="just">
              <a:lnSpc>
                <a:spcPct val="103000"/>
              </a:lnSpc>
              <a:spcBef>
                <a:spcPts val="650"/>
              </a:spcBef>
              <a:spcAft>
                <a:spcPts val="0"/>
              </a:spcAft>
            </a:pPr>
            <a:r>
              <a:rPr lang="en-US" sz="2400" dirty="0">
                <a:effectLst/>
                <a:latin typeface="Times New Roman" panose="02020603050405020304" pitchFamily="18" charset="0"/>
                <a:ea typeface="Times New Roman" panose="02020603050405020304" pitchFamily="18" charset="0"/>
              </a:rPr>
              <a:t>"A Bayesian network is a probabilistic graphical model</a:t>
            </a:r>
            <a:r>
              <a:rPr lang="en-US" sz="2400" spc="5" dirty="0">
                <a:effectLst/>
                <a:latin typeface="Times New Roman" panose="02020603050405020304" pitchFamily="18" charset="0"/>
                <a:ea typeface="Times New Roman" panose="02020603050405020304" pitchFamily="18" charset="0"/>
              </a:rPr>
              <a:t> </a:t>
            </a:r>
            <a:r>
              <a:rPr lang="en-US" sz="2400" dirty="0">
                <a:effectLst/>
                <a:latin typeface="Times New Roman" panose="02020603050405020304" pitchFamily="18" charset="0"/>
                <a:ea typeface="Times New Roman" panose="02020603050405020304" pitchFamily="18" charset="0"/>
              </a:rPr>
              <a:t>which represents a set of variables and their conditional</a:t>
            </a:r>
            <a:r>
              <a:rPr lang="en-US" sz="2400" spc="5" dirty="0">
                <a:effectLst/>
                <a:latin typeface="Times New Roman" panose="02020603050405020304" pitchFamily="18" charset="0"/>
                <a:ea typeface="Times New Roman" panose="02020603050405020304" pitchFamily="18" charset="0"/>
              </a:rPr>
              <a:t> </a:t>
            </a:r>
            <a:r>
              <a:rPr lang="en-US" sz="2400" dirty="0">
                <a:effectLst/>
                <a:latin typeface="Times New Roman" panose="02020603050405020304" pitchFamily="18" charset="0"/>
                <a:ea typeface="Times New Roman" panose="02020603050405020304" pitchFamily="18" charset="0"/>
              </a:rPr>
              <a:t>dependencies</a:t>
            </a:r>
            <a:r>
              <a:rPr lang="en-US" sz="2400" spc="-50" dirty="0">
                <a:effectLst/>
                <a:latin typeface="Times New Roman" panose="02020603050405020304" pitchFamily="18" charset="0"/>
                <a:ea typeface="Times New Roman" panose="02020603050405020304" pitchFamily="18" charset="0"/>
              </a:rPr>
              <a:t> </a:t>
            </a:r>
            <a:r>
              <a:rPr lang="en-US" sz="2400" dirty="0">
                <a:effectLst/>
                <a:latin typeface="Times New Roman" panose="02020603050405020304" pitchFamily="18" charset="0"/>
                <a:ea typeface="Times New Roman" panose="02020603050405020304" pitchFamily="18" charset="0"/>
              </a:rPr>
              <a:t>using a</a:t>
            </a:r>
            <a:r>
              <a:rPr lang="en-US" sz="2400" spc="-15" dirty="0">
                <a:effectLst/>
                <a:latin typeface="Times New Roman" panose="02020603050405020304" pitchFamily="18" charset="0"/>
                <a:ea typeface="Times New Roman" panose="02020603050405020304" pitchFamily="18" charset="0"/>
              </a:rPr>
              <a:t> </a:t>
            </a:r>
            <a:r>
              <a:rPr lang="en-US" sz="2400" dirty="0">
                <a:effectLst/>
                <a:latin typeface="Times New Roman" panose="02020603050405020304" pitchFamily="18" charset="0"/>
                <a:ea typeface="Times New Roman" panose="02020603050405020304" pitchFamily="18" charset="0"/>
              </a:rPr>
              <a:t>directed</a:t>
            </a:r>
            <a:r>
              <a:rPr lang="en-US" sz="2400" spc="-30" dirty="0">
                <a:effectLst/>
                <a:latin typeface="Times New Roman" panose="02020603050405020304" pitchFamily="18" charset="0"/>
                <a:ea typeface="Times New Roman" panose="02020603050405020304" pitchFamily="18" charset="0"/>
              </a:rPr>
              <a:t> </a:t>
            </a:r>
            <a:r>
              <a:rPr lang="en-US" sz="2400" dirty="0">
                <a:effectLst/>
                <a:latin typeface="Times New Roman" panose="02020603050405020304" pitchFamily="18" charset="0"/>
                <a:ea typeface="Times New Roman" panose="02020603050405020304" pitchFamily="18" charset="0"/>
              </a:rPr>
              <a:t>acyclic</a:t>
            </a:r>
            <a:r>
              <a:rPr lang="en-US" sz="2400" spc="175" dirty="0">
                <a:effectLst/>
                <a:latin typeface="Times New Roman" panose="02020603050405020304" pitchFamily="18" charset="0"/>
                <a:ea typeface="Times New Roman" panose="02020603050405020304" pitchFamily="18" charset="0"/>
              </a:rPr>
              <a:t> </a:t>
            </a:r>
            <a:r>
              <a:rPr lang="en-US" sz="2400" dirty="0">
                <a:effectLst/>
                <a:latin typeface="Times New Roman" panose="02020603050405020304" pitchFamily="18" charset="0"/>
                <a:ea typeface="Times New Roman" panose="02020603050405020304" pitchFamily="18" charset="0"/>
              </a:rPr>
              <a:t>graph."</a:t>
            </a:r>
            <a:endParaRPr lang="en-IN" sz="2400" dirty="0">
              <a:effectLst/>
              <a:latin typeface="Times New Roman" panose="02020603050405020304" pitchFamily="18" charset="0"/>
              <a:ea typeface="Times New Roman" panose="02020603050405020304" pitchFamily="18" charset="0"/>
            </a:endParaRPr>
          </a:p>
          <a:p>
            <a:pPr marL="742950" marR="361315" lvl="1" indent="-285750" algn="just">
              <a:lnSpc>
                <a:spcPct val="103000"/>
              </a:lnSpc>
              <a:spcBef>
                <a:spcPts val="625"/>
              </a:spcBef>
              <a:spcAft>
                <a:spcPts val="0"/>
              </a:spcAft>
              <a:buFont typeface="Arial" panose="020B0604020202020204" pitchFamily="34" charset="0"/>
              <a:buChar char="•"/>
              <a:tabLst>
                <a:tab pos="868045" algn="l"/>
              </a:tabLst>
            </a:pPr>
            <a:r>
              <a:rPr lang="en-US" dirty="0">
                <a:effectLst/>
                <a:latin typeface="Times New Roman" panose="02020603050405020304" pitchFamily="18" charset="0"/>
                <a:ea typeface="Times New Roman" panose="02020603050405020304" pitchFamily="18" charset="0"/>
              </a:rPr>
              <a:t>It</a:t>
            </a:r>
            <a:r>
              <a:rPr lang="en-US" spc="5" dirty="0">
                <a:effectLst/>
                <a:latin typeface="Times New Roman" panose="02020603050405020304" pitchFamily="18" charset="0"/>
                <a:ea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rPr>
              <a:t>is</a:t>
            </a:r>
            <a:r>
              <a:rPr lang="en-US" spc="5" dirty="0">
                <a:effectLst/>
                <a:latin typeface="Times New Roman" panose="02020603050405020304" pitchFamily="18" charset="0"/>
                <a:ea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rPr>
              <a:t>also</a:t>
            </a:r>
            <a:r>
              <a:rPr lang="en-US" spc="5" dirty="0">
                <a:effectLst/>
                <a:latin typeface="Times New Roman" panose="02020603050405020304" pitchFamily="18" charset="0"/>
                <a:ea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rPr>
              <a:t>called</a:t>
            </a:r>
            <a:r>
              <a:rPr lang="en-US" spc="5" dirty="0">
                <a:effectLst/>
                <a:latin typeface="Times New Roman" panose="02020603050405020304" pitchFamily="18" charset="0"/>
                <a:ea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rPr>
              <a:t>a</a:t>
            </a:r>
            <a:r>
              <a:rPr lang="en-US" spc="5" dirty="0">
                <a:effectLst/>
                <a:latin typeface="Times New Roman" panose="02020603050405020304" pitchFamily="18" charset="0"/>
                <a:ea typeface="Times New Roman" panose="02020603050405020304" pitchFamily="18" charset="0"/>
              </a:rPr>
              <a:t> </a:t>
            </a:r>
            <a:r>
              <a:rPr lang="en-US" b="1" dirty="0">
                <a:effectLst/>
                <a:latin typeface="Times New Roman" panose="02020603050405020304" pitchFamily="18" charset="0"/>
                <a:ea typeface="Times New Roman" panose="02020603050405020304" pitchFamily="18" charset="0"/>
              </a:rPr>
              <a:t>Bayes</a:t>
            </a:r>
            <a:r>
              <a:rPr lang="en-US" b="1" spc="5" dirty="0">
                <a:effectLst/>
                <a:latin typeface="Times New Roman" panose="02020603050405020304" pitchFamily="18" charset="0"/>
                <a:ea typeface="Times New Roman" panose="02020603050405020304" pitchFamily="18" charset="0"/>
              </a:rPr>
              <a:t> </a:t>
            </a:r>
            <a:r>
              <a:rPr lang="en-US" b="1" dirty="0">
                <a:effectLst/>
                <a:latin typeface="Times New Roman" panose="02020603050405020304" pitchFamily="18" charset="0"/>
                <a:ea typeface="Times New Roman" panose="02020603050405020304" pitchFamily="18" charset="0"/>
              </a:rPr>
              <a:t>network,</a:t>
            </a:r>
            <a:r>
              <a:rPr lang="en-US" b="1" spc="5" dirty="0">
                <a:effectLst/>
                <a:latin typeface="Times New Roman" panose="02020603050405020304" pitchFamily="18" charset="0"/>
                <a:ea typeface="Times New Roman" panose="02020603050405020304" pitchFamily="18" charset="0"/>
              </a:rPr>
              <a:t> </a:t>
            </a:r>
            <a:r>
              <a:rPr lang="en-US" b="1" dirty="0">
                <a:effectLst/>
                <a:latin typeface="Times New Roman" panose="02020603050405020304" pitchFamily="18" charset="0"/>
                <a:ea typeface="Times New Roman" panose="02020603050405020304" pitchFamily="18" charset="0"/>
              </a:rPr>
              <a:t>belief</a:t>
            </a:r>
            <a:r>
              <a:rPr lang="en-US" b="1" spc="5" dirty="0">
                <a:effectLst/>
                <a:latin typeface="Times New Roman" panose="02020603050405020304" pitchFamily="18" charset="0"/>
                <a:ea typeface="Times New Roman" panose="02020603050405020304" pitchFamily="18" charset="0"/>
              </a:rPr>
              <a:t> </a:t>
            </a:r>
            <a:r>
              <a:rPr lang="en-US" b="1" dirty="0">
                <a:effectLst/>
                <a:latin typeface="Times New Roman" panose="02020603050405020304" pitchFamily="18" charset="0"/>
                <a:ea typeface="Times New Roman" panose="02020603050405020304" pitchFamily="18" charset="0"/>
              </a:rPr>
              <a:t>network,</a:t>
            </a:r>
            <a:r>
              <a:rPr lang="en-US" b="1" spc="5" dirty="0">
                <a:effectLst/>
                <a:latin typeface="Times New Roman" panose="02020603050405020304" pitchFamily="18" charset="0"/>
                <a:ea typeface="Times New Roman" panose="02020603050405020304" pitchFamily="18" charset="0"/>
              </a:rPr>
              <a:t> </a:t>
            </a:r>
            <a:r>
              <a:rPr lang="en-US" b="1" dirty="0">
                <a:effectLst/>
                <a:latin typeface="Times New Roman" panose="02020603050405020304" pitchFamily="18" charset="0"/>
                <a:ea typeface="Times New Roman" panose="02020603050405020304" pitchFamily="18" charset="0"/>
              </a:rPr>
              <a:t>decision</a:t>
            </a:r>
            <a:r>
              <a:rPr lang="en-US" b="1" spc="10" dirty="0">
                <a:effectLst/>
                <a:latin typeface="Times New Roman" panose="02020603050405020304" pitchFamily="18" charset="0"/>
                <a:ea typeface="Times New Roman" panose="02020603050405020304" pitchFamily="18" charset="0"/>
              </a:rPr>
              <a:t> </a:t>
            </a:r>
            <a:r>
              <a:rPr lang="en-US" b="1" dirty="0">
                <a:effectLst/>
                <a:latin typeface="Times New Roman" panose="02020603050405020304" pitchFamily="18" charset="0"/>
                <a:ea typeface="Times New Roman" panose="02020603050405020304" pitchFamily="18" charset="0"/>
              </a:rPr>
              <a:t>network</a:t>
            </a:r>
            <a:r>
              <a:rPr lang="en-US" dirty="0">
                <a:effectLst/>
                <a:latin typeface="Times New Roman" panose="02020603050405020304" pitchFamily="18" charset="0"/>
                <a:ea typeface="Times New Roman" panose="02020603050405020304" pitchFamily="18" charset="0"/>
              </a:rPr>
              <a:t>,</a:t>
            </a:r>
            <a:r>
              <a:rPr lang="en-US" spc="-55" dirty="0">
                <a:effectLst/>
                <a:latin typeface="Times New Roman" panose="02020603050405020304" pitchFamily="18" charset="0"/>
                <a:ea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rPr>
              <a:t>or</a:t>
            </a:r>
            <a:r>
              <a:rPr lang="en-US" spc="-5" dirty="0">
                <a:effectLst/>
                <a:latin typeface="Times New Roman" panose="02020603050405020304" pitchFamily="18" charset="0"/>
                <a:ea typeface="Times New Roman" panose="02020603050405020304" pitchFamily="18" charset="0"/>
              </a:rPr>
              <a:t> </a:t>
            </a:r>
            <a:r>
              <a:rPr lang="en-US" b="1" dirty="0">
                <a:effectLst/>
                <a:latin typeface="Times New Roman" panose="02020603050405020304" pitchFamily="18" charset="0"/>
                <a:ea typeface="Times New Roman" panose="02020603050405020304" pitchFamily="18" charset="0"/>
              </a:rPr>
              <a:t>Bayesian</a:t>
            </a:r>
            <a:r>
              <a:rPr lang="en-US" b="1" spc="-55" dirty="0">
                <a:effectLst/>
                <a:latin typeface="Times New Roman" panose="02020603050405020304" pitchFamily="18" charset="0"/>
                <a:ea typeface="Times New Roman" panose="02020603050405020304" pitchFamily="18" charset="0"/>
              </a:rPr>
              <a:t> </a:t>
            </a:r>
            <a:r>
              <a:rPr lang="en-US" b="1" dirty="0">
                <a:effectLst/>
                <a:latin typeface="Times New Roman" panose="02020603050405020304" pitchFamily="18" charset="0"/>
                <a:ea typeface="Times New Roman" panose="02020603050405020304" pitchFamily="18" charset="0"/>
              </a:rPr>
              <a:t>model</a:t>
            </a:r>
            <a:r>
              <a:rPr lang="en-US" dirty="0">
                <a:effectLst/>
                <a:latin typeface="Times New Roman" panose="02020603050405020304" pitchFamily="18" charset="0"/>
                <a:ea typeface="Times New Roman" panose="02020603050405020304" pitchFamily="18" charset="0"/>
              </a:rPr>
              <a:t>.</a:t>
            </a:r>
            <a:endParaRPr lang="en-IN" dirty="0">
              <a:effectLst/>
              <a:latin typeface="Times New Roman" panose="02020603050405020304" pitchFamily="18" charset="0"/>
              <a:ea typeface="Times New Roman" panose="02020603050405020304" pitchFamily="18" charset="0"/>
            </a:endParaRPr>
          </a:p>
          <a:p>
            <a:pPr marL="742950" marR="358775" lvl="1" indent="-285750" algn="just">
              <a:lnSpc>
                <a:spcPct val="103000"/>
              </a:lnSpc>
              <a:spcBef>
                <a:spcPts val="610"/>
              </a:spcBef>
              <a:spcAft>
                <a:spcPts val="0"/>
              </a:spcAft>
              <a:buFont typeface="Arial" panose="020B0604020202020204" pitchFamily="34" charset="0"/>
              <a:buChar char="•"/>
              <a:tabLst>
                <a:tab pos="868045" algn="l"/>
              </a:tabLst>
            </a:pPr>
            <a:r>
              <a:rPr lang="en-US" dirty="0">
                <a:effectLst/>
                <a:latin typeface="Times New Roman" panose="02020603050405020304" pitchFamily="18" charset="0"/>
                <a:ea typeface="Times New Roman" panose="02020603050405020304" pitchFamily="18" charset="0"/>
              </a:rPr>
              <a:t>Bayesian</a:t>
            </a:r>
            <a:r>
              <a:rPr lang="en-US" spc="5" dirty="0">
                <a:effectLst/>
                <a:latin typeface="Times New Roman" panose="02020603050405020304" pitchFamily="18" charset="0"/>
                <a:ea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rPr>
              <a:t>networks</a:t>
            </a:r>
            <a:r>
              <a:rPr lang="en-US" spc="5" dirty="0">
                <a:effectLst/>
                <a:latin typeface="Times New Roman" panose="02020603050405020304" pitchFamily="18" charset="0"/>
                <a:ea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rPr>
              <a:t>are</a:t>
            </a:r>
            <a:r>
              <a:rPr lang="en-US" spc="5" dirty="0">
                <a:effectLst/>
                <a:latin typeface="Times New Roman" panose="02020603050405020304" pitchFamily="18" charset="0"/>
                <a:ea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rPr>
              <a:t>probabilistic,</a:t>
            </a:r>
            <a:r>
              <a:rPr lang="en-US" spc="5" dirty="0">
                <a:effectLst/>
                <a:latin typeface="Times New Roman" panose="02020603050405020304" pitchFamily="18" charset="0"/>
                <a:ea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rPr>
              <a:t>because</a:t>
            </a:r>
            <a:r>
              <a:rPr lang="en-US" spc="5" dirty="0">
                <a:effectLst/>
                <a:latin typeface="Times New Roman" panose="02020603050405020304" pitchFamily="18" charset="0"/>
                <a:ea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rPr>
              <a:t>these</a:t>
            </a:r>
            <a:r>
              <a:rPr lang="en-US" spc="5" dirty="0">
                <a:effectLst/>
                <a:latin typeface="Times New Roman" panose="02020603050405020304" pitchFamily="18" charset="0"/>
                <a:ea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rPr>
              <a:t>networks</a:t>
            </a:r>
            <a:r>
              <a:rPr lang="en-US" spc="5" dirty="0">
                <a:effectLst/>
                <a:latin typeface="Times New Roman" panose="02020603050405020304" pitchFamily="18" charset="0"/>
                <a:ea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rPr>
              <a:t>are</a:t>
            </a:r>
            <a:r>
              <a:rPr lang="en-US" spc="5" dirty="0">
                <a:effectLst/>
                <a:latin typeface="Times New Roman" panose="02020603050405020304" pitchFamily="18" charset="0"/>
                <a:ea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rPr>
              <a:t>built</a:t>
            </a:r>
            <a:r>
              <a:rPr lang="en-US" spc="5" dirty="0">
                <a:effectLst/>
                <a:latin typeface="Times New Roman" panose="02020603050405020304" pitchFamily="18" charset="0"/>
                <a:ea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rPr>
              <a:t>from</a:t>
            </a:r>
            <a:r>
              <a:rPr lang="en-US" spc="5" dirty="0">
                <a:effectLst/>
                <a:latin typeface="Times New Roman" panose="02020603050405020304" pitchFamily="18" charset="0"/>
                <a:ea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rPr>
              <a:t>a</a:t>
            </a:r>
            <a:r>
              <a:rPr lang="en-US" spc="5" dirty="0">
                <a:effectLst/>
                <a:latin typeface="Times New Roman" panose="02020603050405020304" pitchFamily="18" charset="0"/>
                <a:ea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rPr>
              <a:t>probability</a:t>
            </a:r>
            <a:r>
              <a:rPr lang="en-US" spc="5" dirty="0">
                <a:effectLst/>
                <a:latin typeface="Times New Roman" panose="02020603050405020304" pitchFamily="18" charset="0"/>
                <a:ea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rPr>
              <a:t>distribution,</a:t>
            </a:r>
            <a:r>
              <a:rPr lang="en-US" spc="650" dirty="0">
                <a:effectLst/>
                <a:latin typeface="Times New Roman" panose="02020603050405020304" pitchFamily="18" charset="0"/>
                <a:ea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rPr>
              <a:t>and</a:t>
            </a:r>
            <a:r>
              <a:rPr lang="en-US" spc="-635" dirty="0">
                <a:effectLst/>
                <a:latin typeface="Times New Roman" panose="02020603050405020304" pitchFamily="18" charset="0"/>
                <a:ea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rPr>
              <a:t>also</a:t>
            </a:r>
            <a:r>
              <a:rPr lang="en-US" spc="5" dirty="0">
                <a:effectLst/>
                <a:latin typeface="Times New Roman" panose="02020603050405020304" pitchFamily="18" charset="0"/>
                <a:ea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rPr>
              <a:t>use</a:t>
            </a:r>
            <a:r>
              <a:rPr lang="en-US" spc="5" dirty="0">
                <a:effectLst/>
                <a:latin typeface="Times New Roman" panose="02020603050405020304" pitchFamily="18" charset="0"/>
                <a:ea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rPr>
              <a:t>probability theory for</a:t>
            </a:r>
            <a:r>
              <a:rPr lang="en-US" spc="5" dirty="0">
                <a:effectLst/>
                <a:latin typeface="Times New Roman" panose="02020603050405020304" pitchFamily="18" charset="0"/>
                <a:ea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rPr>
              <a:t>prediction</a:t>
            </a:r>
            <a:r>
              <a:rPr lang="en-US" spc="5" dirty="0">
                <a:effectLst/>
                <a:latin typeface="Times New Roman" panose="02020603050405020304" pitchFamily="18" charset="0"/>
                <a:ea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rPr>
              <a:t>and</a:t>
            </a:r>
            <a:r>
              <a:rPr lang="en-US" spc="5" dirty="0">
                <a:effectLst/>
                <a:latin typeface="Times New Roman" panose="02020603050405020304" pitchFamily="18" charset="0"/>
                <a:ea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rPr>
              <a:t>anomaly</a:t>
            </a:r>
            <a:r>
              <a:rPr lang="en-US" spc="5" dirty="0">
                <a:effectLst/>
                <a:latin typeface="Times New Roman" panose="02020603050405020304" pitchFamily="18" charset="0"/>
                <a:ea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rPr>
              <a:t>detection.</a:t>
            </a:r>
          </a:p>
          <a:p>
            <a:pPr marL="742950" marR="367030" lvl="1" indent="-285750" algn="just">
              <a:lnSpc>
                <a:spcPct val="103000"/>
              </a:lnSpc>
              <a:spcBef>
                <a:spcPts val="265"/>
              </a:spcBef>
              <a:spcAft>
                <a:spcPts val="0"/>
              </a:spcAft>
              <a:buFont typeface="Arial" panose="020B0604020202020204" pitchFamily="34" charset="0"/>
              <a:buChar char="•"/>
              <a:tabLst>
                <a:tab pos="868045" algn="l"/>
              </a:tabLst>
            </a:pPr>
            <a:r>
              <a:rPr lang="en-US" dirty="0">
                <a:effectLst/>
                <a:latin typeface="Times New Roman" panose="02020603050405020304" pitchFamily="18" charset="0"/>
                <a:ea typeface="Times New Roman" panose="02020603050405020304" pitchFamily="18" charset="0"/>
              </a:rPr>
              <a:t>Real world applications are probabilistic in nature, and to</a:t>
            </a:r>
            <a:r>
              <a:rPr lang="en-US" spc="5" dirty="0">
                <a:effectLst/>
                <a:latin typeface="Times New Roman" panose="02020603050405020304" pitchFamily="18" charset="0"/>
                <a:ea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rPr>
              <a:t>represent</a:t>
            </a:r>
            <a:r>
              <a:rPr lang="en-US" spc="5" dirty="0">
                <a:effectLst/>
                <a:latin typeface="Times New Roman" panose="02020603050405020304" pitchFamily="18" charset="0"/>
                <a:ea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rPr>
              <a:t>the</a:t>
            </a:r>
            <a:r>
              <a:rPr lang="en-US" spc="5" dirty="0">
                <a:effectLst/>
                <a:latin typeface="Times New Roman" panose="02020603050405020304" pitchFamily="18" charset="0"/>
                <a:ea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rPr>
              <a:t>relationship</a:t>
            </a:r>
            <a:r>
              <a:rPr lang="en-US" spc="5" dirty="0">
                <a:effectLst/>
                <a:latin typeface="Times New Roman" panose="02020603050405020304" pitchFamily="18" charset="0"/>
                <a:ea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rPr>
              <a:t>between</a:t>
            </a:r>
            <a:r>
              <a:rPr lang="en-US" spc="5" dirty="0">
                <a:effectLst/>
                <a:latin typeface="Times New Roman" panose="02020603050405020304" pitchFamily="18" charset="0"/>
                <a:ea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rPr>
              <a:t>multiple</a:t>
            </a:r>
            <a:r>
              <a:rPr lang="en-US" spc="5" dirty="0">
                <a:effectLst/>
                <a:latin typeface="Times New Roman" panose="02020603050405020304" pitchFamily="18" charset="0"/>
                <a:ea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rPr>
              <a:t>events,</a:t>
            </a:r>
            <a:r>
              <a:rPr lang="en-US" spc="5" dirty="0">
                <a:effectLst/>
                <a:latin typeface="Times New Roman" panose="02020603050405020304" pitchFamily="18" charset="0"/>
                <a:ea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rPr>
              <a:t>we</a:t>
            </a:r>
            <a:r>
              <a:rPr lang="en-US" spc="-635" dirty="0">
                <a:effectLst/>
                <a:latin typeface="Times New Roman" panose="02020603050405020304" pitchFamily="18" charset="0"/>
                <a:ea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rPr>
              <a:t>need a Bayesian network. It can also be used in various</a:t>
            </a:r>
            <a:r>
              <a:rPr lang="en-US" spc="5" dirty="0">
                <a:effectLst/>
                <a:latin typeface="Times New Roman" panose="02020603050405020304" pitchFamily="18" charset="0"/>
                <a:ea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rPr>
              <a:t>tasks</a:t>
            </a:r>
            <a:r>
              <a:rPr lang="en-US" spc="5" dirty="0">
                <a:effectLst/>
                <a:latin typeface="Times New Roman" panose="02020603050405020304" pitchFamily="18" charset="0"/>
                <a:ea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rPr>
              <a:t>including</a:t>
            </a:r>
            <a:r>
              <a:rPr lang="en-US" spc="5" dirty="0">
                <a:effectLst/>
                <a:latin typeface="Times New Roman" panose="02020603050405020304" pitchFamily="18" charset="0"/>
                <a:ea typeface="Times New Roman" panose="02020603050405020304" pitchFamily="18" charset="0"/>
              </a:rPr>
              <a:t> </a:t>
            </a:r>
            <a:r>
              <a:rPr lang="en-US" b="1" dirty="0">
                <a:effectLst/>
                <a:latin typeface="Times New Roman" panose="02020603050405020304" pitchFamily="18" charset="0"/>
                <a:ea typeface="Times New Roman" panose="02020603050405020304" pitchFamily="18" charset="0"/>
              </a:rPr>
              <a:t>prediction,</a:t>
            </a:r>
            <a:r>
              <a:rPr lang="en-US" b="1" spc="5" dirty="0">
                <a:effectLst/>
                <a:latin typeface="Times New Roman" panose="02020603050405020304" pitchFamily="18" charset="0"/>
                <a:ea typeface="Times New Roman" panose="02020603050405020304" pitchFamily="18" charset="0"/>
              </a:rPr>
              <a:t> </a:t>
            </a:r>
            <a:r>
              <a:rPr lang="en-US" b="1" dirty="0">
                <a:effectLst/>
                <a:latin typeface="Times New Roman" panose="02020603050405020304" pitchFamily="18" charset="0"/>
                <a:ea typeface="Times New Roman" panose="02020603050405020304" pitchFamily="18" charset="0"/>
              </a:rPr>
              <a:t>anomaly</a:t>
            </a:r>
            <a:r>
              <a:rPr lang="en-US" b="1" spc="5" dirty="0">
                <a:effectLst/>
                <a:latin typeface="Times New Roman" panose="02020603050405020304" pitchFamily="18" charset="0"/>
                <a:ea typeface="Times New Roman" panose="02020603050405020304" pitchFamily="18" charset="0"/>
              </a:rPr>
              <a:t> </a:t>
            </a:r>
            <a:r>
              <a:rPr lang="en-US" b="1" dirty="0">
                <a:effectLst/>
                <a:latin typeface="Times New Roman" panose="02020603050405020304" pitchFamily="18" charset="0"/>
                <a:ea typeface="Times New Roman" panose="02020603050405020304" pitchFamily="18" charset="0"/>
              </a:rPr>
              <a:t>detection,</a:t>
            </a:r>
            <a:r>
              <a:rPr lang="en-US" b="1" spc="-635" dirty="0">
                <a:effectLst/>
                <a:latin typeface="Times New Roman" panose="02020603050405020304" pitchFamily="18" charset="0"/>
                <a:ea typeface="Times New Roman" panose="02020603050405020304" pitchFamily="18" charset="0"/>
              </a:rPr>
              <a:t> </a:t>
            </a:r>
            <a:r>
              <a:rPr lang="en-US" b="1" dirty="0">
                <a:effectLst/>
                <a:latin typeface="Times New Roman" panose="02020603050405020304" pitchFamily="18" charset="0"/>
                <a:ea typeface="Times New Roman" panose="02020603050405020304" pitchFamily="18" charset="0"/>
              </a:rPr>
              <a:t>diagnostics, automated insight, reasoning, time series</a:t>
            </a:r>
            <a:r>
              <a:rPr lang="en-US" b="1" spc="5" dirty="0">
                <a:effectLst/>
                <a:latin typeface="Times New Roman" panose="02020603050405020304" pitchFamily="18" charset="0"/>
                <a:ea typeface="Times New Roman" panose="02020603050405020304" pitchFamily="18" charset="0"/>
              </a:rPr>
              <a:t> </a:t>
            </a:r>
            <a:r>
              <a:rPr lang="en-US" b="1" dirty="0">
                <a:effectLst/>
                <a:latin typeface="Times New Roman" panose="02020603050405020304" pitchFamily="18" charset="0"/>
                <a:ea typeface="Times New Roman" panose="02020603050405020304" pitchFamily="18" charset="0"/>
              </a:rPr>
              <a:t>prediction</a:t>
            </a:r>
            <a:r>
              <a:rPr lang="en-US" dirty="0">
                <a:effectLst/>
                <a:latin typeface="Times New Roman" panose="02020603050405020304" pitchFamily="18" charset="0"/>
                <a:ea typeface="Times New Roman" panose="02020603050405020304" pitchFamily="18" charset="0"/>
              </a:rPr>
              <a:t>,</a:t>
            </a:r>
            <a:r>
              <a:rPr lang="en-US" spc="-50" dirty="0">
                <a:effectLst/>
                <a:latin typeface="Times New Roman" panose="02020603050405020304" pitchFamily="18" charset="0"/>
                <a:ea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rPr>
              <a:t>and</a:t>
            </a:r>
            <a:r>
              <a:rPr lang="en-US" spc="-20" dirty="0">
                <a:effectLst/>
                <a:latin typeface="Times New Roman" panose="02020603050405020304" pitchFamily="18" charset="0"/>
                <a:ea typeface="Times New Roman" panose="02020603050405020304" pitchFamily="18" charset="0"/>
              </a:rPr>
              <a:t> </a:t>
            </a:r>
            <a:r>
              <a:rPr lang="en-US" b="1" dirty="0">
                <a:effectLst/>
                <a:latin typeface="Times New Roman" panose="02020603050405020304" pitchFamily="18" charset="0"/>
                <a:ea typeface="Times New Roman" panose="02020603050405020304" pitchFamily="18" charset="0"/>
              </a:rPr>
              <a:t>decision making</a:t>
            </a:r>
            <a:r>
              <a:rPr lang="en-US" b="1" spc="15" dirty="0">
                <a:effectLst/>
                <a:latin typeface="Times New Roman" panose="02020603050405020304" pitchFamily="18" charset="0"/>
                <a:ea typeface="Times New Roman" panose="02020603050405020304" pitchFamily="18" charset="0"/>
              </a:rPr>
              <a:t> </a:t>
            </a:r>
            <a:r>
              <a:rPr lang="en-US" b="1" dirty="0">
                <a:effectLst/>
                <a:latin typeface="Times New Roman" panose="02020603050405020304" pitchFamily="18" charset="0"/>
                <a:ea typeface="Times New Roman" panose="02020603050405020304" pitchFamily="18" charset="0"/>
              </a:rPr>
              <a:t>under</a:t>
            </a:r>
            <a:r>
              <a:rPr lang="en-US" b="1" spc="-95" dirty="0">
                <a:effectLst/>
                <a:latin typeface="Times New Roman" panose="02020603050405020304" pitchFamily="18" charset="0"/>
                <a:ea typeface="Times New Roman" panose="02020603050405020304" pitchFamily="18" charset="0"/>
              </a:rPr>
              <a:t> </a:t>
            </a:r>
            <a:r>
              <a:rPr lang="en-US" b="1" dirty="0">
                <a:effectLst/>
                <a:latin typeface="Times New Roman" panose="02020603050405020304" pitchFamily="18" charset="0"/>
                <a:ea typeface="Times New Roman" panose="02020603050405020304" pitchFamily="18" charset="0"/>
              </a:rPr>
              <a:t>uncertainty</a:t>
            </a:r>
            <a:r>
              <a:rPr lang="en-US" dirty="0">
                <a:effectLst/>
                <a:latin typeface="Times New Roman" panose="02020603050405020304" pitchFamily="18" charset="0"/>
                <a:ea typeface="Times New Roman" panose="02020603050405020304" pitchFamily="18" charset="0"/>
              </a:rPr>
              <a:t>.</a:t>
            </a:r>
            <a:endParaRPr lang="en-IN" dirty="0">
              <a:effectLst/>
              <a:latin typeface="Times New Roman" panose="02020603050405020304" pitchFamily="18" charset="0"/>
              <a:ea typeface="Times New Roman" panose="02020603050405020304" pitchFamily="18" charset="0"/>
            </a:endParaRPr>
          </a:p>
          <a:p>
            <a:pPr marL="742950" marR="370205" lvl="1" indent="-285750" algn="just">
              <a:lnSpc>
                <a:spcPct val="103000"/>
              </a:lnSpc>
              <a:spcBef>
                <a:spcPts val="660"/>
              </a:spcBef>
              <a:spcAft>
                <a:spcPts val="0"/>
              </a:spcAft>
              <a:buFont typeface="Arial" panose="020B0604020202020204" pitchFamily="34" charset="0"/>
              <a:buChar char="•"/>
              <a:tabLst>
                <a:tab pos="868045" algn="l"/>
              </a:tabLst>
            </a:pPr>
            <a:r>
              <a:rPr lang="en-US" dirty="0">
                <a:effectLst/>
                <a:latin typeface="Times New Roman" panose="02020603050405020304" pitchFamily="18" charset="0"/>
                <a:ea typeface="Times New Roman" panose="02020603050405020304" pitchFamily="18" charset="0"/>
              </a:rPr>
              <a:t>Bayesian Network can be used for building models from</a:t>
            </a:r>
            <a:r>
              <a:rPr lang="en-US" spc="5" dirty="0">
                <a:effectLst/>
                <a:latin typeface="Times New Roman" panose="02020603050405020304" pitchFamily="18" charset="0"/>
                <a:ea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rPr>
              <a:t>data</a:t>
            </a:r>
            <a:r>
              <a:rPr lang="en-US" spc="-40" dirty="0">
                <a:effectLst/>
                <a:latin typeface="Times New Roman" panose="02020603050405020304" pitchFamily="18" charset="0"/>
                <a:ea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rPr>
              <a:t>and</a:t>
            </a:r>
            <a:r>
              <a:rPr lang="en-US" spc="10" dirty="0">
                <a:effectLst/>
                <a:latin typeface="Times New Roman" panose="02020603050405020304" pitchFamily="18" charset="0"/>
                <a:ea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rPr>
              <a:t>experts</a:t>
            </a:r>
            <a:r>
              <a:rPr lang="en-US" spc="-40" dirty="0">
                <a:effectLst/>
                <a:latin typeface="Times New Roman" panose="02020603050405020304" pitchFamily="18" charset="0"/>
                <a:ea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rPr>
              <a:t>opinions,</a:t>
            </a:r>
            <a:r>
              <a:rPr lang="en-US" spc="15" dirty="0">
                <a:effectLst/>
                <a:latin typeface="Times New Roman" panose="02020603050405020304" pitchFamily="18" charset="0"/>
                <a:ea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rPr>
              <a:t>and</a:t>
            </a:r>
            <a:r>
              <a:rPr lang="en-US" spc="-15" dirty="0">
                <a:effectLst/>
                <a:latin typeface="Times New Roman" panose="02020603050405020304" pitchFamily="18" charset="0"/>
                <a:ea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rPr>
              <a:t>it</a:t>
            </a:r>
            <a:r>
              <a:rPr lang="en-US" spc="5" dirty="0">
                <a:effectLst/>
                <a:latin typeface="Times New Roman" panose="02020603050405020304" pitchFamily="18" charset="0"/>
                <a:ea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rPr>
              <a:t>consists</a:t>
            </a:r>
            <a:r>
              <a:rPr lang="en-US" spc="-20" dirty="0">
                <a:effectLst/>
                <a:latin typeface="Times New Roman" panose="02020603050405020304" pitchFamily="18" charset="0"/>
                <a:ea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rPr>
              <a:t>of</a:t>
            </a:r>
            <a:r>
              <a:rPr lang="en-US" spc="-15" dirty="0">
                <a:effectLst/>
                <a:latin typeface="Times New Roman" panose="02020603050405020304" pitchFamily="18" charset="0"/>
                <a:ea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rPr>
              <a:t>two</a:t>
            </a:r>
            <a:r>
              <a:rPr lang="en-US" spc="10" dirty="0">
                <a:effectLst/>
                <a:latin typeface="Times New Roman" panose="02020603050405020304" pitchFamily="18" charset="0"/>
                <a:ea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rPr>
              <a:t>parts:</a:t>
            </a:r>
            <a:endParaRPr lang="en-IN" dirty="0">
              <a:effectLst/>
              <a:latin typeface="Times New Roman" panose="02020603050405020304" pitchFamily="18" charset="0"/>
              <a:ea typeface="Times New Roman" panose="02020603050405020304" pitchFamily="18" charset="0"/>
            </a:endParaRPr>
          </a:p>
          <a:p>
            <a:pPr marL="2352675" algn="just">
              <a:spcBef>
                <a:spcPts val="625"/>
              </a:spcBef>
              <a:spcAft>
                <a:spcPts val="0"/>
              </a:spcAft>
            </a:pPr>
            <a:r>
              <a:rPr lang="en-US" sz="2400" b="1" dirty="0">
                <a:effectLst/>
                <a:latin typeface="Times New Roman" panose="02020603050405020304" pitchFamily="18" charset="0"/>
                <a:ea typeface="Times New Roman" panose="02020603050405020304" pitchFamily="18" charset="0"/>
              </a:rPr>
              <a:t>Directed</a:t>
            </a:r>
            <a:r>
              <a:rPr lang="en-US" sz="2400" b="1" spc="-140" dirty="0">
                <a:effectLst/>
                <a:latin typeface="Times New Roman" panose="02020603050405020304" pitchFamily="18" charset="0"/>
                <a:ea typeface="Times New Roman" panose="02020603050405020304" pitchFamily="18" charset="0"/>
              </a:rPr>
              <a:t> </a:t>
            </a:r>
            <a:r>
              <a:rPr lang="en-US" sz="2400" b="1" dirty="0">
                <a:effectLst/>
                <a:latin typeface="Times New Roman" panose="02020603050405020304" pitchFamily="18" charset="0"/>
                <a:ea typeface="Times New Roman" panose="02020603050405020304" pitchFamily="18" charset="0"/>
              </a:rPr>
              <a:t>Acyclic</a:t>
            </a:r>
            <a:r>
              <a:rPr lang="en-US" sz="2400" b="1" spc="345" dirty="0">
                <a:effectLst/>
                <a:latin typeface="Times New Roman" panose="02020603050405020304" pitchFamily="18" charset="0"/>
                <a:ea typeface="Times New Roman" panose="02020603050405020304" pitchFamily="18" charset="0"/>
              </a:rPr>
              <a:t> </a:t>
            </a:r>
            <a:r>
              <a:rPr lang="en-US" sz="2400" b="1" dirty="0">
                <a:effectLst/>
                <a:latin typeface="Times New Roman" panose="02020603050405020304" pitchFamily="18" charset="0"/>
                <a:ea typeface="Times New Roman" panose="02020603050405020304" pitchFamily="18" charset="0"/>
              </a:rPr>
              <a:t>Graph</a:t>
            </a:r>
            <a:endParaRPr lang="en-IN" sz="2400" dirty="0">
              <a:effectLst/>
              <a:latin typeface="Times New Roman" panose="02020603050405020304" pitchFamily="18" charset="0"/>
              <a:ea typeface="Times New Roman" panose="02020603050405020304" pitchFamily="18" charset="0"/>
            </a:endParaRPr>
          </a:p>
          <a:p>
            <a:pPr marL="2352675" algn="just">
              <a:spcBef>
                <a:spcPts val="735"/>
              </a:spcBef>
              <a:spcAft>
                <a:spcPts val="0"/>
              </a:spcAft>
            </a:pPr>
            <a:r>
              <a:rPr lang="en-US" sz="2400" b="1" spc="-10" dirty="0">
                <a:effectLst/>
                <a:latin typeface="Times New Roman" panose="02020603050405020304" pitchFamily="18" charset="0"/>
                <a:ea typeface="Times New Roman" panose="02020603050405020304" pitchFamily="18" charset="0"/>
              </a:rPr>
              <a:t>Table</a:t>
            </a:r>
            <a:r>
              <a:rPr lang="en-US" sz="2400" b="1" spc="-135" dirty="0">
                <a:effectLst/>
                <a:latin typeface="Times New Roman" panose="02020603050405020304" pitchFamily="18" charset="0"/>
                <a:ea typeface="Times New Roman" panose="02020603050405020304" pitchFamily="18" charset="0"/>
              </a:rPr>
              <a:t> </a:t>
            </a:r>
            <a:r>
              <a:rPr lang="en-US" sz="2400" b="1" spc="-10" dirty="0">
                <a:effectLst/>
                <a:latin typeface="Times New Roman" panose="02020603050405020304" pitchFamily="18" charset="0"/>
                <a:ea typeface="Times New Roman" panose="02020603050405020304" pitchFamily="18" charset="0"/>
              </a:rPr>
              <a:t>of</a:t>
            </a:r>
            <a:r>
              <a:rPr lang="en-US" sz="2400" b="1" spc="-120" dirty="0">
                <a:effectLst/>
                <a:latin typeface="Times New Roman" panose="02020603050405020304" pitchFamily="18" charset="0"/>
                <a:ea typeface="Times New Roman" panose="02020603050405020304" pitchFamily="18" charset="0"/>
              </a:rPr>
              <a:t> </a:t>
            </a:r>
            <a:r>
              <a:rPr lang="en-US" sz="2400" b="1" spc="-10" dirty="0">
                <a:effectLst/>
                <a:latin typeface="Times New Roman" panose="02020603050405020304" pitchFamily="18" charset="0"/>
                <a:ea typeface="Times New Roman" panose="02020603050405020304" pitchFamily="18" charset="0"/>
              </a:rPr>
              <a:t>conditional</a:t>
            </a:r>
            <a:r>
              <a:rPr lang="en-US" sz="2400" b="1" spc="-65" dirty="0">
                <a:effectLst/>
                <a:latin typeface="Times New Roman" panose="02020603050405020304" pitchFamily="18" charset="0"/>
                <a:ea typeface="Times New Roman" panose="02020603050405020304" pitchFamily="18" charset="0"/>
              </a:rPr>
              <a:t> </a:t>
            </a:r>
            <a:r>
              <a:rPr lang="en-US" sz="2400" b="1" spc="-10" dirty="0">
                <a:effectLst/>
                <a:latin typeface="Times New Roman" panose="02020603050405020304" pitchFamily="18" charset="0"/>
                <a:ea typeface="Times New Roman" panose="02020603050405020304" pitchFamily="18" charset="0"/>
              </a:rPr>
              <a:t>probabilities.</a:t>
            </a:r>
            <a:endParaRPr lang="en-IN" sz="2400" dirty="0">
              <a:effectLst/>
              <a:latin typeface="Times New Roman" panose="02020603050405020304" pitchFamily="18" charset="0"/>
              <a:ea typeface="Times New Roman" panose="02020603050405020304" pitchFamily="18" charset="0"/>
            </a:endParaRPr>
          </a:p>
          <a:p>
            <a:pPr marL="742950" marR="368300" lvl="1" indent="-285750" algn="just">
              <a:lnSpc>
                <a:spcPct val="103000"/>
              </a:lnSpc>
              <a:spcBef>
                <a:spcPts val="720"/>
              </a:spcBef>
              <a:spcAft>
                <a:spcPts val="0"/>
              </a:spcAft>
              <a:buFont typeface="Arial" panose="020B0604020202020204" pitchFamily="34" charset="0"/>
              <a:buChar char="•"/>
              <a:tabLst>
                <a:tab pos="868045" algn="l"/>
              </a:tabLst>
            </a:pPr>
            <a:r>
              <a:rPr lang="en-US" dirty="0">
                <a:effectLst/>
                <a:latin typeface="Times New Roman" panose="02020603050405020304" pitchFamily="18" charset="0"/>
                <a:ea typeface="Times New Roman" panose="02020603050405020304" pitchFamily="18" charset="0"/>
              </a:rPr>
              <a:t>The generalized form of Bayesian network that represents</a:t>
            </a:r>
            <a:r>
              <a:rPr lang="en-US" spc="-635" dirty="0">
                <a:effectLst/>
                <a:latin typeface="Times New Roman" panose="02020603050405020304" pitchFamily="18" charset="0"/>
                <a:ea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rPr>
              <a:t>and solve decision problems</a:t>
            </a:r>
            <a:r>
              <a:rPr lang="en-US" spc="5" dirty="0">
                <a:effectLst/>
                <a:latin typeface="Times New Roman" panose="02020603050405020304" pitchFamily="18" charset="0"/>
                <a:ea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rPr>
              <a:t>under uncertain</a:t>
            </a:r>
            <a:r>
              <a:rPr lang="en-US" spc="650" dirty="0">
                <a:effectLst/>
                <a:latin typeface="Times New Roman" panose="02020603050405020304" pitchFamily="18" charset="0"/>
                <a:ea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rPr>
              <a:t>knowledge</a:t>
            </a:r>
            <a:r>
              <a:rPr lang="en-US" spc="5" dirty="0">
                <a:effectLst/>
                <a:latin typeface="Times New Roman" panose="02020603050405020304" pitchFamily="18" charset="0"/>
                <a:ea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rPr>
              <a:t>is</a:t>
            </a:r>
            <a:r>
              <a:rPr lang="en-US" spc="-5" dirty="0">
                <a:effectLst/>
                <a:latin typeface="Times New Roman" panose="02020603050405020304" pitchFamily="18" charset="0"/>
                <a:ea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rPr>
              <a:t>known</a:t>
            </a:r>
            <a:r>
              <a:rPr lang="en-US" spc="-5" dirty="0">
                <a:effectLst/>
                <a:latin typeface="Times New Roman" panose="02020603050405020304" pitchFamily="18" charset="0"/>
                <a:ea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rPr>
              <a:t>as</a:t>
            </a:r>
            <a:r>
              <a:rPr lang="en-US" spc="20" dirty="0">
                <a:effectLst/>
                <a:latin typeface="Times New Roman" panose="02020603050405020304" pitchFamily="18" charset="0"/>
                <a:ea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rPr>
              <a:t>an</a:t>
            </a:r>
            <a:r>
              <a:rPr lang="en-US" spc="-30" dirty="0">
                <a:effectLst/>
                <a:latin typeface="Times New Roman" panose="02020603050405020304" pitchFamily="18" charset="0"/>
                <a:ea typeface="Times New Roman" panose="02020603050405020304" pitchFamily="18" charset="0"/>
              </a:rPr>
              <a:t> </a:t>
            </a:r>
            <a:r>
              <a:rPr lang="en-US" b="1" dirty="0">
                <a:effectLst/>
                <a:latin typeface="Times New Roman" panose="02020603050405020304" pitchFamily="18" charset="0"/>
                <a:ea typeface="Times New Roman" panose="02020603050405020304" pitchFamily="18" charset="0"/>
              </a:rPr>
              <a:t>Influence</a:t>
            </a:r>
            <a:r>
              <a:rPr lang="en-US" b="1" spc="-5" dirty="0">
                <a:effectLst/>
                <a:latin typeface="Times New Roman" panose="02020603050405020304" pitchFamily="18" charset="0"/>
                <a:ea typeface="Times New Roman" panose="02020603050405020304" pitchFamily="18" charset="0"/>
              </a:rPr>
              <a:t> </a:t>
            </a:r>
            <a:r>
              <a:rPr lang="en-US" b="1" dirty="0">
                <a:effectLst/>
                <a:latin typeface="Times New Roman" panose="02020603050405020304" pitchFamily="18" charset="0"/>
                <a:ea typeface="Times New Roman" panose="02020603050405020304" pitchFamily="18" charset="0"/>
              </a:rPr>
              <a:t>diagram</a:t>
            </a:r>
            <a:r>
              <a:rPr lang="en-US" dirty="0">
                <a:effectLst/>
                <a:latin typeface="Times New Roman" panose="02020603050405020304" pitchFamily="18" charset="0"/>
                <a:ea typeface="Times New Roman" panose="02020603050405020304" pitchFamily="18" charset="0"/>
              </a:rPr>
              <a:t>.</a:t>
            </a:r>
            <a:endParaRPr lang="en-IN" dirty="0">
              <a:effectLst/>
              <a:latin typeface="Times New Roman" panose="02020603050405020304" pitchFamily="18" charset="0"/>
              <a:ea typeface="Times New Roman" panose="02020603050405020304" pitchFamily="18" charset="0"/>
            </a:endParaRPr>
          </a:p>
          <a:p>
            <a:pPr marL="742950" marR="358775" lvl="1" indent="-285750" algn="just">
              <a:lnSpc>
                <a:spcPct val="103000"/>
              </a:lnSpc>
              <a:spcBef>
                <a:spcPts val="610"/>
              </a:spcBef>
              <a:spcAft>
                <a:spcPts val="0"/>
              </a:spcAft>
              <a:buFont typeface="Arial" panose="020B0604020202020204" pitchFamily="34" charset="0"/>
              <a:buChar char="•"/>
              <a:tabLst>
                <a:tab pos="868045" algn="l"/>
              </a:tabLst>
            </a:pPr>
            <a:endParaRPr lang="en-IN" dirty="0">
              <a:effectLst/>
              <a:latin typeface="Times New Roman" panose="02020603050405020304" pitchFamily="18" charset="0"/>
              <a:ea typeface="Times New Roman" panose="02020603050405020304" pitchFamily="18" charset="0"/>
            </a:endParaRPr>
          </a:p>
          <a:p>
            <a:endParaRPr lang="en-US" dirty="0"/>
          </a:p>
        </p:txBody>
      </p:sp>
    </p:spTree>
    <p:extLst>
      <p:ext uri="{BB962C8B-B14F-4D97-AF65-F5344CB8AC3E}">
        <p14:creationId xmlns:p14="http://schemas.microsoft.com/office/powerpoint/2010/main" val="190883282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79.jpeg">
            <a:extLst>
              <a:ext uri="{FF2B5EF4-FFF2-40B4-BE49-F238E27FC236}">
                <a16:creationId xmlns:a16="http://schemas.microsoft.com/office/drawing/2014/main" id="{8055D300-E8FB-4130-8016-9D16C4BAAF0E}"/>
              </a:ext>
            </a:extLst>
          </p:cNvPr>
          <p:cNvPicPr>
            <a:picLocks noGrp="1" noChangeAspect="1"/>
          </p:cNvPicPr>
          <p:nvPr>
            <p:ph idx="1"/>
          </p:nvPr>
        </p:nvPicPr>
        <p:blipFill>
          <a:blip r:embed="rId2" cstate="print"/>
          <a:stretch>
            <a:fillRect/>
          </a:stretch>
        </p:blipFill>
        <p:spPr>
          <a:xfrm>
            <a:off x="3543300" y="2230438"/>
            <a:ext cx="4267200" cy="1892300"/>
          </a:xfrm>
          <a:prstGeom prst="rect">
            <a:avLst/>
          </a:prstGeom>
        </p:spPr>
      </p:pic>
      <p:sp>
        <p:nvSpPr>
          <p:cNvPr id="8" name="TextBox 7">
            <a:extLst>
              <a:ext uri="{FF2B5EF4-FFF2-40B4-BE49-F238E27FC236}">
                <a16:creationId xmlns:a16="http://schemas.microsoft.com/office/drawing/2014/main" id="{D9505D97-BE9A-C187-8A5E-84A288749C54}"/>
              </a:ext>
            </a:extLst>
          </p:cNvPr>
          <p:cNvSpPr txBox="1"/>
          <p:nvPr/>
        </p:nvSpPr>
        <p:spPr>
          <a:xfrm>
            <a:off x="516194" y="206477"/>
            <a:ext cx="11488993" cy="1501758"/>
          </a:xfrm>
          <a:prstGeom prst="rect">
            <a:avLst/>
          </a:prstGeom>
          <a:noFill/>
        </p:spPr>
        <p:txBody>
          <a:bodyPr wrap="square">
            <a:spAutoFit/>
          </a:bodyPr>
          <a:lstStyle/>
          <a:p>
            <a:pPr marL="742950" marR="213995" lvl="1" indent="-285750" algn="just">
              <a:lnSpc>
                <a:spcPct val="103000"/>
              </a:lnSpc>
              <a:spcBef>
                <a:spcPts val="785"/>
              </a:spcBef>
              <a:spcAft>
                <a:spcPts val="0"/>
              </a:spcAft>
              <a:buFont typeface="Arial" panose="020B0604020202020204" pitchFamily="34" charset="0"/>
              <a:buChar char="•"/>
              <a:tabLst>
                <a:tab pos="627380" algn="l"/>
              </a:tabLst>
            </a:pPr>
            <a:r>
              <a:rPr lang="en-US" sz="1800" dirty="0">
                <a:effectLst/>
                <a:latin typeface="Times New Roman" panose="02020603050405020304" pitchFamily="18" charset="0"/>
                <a:ea typeface="Times New Roman" panose="02020603050405020304" pitchFamily="18" charset="0"/>
              </a:rPr>
              <a:t>Each </a:t>
            </a:r>
            <a:r>
              <a:rPr lang="en-US" sz="1800" b="1" dirty="0">
                <a:effectLst/>
                <a:latin typeface="Times New Roman" panose="02020603050405020304" pitchFamily="18" charset="0"/>
                <a:ea typeface="Times New Roman" panose="02020603050405020304" pitchFamily="18" charset="0"/>
              </a:rPr>
              <a:t>node </a:t>
            </a:r>
            <a:r>
              <a:rPr lang="en-US" sz="1800" dirty="0">
                <a:effectLst/>
                <a:latin typeface="Times New Roman" panose="02020603050405020304" pitchFamily="18" charset="0"/>
                <a:ea typeface="Times New Roman" panose="02020603050405020304" pitchFamily="18" charset="0"/>
              </a:rPr>
              <a:t>corresponds to the random variables, and</a:t>
            </a:r>
            <a:r>
              <a:rPr lang="en-US" sz="1800" spc="600" dirty="0">
                <a:effectLst/>
                <a:latin typeface="Times New Roman" panose="02020603050405020304" pitchFamily="18" charset="0"/>
                <a:ea typeface="Times New Roman" panose="02020603050405020304" pitchFamily="18" charset="0"/>
              </a:rPr>
              <a:t> </a:t>
            </a:r>
            <a:r>
              <a:rPr lang="en-US" sz="1800" dirty="0">
                <a:effectLst/>
                <a:latin typeface="Times New Roman" panose="02020603050405020304" pitchFamily="18" charset="0"/>
                <a:ea typeface="Times New Roman" panose="02020603050405020304" pitchFamily="18" charset="0"/>
              </a:rPr>
              <a:t>a variable</a:t>
            </a:r>
            <a:r>
              <a:rPr lang="en-US" sz="1800" spc="5" dirty="0">
                <a:effectLst/>
                <a:latin typeface="Times New Roman" panose="02020603050405020304" pitchFamily="18" charset="0"/>
                <a:ea typeface="Times New Roman" panose="02020603050405020304" pitchFamily="18" charset="0"/>
              </a:rPr>
              <a:t> </a:t>
            </a:r>
            <a:r>
              <a:rPr lang="en-US" sz="1800" dirty="0">
                <a:effectLst/>
                <a:latin typeface="Times New Roman" panose="02020603050405020304" pitchFamily="18" charset="0"/>
                <a:ea typeface="Times New Roman" panose="02020603050405020304" pitchFamily="18" charset="0"/>
              </a:rPr>
              <a:t>can</a:t>
            </a:r>
            <a:r>
              <a:rPr lang="en-US" sz="1800" spc="-5" dirty="0">
                <a:effectLst/>
                <a:latin typeface="Times New Roman" panose="02020603050405020304" pitchFamily="18" charset="0"/>
                <a:ea typeface="Times New Roman" panose="02020603050405020304" pitchFamily="18" charset="0"/>
              </a:rPr>
              <a:t> </a:t>
            </a:r>
            <a:r>
              <a:rPr lang="en-US" sz="1800" dirty="0">
                <a:effectLst/>
                <a:latin typeface="Times New Roman" panose="02020603050405020304" pitchFamily="18" charset="0"/>
                <a:ea typeface="Times New Roman" panose="02020603050405020304" pitchFamily="18" charset="0"/>
              </a:rPr>
              <a:t>be</a:t>
            </a:r>
            <a:r>
              <a:rPr lang="en-US" sz="1800" spc="-35" dirty="0">
                <a:effectLst/>
                <a:latin typeface="Times New Roman" panose="02020603050405020304" pitchFamily="18" charset="0"/>
                <a:ea typeface="Times New Roman" panose="02020603050405020304" pitchFamily="18" charset="0"/>
              </a:rPr>
              <a:t> </a:t>
            </a:r>
            <a:r>
              <a:rPr lang="en-US" sz="1800" b="1" dirty="0">
                <a:effectLst/>
                <a:latin typeface="Times New Roman" panose="02020603050405020304" pitchFamily="18" charset="0"/>
                <a:ea typeface="Times New Roman" panose="02020603050405020304" pitchFamily="18" charset="0"/>
              </a:rPr>
              <a:t>continuous</a:t>
            </a:r>
            <a:r>
              <a:rPr lang="en-US" sz="1800" b="1" spc="-15" dirty="0">
                <a:effectLst/>
                <a:latin typeface="Times New Roman" panose="02020603050405020304" pitchFamily="18" charset="0"/>
                <a:ea typeface="Times New Roman" panose="02020603050405020304" pitchFamily="18" charset="0"/>
              </a:rPr>
              <a:t> </a:t>
            </a:r>
            <a:r>
              <a:rPr lang="en-US" sz="1800" dirty="0">
                <a:effectLst/>
                <a:latin typeface="Times New Roman" panose="02020603050405020304" pitchFamily="18" charset="0"/>
                <a:ea typeface="Times New Roman" panose="02020603050405020304" pitchFamily="18" charset="0"/>
              </a:rPr>
              <a:t>or</a:t>
            </a:r>
            <a:r>
              <a:rPr lang="en-US" sz="1800" spc="-10" dirty="0">
                <a:effectLst/>
                <a:latin typeface="Times New Roman" panose="02020603050405020304" pitchFamily="18" charset="0"/>
                <a:ea typeface="Times New Roman" panose="02020603050405020304" pitchFamily="18" charset="0"/>
              </a:rPr>
              <a:t> </a:t>
            </a:r>
            <a:r>
              <a:rPr lang="en-US" sz="1800" b="1" dirty="0">
                <a:effectLst/>
                <a:latin typeface="Times New Roman" panose="02020603050405020304" pitchFamily="18" charset="0"/>
                <a:ea typeface="Times New Roman" panose="02020603050405020304" pitchFamily="18" charset="0"/>
              </a:rPr>
              <a:t>discrete</a:t>
            </a:r>
            <a:r>
              <a:rPr lang="en-US" sz="1800" dirty="0">
                <a:effectLst/>
                <a:latin typeface="Times New Roman" panose="02020603050405020304" pitchFamily="18" charset="0"/>
                <a:ea typeface="Times New Roman" panose="02020603050405020304" pitchFamily="18" charset="0"/>
              </a:rPr>
              <a:t>.</a:t>
            </a:r>
            <a:endParaRPr lang="en-IN" sz="1400" dirty="0">
              <a:effectLst/>
              <a:latin typeface="Times New Roman" panose="02020603050405020304" pitchFamily="18" charset="0"/>
              <a:ea typeface="Times New Roman" panose="02020603050405020304" pitchFamily="18" charset="0"/>
            </a:endParaRPr>
          </a:p>
          <a:p>
            <a:pPr marL="742950" marR="212725" lvl="1" indent="-285750" algn="just">
              <a:lnSpc>
                <a:spcPct val="103000"/>
              </a:lnSpc>
              <a:spcBef>
                <a:spcPts val="20"/>
              </a:spcBef>
              <a:spcAft>
                <a:spcPts val="0"/>
              </a:spcAft>
              <a:buFont typeface="Arial" panose="020B0604020202020204" pitchFamily="34" charset="0"/>
              <a:buChar char="•"/>
              <a:tabLst>
                <a:tab pos="627380" algn="l"/>
              </a:tabLst>
            </a:pPr>
            <a:r>
              <a:rPr lang="en-US" sz="1800" b="1" dirty="0">
                <a:effectLst/>
                <a:latin typeface="Times New Roman" panose="02020603050405020304" pitchFamily="18" charset="0"/>
                <a:ea typeface="Times New Roman" panose="02020603050405020304" pitchFamily="18" charset="0"/>
              </a:rPr>
              <a:t>Arc</a:t>
            </a:r>
            <a:r>
              <a:rPr lang="en-US" sz="1800" b="1" spc="5" dirty="0">
                <a:effectLst/>
                <a:latin typeface="Times New Roman" panose="02020603050405020304" pitchFamily="18" charset="0"/>
                <a:ea typeface="Times New Roman" panose="02020603050405020304" pitchFamily="18" charset="0"/>
              </a:rPr>
              <a:t> </a:t>
            </a:r>
            <a:r>
              <a:rPr lang="en-US" sz="1800" b="1" dirty="0">
                <a:effectLst/>
                <a:latin typeface="Times New Roman" panose="02020603050405020304" pitchFamily="18" charset="0"/>
                <a:ea typeface="Times New Roman" panose="02020603050405020304" pitchFamily="18" charset="0"/>
              </a:rPr>
              <a:t>or</a:t>
            </a:r>
            <a:r>
              <a:rPr lang="en-US" sz="1800" b="1" spc="5" dirty="0">
                <a:effectLst/>
                <a:latin typeface="Times New Roman" panose="02020603050405020304" pitchFamily="18" charset="0"/>
                <a:ea typeface="Times New Roman" panose="02020603050405020304" pitchFamily="18" charset="0"/>
              </a:rPr>
              <a:t> </a:t>
            </a:r>
            <a:r>
              <a:rPr lang="en-US" sz="1800" b="1" dirty="0">
                <a:effectLst/>
                <a:latin typeface="Times New Roman" panose="02020603050405020304" pitchFamily="18" charset="0"/>
                <a:ea typeface="Times New Roman" panose="02020603050405020304" pitchFamily="18" charset="0"/>
              </a:rPr>
              <a:t>directed</a:t>
            </a:r>
            <a:r>
              <a:rPr lang="en-US" sz="1800" b="1" spc="5" dirty="0">
                <a:effectLst/>
                <a:latin typeface="Times New Roman" panose="02020603050405020304" pitchFamily="18" charset="0"/>
                <a:ea typeface="Times New Roman" panose="02020603050405020304" pitchFamily="18" charset="0"/>
              </a:rPr>
              <a:t> </a:t>
            </a:r>
            <a:r>
              <a:rPr lang="en-US" sz="1800" b="1" dirty="0">
                <a:effectLst/>
                <a:latin typeface="Times New Roman" panose="02020603050405020304" pitchFamily="18" charset="0"/>
                <a:ea typeface="Times New Roman" panose="02020603050405020304" pitchFamily="18" charset="0"/>
              </a:rPr>
              <a:t>arrows</a:t>
            </a:r>
            <a:r>
              <a:rPr lang="en-US" sz="1800" b="1" spc="5" dirty="0">
                <a:effectLst/>
                <a:latin typeface="Times New Roman" panose="02020603050405020304" pitchFamily="18" charset="0"/>
                <a:ea typeface="Times New Roman" panose="02020603050405020304" pitchFamily="18" charset="0"/>
              </a:rPr>
              <a:t> </a:t>
            </a:r>
            <a:r>
              <a:rPr lang="en-US" sz="1800" dirty="0">
                <a:effectLst/>
                <a:latin typeface="Times New Roman" panose="02020603050405020304" pitchFamily="18" charset="0"/>
                <a:ea typeface="Times New Roman" panose="02020603050405020304" pitchFamily="18" charset="0"/>
              </a:rPr>
              <a:t>represent</a:t>
            </a:r>
            <a:r>
              <a:rPr lang="en-US" sz="1800" spc="5" dirty="0">
                <a:effectLst/>
                <a:latin typeface="Times New Roman" panose="02020603050405020304" pitchFamily="18" charset="0"/>
                <a:ea typeface="Times New Roman" panose="02020603050405020304" pitchFamily="18" charset="0"/>
              </a:rPr>
              <a:t> </a:t>
            </a:r>
            <a:r>
              <a:rPr lang="en-US" sz="1800" dirty="0">
                <a:effectLst/>
                <a:latin typeface="Times New Roman" panose="02020603050405020304" pitchFamily="18" charset="0"/>
                <a:ea typeface="Times New Roman" panose="02020603050405020304" pitchFamily="18" charset="0"/>
              </a:rPr>
              <a:t>the</a:t>
            </a:r>
            <a:r>
              <a:rPr lang="en-US" sz="1800" spc="5" dirty="0">
                <a:effectLst/>
                <a:latin typeface="Times New Roman" panose="02020603050405020304" pitchFamily="18" charset="0"/>
                <a:ea typeface="Times New Roman" panose="02020603050405020304" pitchFamily="18" charset="0"/>
              </a:rPr>
              <a:t> </a:t>
            </a:r>
            <a:r>
              <a:rPr lang="en-US" sz="1800" dirty="0">
                <a:effectLst/>
                <a:latin typeface="Times New Roman" panose="02020603050405020304" pitchFamily="18" charset="0"/>
                <a:ea typeface="Times New Roman" panose="02020603050405020304" pitchFamily="18" charset="0"/>
              </a:rPr>
              <a:t>causal</a:t>
            </a:r>
            <a:r>
              <a:rPr lang="en-US" sz="1800" spc="5" dirty="0">
                <a:effectLst/>
                <a:latin typeface="Times New Roman" panose="02020603050405020304" pitchFamily="18" charset="0"/>
                <a:ea typeface="Times New Roman" panose="02020603050405020304" pitchFamily="18" charset="0"/>
              </a:rPr>
              <a:t> </a:t>
            </a:r>
            <a:r>
              <a:rPr lang="en-US" sz="1800" dirty="0">
                <a:effectLst/>
                <a:latin typeface="Times New Roman" panose="02020603050405020304" pitchFamily="18" charset="0"/>
                <a:ea typeface="Times New Roman" panose="02020603050405020304" pitchFamily="18" charset="0"/>
              </a:rPr>
              <a:t>relationship</a:t>
            </a:r>
            <a:r>
              <a:rPr lang="en-US" sz="1800" spc="5" dirty="0">
                <a:effectLst/>
                <a:latin typeface="Times New Roman" panose="02020603050405020304" pitchFamily="18" charset="0"/>
                <a:ea typeface="Times New Roman" panose="02020603050405020304" pitchFamily="18" charset="0"/>
              </a:rPr>
              <a:t> </a:t>
            </a:r>
            <a:r>
              <a:rPr lang="en-US" sz="1800" dirty="0">
                <a:effectLst/>
                <a:latin typeface="Times New Roman" panose="02020603050405020304" pitchFamily="18" charset="0"/>
                <a:ea typeface="Times New Roman" panose="02020603050405020304" pitchFamily="18" charset="0"/>
              </a:rPr>
              <a:t>or</a:t>
            </a:r>
            <a:r>
              <a:rPr lang="en-US" sz="1800" spc="5" dirty="0">
                <a:effectLst/>
                <a:latin typeface="Times New Roman" panose="02020603050405020304" pitchFamily="18" charset="0"/>
                <a:ea typeface="Times New Roman" panose="02020603050405020304" pitchFamily="18" charset="0"/>
              </a:rPr>
              <a:t> </a:t>
            </a:r>
            <a:r>
              <a:rPr lang="en-US" sz="1800" dirty="0">
                <a:effectLst/>
                <a:latin typeface="Times New Roman" panose="02020603050405020304" pitchFamily="18" charset="0"/>
                <a:ea typeface="Times New Roman" panose="02020603050405020304" pitchFamily="18" charset="0"/>
              </a:rPr>
              <a:t>conditional probabilities between random variables. These directed</a:t>
            </a:r>
            <a:r>
              <a:rPr lang="en-US" sz="1800" spc="-585" dirty="0">
                <a:effectLst/>
                <a:latin typeface="Times New Roman" panose="02020603050405020304" pitchFamily="18" charset="0"/>
                <a:ea typeface="Times New Roman" panose="02020603050405020304" pitchFamily="18" charset="0"/>
              </a:rPr>
              <a:t> </a:t>
            </a:r>
            <a:r>
              <a:rPr lang="en-US" sz="1800" dirty="0">
                <a:effectLst/>
                <a:latin typeface="Times New Roman" panose="02020603050405020304" pitchFamily="18" charset="0"/>
                <a:ea typeface="Times New Roman" panose="02020603050405020304" pitchFamily="18" charset="0"/>
              </a:rPr>
              <a:t>links</a:t>
            </a:r>
            <a:r>
              <a:rPr lang="en-US" sz="1800" spc="600" dirty="0">
                <a:effectLst/>
                <a:latin typeface="Times New Roman" panose="02020603050405020304" pitchFamily="18" charset="0"/>
                <a:ea typeface="Times New Roman" panose="02020603050405020304" pitchFamily="18" charset="0"/>
              </a:rPr>
              <a:t> </a:t>
            </a:r>
            <a:r>
              <a:rPr lang="en-US" sz="1800" dirty="0">
                <a:effectLst/>
                <a:latin typeface="Times New Roman" panose="02020603050405020304" pitchFamily="18" charset="0"/>
                <a:ea typeface="Times New Roman" panose="02020603050405020304" pitchFamily="18" charset="0"/>
              </a:rPr>
              <a:t>or</a:t>
            </a:r>
            <a:r>
              <a:rPr lang="en-US" sz="1800" spc="600" dirty="0">
                <a:effectLst/>
                <a:latin typeface="Times New Roman" panose="02020603050405020304" pitchFamily="18" charset="0"/>
                <a:ea typeface="Times New Roman" panose="02020603050405020304" pitchFamily="18" charset="0"/>
              </a:rPr>
              <a:t> </a:t>
            </a:r>
            <a:r>
              <a:rPr lang="en-US" sz="1800" dirty="0">
                <a:effectLst/>
                <a:latin typeface="Times New Roman" panose="02020603050405020304" pitchFamily="18" charset="0"/>
                <a:ea typeface="Times New Roman" panose="02020603050405020304" pitchFamily="18" charset="0"/>
              </a:rPr>
              <a:t>arrows</a:t>
            </a:r>
            <a:r>
              <a:rPr lang="en-US" sz="1800" spc="600" dirty="0">
                <a:effectLst/>
                <a:latin typeface="Times New Roman" panose="02020603050405020304" pitchFamily="18" charset="0"/>
                <a:ea typeface="Times New Roman" panose="02020603050405020304" pitchFamily="18" charset="0"/>
              </a:rPr>
              <a:t> </a:t>
            </a:r>
            <a:r>
              <a:rPr lang="en-US" sz="1800" dirty="0">
                <a:effectLst/>
                <a:latin typeface="Times New Roman" panose="02020603050405020304" pitchFamily="18" charset="0"/>
                <a:ea typeface="Times New Roman" panose="02020603050405020304" pitchFamily="18" charset="0"/>
              </a:rPr>
              <a:t>connect</a:t>
            </a:r>
            <a:r>
              <a:rPr lang="en-US" sz="1800" spc="600" dirty="0">
                <a:effectLst/>
                <a:latin typeface="Times New Roman" panose="02020603050405020304" pitchFamily="18" charset="0"/>
                <a:ea typeface="Times New Roman" panose="02020603050405020304" pitchFamily="18" charset="0"/>
              </a:rPr>
              <a:t> </a:t>
            </a:r>
            <a:r>
              <a:rPr lang="en-US" sz="1800" dirty="0">
                <a:effectLst/>
                <a:latin typeface="Times New Roman" panose="02020603050405020304" pitchFamily="18" charset="0"/>
                <a:ea typeface="Times New Roman" panose="02020603050405020304" pitchFamily="18" charset="0"/>
              </a:rPr>
              <a:t>the</a:t>
            </a:r>
            <a:r>
              <a:rPr lang="en-US" sz="1800" spc="600" dirty="0">
                <a:effectLst/>
                <a:latin typeface="Times New Roman" panose="02020603050405020304" pitchFamily="18" charset="0"/>
                <a:ea typeface="Times New Roman" panose="02020603050405020304" pitchFamily="18" charset="0"/>
              </a:rPr>
              <a:t> </a:t>
            </a:r>
            <a:r>
              <a:rPr lang="en-US" sz="1800" dirty="0">
                <a:effectLst/>
                <a:latin typeface="Times New Roman" panose="02020603050405020304" pitchFamily="18" charset="0"/>
                <a:ea typeface="Times New Roman" panose="02020603050405020304" pitchFamily="18" charset="0"/>
              </a:rPr>
              <a:t>pair</a:t>
            </a:r>
            <a:r>
              <a:rPr lang="en-US" sz="1800" spc="600" dirty="0">
                <a:effectLst/>
                <a:latin typeface="Times New Roman" panose="02020603050405020304" pitchFamily="18" charset="0"/>
                <a:ea typeface="Times New Roman" panose="02020603050405020304" pitchFamily="18" charset="0"/>
              </a:rPr>
              <a:t> </a:t>
            </a:r>
            <a:r>
              <a:rPr lang="en-US" sz="1800" dirty="0">
                <a:effectLst/>
                <a:latin typeface="Times New Roman" panose="02020603050405020304" pitchFamily="18" charset="0"/>
                <a:ea typeface="Times New Roman" panose="02020603050405020304" pitchFamily="18" charset="0"/>
              </a:rPr>
              <a:t>of  </a:t>
            </a:r>
            <a:r>
              <a:rPr lang="en-US" sz="1800" spc="5" dirty="0">
                <a:effectLst/>
                <a:latin typeface="Times New Roman" panose="02020603050405020304" pitchFamily="18" charset="0"/>
                <a:ea typeface="Times New Roman" panose="02020603050405020304" pitchFamily="18" charset="0"/>
              </a:rPr>
              <a:t> </a:t>
            </a:r>
            <a:r>
              <a:rPr lang="en-US" sz="1800" dirty="0">
                <a:effectLst/>
                <a:latin typeface="Times New Roman" panose="02020603050405020304" pitchFamily="18" charset="0"/>
                <a:ea typeface="Times New Roman" panose="02020603050405020304" pitchFamily="18" charset="0"/>
              </a:rPr>
              <a:t>nodes</a:t>
            </a:r>
            <a:r>
              <a:rPr lang="en-US" sz="1800" spc="600" dirty="0">
                <a:effectLst/>
                <a:latin typeface="Times New Roman" panose="02020603050405020304" pitchFamily="18" charset="0"/>
                <a:ea typeface="Times New Roman" panose="02020603050405020304" pitchFamily="18" charset="0"/>
              </a:rPr>
              <a:t> </a:t>
            </a:r>
            <a:r>
              <a:rPr lang="en-US" sz="1800" dirty="0">
                <a:effectLst/>
                <a:latin typeface="Times New Roman" panose="02020603050405020304" pitchFamily="18" charset="0"/>
                <a:ea typeface="Times New Roman" panose="02020603050405020304" pitchFamily="18" charset="0"/>
              </a:rPr>
              <a:t>in</a:t>
            </a:r>
            <a:r>
              <a:rPr lang="en-US" sz="1800" spc="600" dirty="0">
                <a:effectLst/>
                <a:latin typeface="Times New Roman" panose="02020603050405020304" pitchFamily="18" charset="0"/>
                <a:ea typeface="Times New Roman" panose="02020603050405020304" pitchFamily="18" charset="0"/>
              </a:rPr>
              <a:t> </a:t>
            </a:r>
            <a:r>
              <a:rPr lang="en-US" sz="1800" dirty="0">
                <a:effectLst/>
                <a:latin typeface="Times New Roman" panose="02020603050405020304" pitchFamily="18" charset="0"/>
                <a:ea typeface="Times New Roman" panose="02020603050405020304" pitchFamily="18" charset="0"/>
              </a:rPr>
              <a:t>the  </a:t>
            </a:r>
            <a:r>
              <a:rPr lang="en-US" sz="1800" spc="5" dirty="0">
                <a:effectLst/>
                <a:latin typeface="Times New Roman" panose="02020603050405020304" pitchFamily="18" charset="0"/>
                <a:ea typeface="Times New Roman" panose="02020603050405020304" pitchFamily="18" charset="0"/>
              </a:rPr>
              <a:t> </a:t>
            </a:r>
            <a:r>
              <a:rPr lang="en-US" sz="1800" dirty="0">
                <a:effectLst/>
                <a:latin typeface="Times New Roman" panose="02020603050405020304" pitchFamily="18" charset="0"/>
                <a:ea typeface="Times New Roman" panose="02020603050405020304" pitchFamily="18" charset="0"/>
              </a:rPr>
              <a:t>graph.</a:t>
            </a:r>
            <a:r>
              <a:rPr lang="en-US" sz="1800" spc="5" dirty="0">
                <a:effectLst/>
                <a:latin typeface="Times New Roman" panose="02020603050405020304" pitchFamily="18" charset="0"/>
                <a:ea typeface="Times New Roman" panose="02020603050405020304" pitchFamily="18" charset="0"/>
              </a:rPr>
              <a:t> </a:t>
            </a:r>
            <a:r>
              <a:rPr lang="en-US" sz="1800" dirty="0">
                <a:effectLst/>
                <a:latin typeface="Times New Roman" panose="02020603050405020304" pitchFamily="18" charset="0"/>
                <a:ea typeface="Times New Roman" panose="02020603050405020304" pitchFamily="18" charset="0"/>
              </a:rPr>
              <a:t>These links represent that one node directly influence the other</a:t>
            </a:r>
            <a:r>
              <a:rPr lang="en-US" sz="1800" spc="5" dirty="0">
                <a:effectLst/>
                <a:latin typeface="Times New Roman" panose="02020603050405020304" pitchFamily="18" charset="0"/>
                <a:ea typeface="Times New Roman" panose="02020603050405020304" pitchFamily="18" charset="0"/>
              </a:rPr>
              <a:t> </a:t>
            </a:r>
            <a:r>
              <a:rPr lang="en-US" sz="1800" dirty="0">
                <a:effectLst/>
                <a:latin typeface="Times New Roman" panose="02020603050405020304" pitchFamily="18" charset="0"/>
                <a:ea typeface="Times New Roman" panose="02020603050405020304" pitchFamily="18" charset="0"/>
              </a:rPr>
              <a:t>node, and if there is no directed link that means that nodes are</a:t>
            </a:r>
            <a:r>
              <a:rPr lang="en-US" sz="1800" spc="5" dirty="0">
                <a:effectLst/>
                <a:latin typeface="Times New Roman" panose="02020603050405020304" pitchFamily="18" charset="0"/>
                <a:ea typeface="Times New Roman" panose="02020603050405020304" pitchFamily="18" charset="0"/>
              </a:rPr>
              <a:t> </a:t>
            </a:r>
            <a:r>
              <a:rPr lang="en-US" sz="1800" dirty="0">
                <a:effectLst/>
                <a:latin typeface="Times New Roman" panose="02020603050405020304" pitchFamily="18" charset="0"/>
                <a:ea typeface="Times New Roman" panose="02020603050405020304" pitchFamily="18" charset="0"/>
              </a:rPr>
              <a:t>independent</a:t>
            </a:r>
            <a:r>
              <a:rPr lang="en-US" sz="1800" spc="-45" dirty="0">
                <a:effectLst/>
                <a:latin typeface="Times New Roman" panose="02020603050405020304" pitchFamily="18" charset="0"/>
                <a:ea typeface="Times New Roman" panose="02020603050405020304" pitchFamily="18" charset="0"/>
              </a:rPr>
              <a:t> </a:t>
            </a:r>
            <a:r>
              <a:rPr lang="en-US" sz="1800" dirty="0">
                <a:effectLst/>
                <a:latin typeface="Times New Roman" panose="02020603050405020304" pitchFamily="18" charset="0"/>
                <a:ea typeface="Times New Roman" panose="02020603050405020304" pitchFamily="18" charset="0"/>
              </a:rPr>
              <a:t>with</a:t>
            </a:r>
            <a:r>
              <a:rPr lang="en-US" sz="1800" spc="-20" dirty="0">
                <a:effectLst/>
                <a:latin typeface="Times New Roman" panose="02020603050405020304" pitchFamily="18" charset="0"/>
                <a:ea typeface="Times New Roman" panose="02020603050405020304" pitchFamily="18" charset="0"/>
              </a:rPr>
              <a:t> </a:t>
            </a:r>
            <a:r>
              <a:rPr lang="en-US" sz="1800" dirty="0">
                <a:effectLst/>
                <a:latin typeface="Times New Roman" panose="02020603050405020304" pitchFamily="18" charset="0"/>
                <a:ea typeface="Times New Roman" panose="02020603050405020304" pitchFamily="18" charset="0"/>
              </a:rPr>
              <a:t>each</a:t>
            </a:r>
            <a:r>
              <a:rPr lang="en-US" sz="1800" spc="-30" dirty="0">
                <a:effectLst/>
                <a:latin typeface="Times New Roman" panose="02020603050405020304" pitchFamily="18" charset="0"/>
                <a:ea typeface="Times New Roman" panose="02020603050405020304" pitchFamily="18" charset="0"/>
              </a:rPr>
              <a:t> </a:t>
            </a:r>
            <a:r>
              <a:rPr lang="en-US" sz="1800" dirty="0">
                <a:effectLst/>
                <a:latin typeface="Times New Roman" panose="02020603050405020304" pitchFamily="18" charset="0"/>
                <a:ea typeface="Times New Roman" panose="02020603050405020304" pitchFamily="18" charset="0"/>
              </a:rPr>
              <a:t>other</a:t>
            </a:r>
            <a:endParaRPr lang="en-IN" sz="1400" dirty="0">
              <a:effectLst/>
              <a:latin typeface="Times New Roman" panose="02020603050405020304" pitchFamily="18" charset="0"/>
              <a:ea typeface="Times New Roman" panose="02020603050405020304" pitchFamily="18" charset="0"/>
            </a:endParaRPr>
          </a:p>
        </p:txBody>
      </p:sp>
      <p:sp>
        <p:nvSpPr>
          <p:cNvPr id="10" name="TextBox 9">
            <a:extLst>
              <a:ext uri="{FF2B5EF4-FFF2-40B4-BE49-F238E27FC236}">
                <a16:creationId xmlns:a16="http://schemas.microsoft.com/office/drawing/2014/main" id="{E19C8B8D-D8AB-057E-EA40-9B7A9F398F29}"/>
              </a:ext>
            </a:extLst>
          </p:cNvPr>
          <p:cNvSpPr txBox="1"/>
          <p:nvPr/>
        </p:nvSpPr>
        <p:spPr>
          <a:xfrm>
            <a:off x="958644" y="4122738"/>
            <a:ext cx="11233355" cy="2022413"/>
          </a:xfrm>
          <a:prstGeom prst="rect">
            <a:avLst/>
          </a:prstGeom>
          <a:noFill/>
        </p:spPr>
        <p:txBody>
          <a:bodyPr wrap="square">
            <a:spAutoFit/>
          </a:bodyPr>
          <a:lstStyle/>
          <a:p>
            <a:pPr marL="742950" marR="367030" lvl="1" indent="-285750" algn="just">
              <a:lnSpc>
                <a:spcPct val="103000"/>
              </a:lnSpc>
              <a:spcBef>
                <a:spcPts val="260"/>
              </a:spcBef>
              <a:spcAft>
                <a:spcPts val="0"/>
              </a:spcAft>
              <a:buFont typeface="Arial" panose="020B0604020202020204" pitchFamily="34" charset="0"/>
              <a:buChar char="•"/>
              <a:tabLst>
                <a:tab pos="868045" algn="l"/>
              </a:tabLst>
            </a:pPr>
            <a:r>
              <a:rPr lang="en-US" sz="1800" dirty="0">
                <a:effectLst/>
                <a:latin typeface="Times New Roman" panose="02020603050405020304" pitchFamily="18" charset="0"/>
                <a:ea typeface="Times New Roman" panose="02020603050405020304" pitchFamily="18" charset="0"/>
              </a:rPr>
              <a:t>In</a:t>
            </a:r>
            <a:r>
              <a:rPr lang="en-US" sz="1800" spc="5" dirty="0">
                <a:effectLst/>
                <a:latin typeface="Times New Roman" panose="02020603050405020304" pitchFamily="18" charset="0"/>
                <a:ea typeface="Times New Roman" panose="02020603050405020304" pitchFamily="18" charset="0"/>
              </a:rPr>
              <a:t> </a:t>
            </a:r>
            <a:r>
              <a:rPr lang="en-US" sz="1800" dirty="0">
                <a:effectLst/>
                <a:latin typeface="Times New Roman" panose="02020603050405020304" pitchFamily="18" charset="0"/>
                <a:ea typeface="Times New Roman" panose="02020603050405020304" pitchFamily="18" charset="0"/>
              </a:rPr>
              <a:t>the</a:t>
            </a:r>
            <a:r>
              <a:rPr lang="en-US" sz="1800" spc="5" dirty="0">
                <a:effectLst/>
                <a:latin typeface="Times New Roman" panose="02020603050405020304" pitchFamily="18" charset="0"/>
                <a:ea typeface="Times New Roman" panose="02020603050405020304" pitchFamily="18" charset="0"/>
              </a:rPr>
              <a:t> </a:t>
            </a:r>
            <a:r>
              <a:rPr lang="en-US" sz="1800" dirty="0">
                <a:effectLst/>
                <a:latin typeface="Times New Roman" panose="02020603050405020304" pitchFamily="18" charset="0"/>
                <a:ea typeface="Times New Roman" panose="02020603050405020304" pitchFamily="18" charset="0"/>
              </a:rPr>
              <a:t>above</a:t>
            </a:r>
            <a:r>
              <a:rPr lang="en-US" sz="1800" spc="5" dirty="0">
                <a:effectLst/>
                <a:latin typeface="Times New Roman" panose="02020603050405020304" pitchFamily="18" charset="0"/>
                <a:ea typeface="Times New Roman" panose="02020603050405020304" pitchFamily="18" charset="0"/>
              </a:rPr>
              <a:t> </a:t>
            </a:r>
            <a:r>
              <a:rPr lang="en-US" sz="1800" dirty="0">
                <a:effectLst/>
                <a:latin typeface="Times New Roman" panose="02020603050405020304" pitchFamily="18" charset="0"/>
                <a:ea typeface="Times New Roman" panose="02020603050405020304" pitchFamily="18" charset="0"/>
              </a:rPr>
              <a:t>diagram,</a:t>
            </a:r>
            <a:r>
              <a:rPr lang="en-US" sz="1800" spc="5" dirty="0">
                <a:effectLst/>
                <a:latin typeface="Times New Roman" panose="02020603050405020304" pitchFamily="18" charset="0"/>
                <a:ea typeface="Times New Roman" panose="02020603050405020304" pitchFamily="18" charset="0"/>
              </a:rPr>
              <a:t> </a:t>
            </a:r>
            <a:r>
              <a:rPr lang="en-US" sz="1800" dirty="0">
                <a:effectLst/>
                <a:latin typeface="Times New Roman" panose="02020603050405020304" pitchFamily="18" charset="0"/>
                <a:ea typeface="Times New Roman" panose="02020603050405020304" pitchFamily="18" charset="0"/>
              </a:rPr>
              <a:t>A,</a:t>
            </a:r>
            <a:r>
              <a:rPr lang="en-US" sz="1800" spc="5" dirty="0">
                <a:effectLst/>
                <a:latin typeface="Times New Roman" panose="02020603050405020304" pitchFamily="18" charset="0"/>
                <a:ea typeface="Times New Roman" panose="02020603050405020304" pitchFamily="18" charset="0"/>
              </a:rPr>
              <a:t> </a:t>
            </a:r>
            <a:r>
              <a:rPr lang="en-US" sz="1800" dirty="0">
                <a:effectLst/>
                <a:latin typeface="Times New Roman" panose="02020603050405020304" pitchFamily="18" charset="0"/>
                <a:ea typeface="Times New Roman" panose="02020603050405020304" pitchFamily="18" charset="0"/>
              </a:rPr>
              <a:t>B,</a:t>
            </a:r>
            <a:r>
              <a:rPr lang="en-US" sz="1800" spc="5" dirty="0">
                <a:effectLst/>
                <a:latin typeface="Times New Roman" panose="02020603050405020304" pitchFamily="18" charset="0"/>
                <a:ea typeface="Times New Roman" panose="02020603050405020304" pitchFamily="18" charset="0"/>
              </a:rPr>
              <a:t> </a:t>
            </a:r>
            <a:r>
              <a:rPr lang="en-US" sz="1800" dirty="0">
                <a:effectLst/>
                <a:latin typeface="Times New Roman" panose="02020603050405020304" pitchFamily="18" charset="0"/>
                <a:ea typeface="Times New Roman" panose="02020603050405020304" pitchFamily="18" charset="0"/>
              </a:rPr>
              <a:t>C,</a:t>
            </a:r>
            <a:r>
              <a:rPr lang="en-US" sz="1800" spc="5" dirty="0">
                <a:effectLst/>
                <a:latin typeface="Times New Roman" panose="02020603050405020304" pitchFamily="18" charset="0"/>
                <a:ea typeface="Times New Roman" panose="02020603050405020304" pitchFamily="18" charset="0"/>
              </a:rPr>
              <a:t> </a:t>
            </a:r>
            <a:r>
              <a:rPr lang="en-US" sz="1800" dirty="0">
                <a:effectLst/>
                <a:latin typeface="Times New Roman" panose="02020603050405020304" pitchFamily="18" charset="0"/>
                <a:ea typeface="Times New Roman" panose="02020603050405020304" pitchFamily="18" charset="0"/>
              </a:rPr>
              <a:t>and</a:t>
            </a:r>
            <a:r>
              <a:rPr lang="en-US" sz="1800" spc="5" dirty="0">
                <a:effectLst/>
                <a:latin typeface="Times New Roman" panose="02020603050405020304" pitchFamily="18" charset="0"/>
                <a:ea typeface="Times New Roman" panose="02020603050405020304" pitchFamily="18" charset="0"/>
              </a:rPr>
              <a:t> </a:t>
            </a:r>
            <a:r>
              <a:rPr lang="en-US" sz="1800" dirty="0">
                <a:effectLst/>
                <a:latin typeface="Times New Roman" panose="02020603050405020304" pitchFamily="18" charset="0"/>
                <a:ea typeface="Times New Roman" panose="02020603050405020304" pitchFamily="18" charset="0"/>
              </a:rPr>
              <a:t>D</a:t>
            </a:r>
            <a:r>
              <a:rPr lang="en-US" sz="1800" spc="5" dirty="0">
                <a:effectLst/>
                <a:latin typeface="Times New Roman" panose="02020603050405020304" pitchFamily="18" charset="0"/>
                <a:ea typeface="Times New Roman" panose="02020603050405020304" pitchFamily="18" charset="0"/>
              </a:rPr>
              <a:t> </a:t>
            </a:r>
            <a:r>
              <a:rPr lang="en-US" sz="1800" dirty="0">
                <a:effectLst/>
                <a:latin typeface="Times New Roman" panose="02020603050405020304" pitchFamily="18" charset="0"/>
                <a:ea typeface="Times New Roman" panose="02020603050405020304" pitchFamily="18" charset="0"/>
              </a:rPr>
              <a:t>are</a:t>
            </a:r>
            <a:r>
              <a:rPr lang="en-US" sz="1800" spc="650" dirty="0">
                <a:effectLst/>
                <a:latin typeface="Times New Roman" panose="02020603050405020304" pitchFamily="18" charset="0"/>
                <a:ea typeface="Times New Roman" panose="02020603050405020304" pitchFamily="18" charset="0"/>
              </a:rPr>
              <a:t> </a:t>
            </a:r>
            <a:r>
              <a:rPr lang="en-US" sz="1800" dirty="0">
                <a:effectLst/>
                <a:latin typeface="Times New Roman" panose="02020603050405020304" pitchFamily="18" charset="0"/>
                <a:ea typeface="Times New Roman" panose="02020603050405020304" pitchFamily="18" charset="0"/>
              </a:rPr>
              <a:t>random</a:t>
            </a:r>
            <a:r>
              <a:rPr lang="en-US" sz="1800" spc="5" dirty="0">
                <a:effectLst/>
                <a:latin typeface="Times New Roman" panose="02020603050405020304" pitchFamily="18" charset="0"/>
                <a:ea typeface="Times New Roman" panose="02020603050405020304" pitchFamily="18" charset="0"/>
              </a:rPr>
              <a:t> </a:t>
            </a:r>
            <a:r>
              <a:rPr lang="en-US" sz="1800" dirty="0">
                <a:effectLst/>
                <a:latin typeface="Times New Roman" panose="02020603050405020304" pitchFamily="18" charset="0"/>
                <a:ea typeface="Times New Roman" panose="02020603050405020304" pitchFamily="18" charset="0"/>
              </a:rPr>
              <a:t>variables</a:t>
            </a:r>
            <a:r>
              <a:rPr lang="en-US" sz="1800" spc="-20" dirty="0">
                <a:effectLst/>
                <a:latin typeface="Times New Roman" panose="02020603050405020304" pitchFamily="18" charset="0"/>
                <a:ea typeface="Times New Roman" panose="02020603050405020304" pitchFamily="18" charset="0"/>
              </a:rPr>
              <a:t> </a:t>
            </a:r>
            <a:r>
              <a:rPr lang="en-US" sz="1800" dirty="0">
                <a:effectLst/>
                <a:latin typeface="Times New Roman" panose="02020603050405020304" pitchFamily="18" charset="0"/>
                <a:ea typeface="Times New Roman" panose="02020603050405020304" pitchFamily="18" charset="0"/>
              </a:rPr>
              <a:t>represented</a:t>
            </a:r>
            <a:r>
              <a:rPr lang="en-US" sz="1800" spc="-90" dirty="0">
                <a:effectLst/>
                <a:latin typeface="Times New Roman" panose="02020603050405020304" pitchFamily="18" charset="0"/>
                <a:ea typeface="Times New Roman" panose="02020603050405020304" pitchFamily="18" charset="0"/>
              </a:rPr>
              <a:t> </a:t>
            </a:r>
            <a:r>
              <a:rPr lang="en-US" sz="1800" dirty="0">
                <a:effectLst/>
                <a:latin typeface="Times New Roman" panose="02020603050405020304" pitchFamily="18" charset="0"/>
                <a:ea typeface="Times New Roman" panose="02020603050405020304" pitchFamily="18" charset="0"/>
              </a:rPr>
              <a:t>by</a:t>
            </a:r>
            <a:r>
              <a:rPr lang="en-US" sz="1800" spc="10" dirty="0">
                <a:effectLst/>
                <a:latin typeface="Times New Roman" panose="02020603050405020304" pitchFamily="18" charset="0"/>
                <a:ea typeface="Times New Roman" panose="02020603050405020304" pitchFamily="18" charset="0"/>
              </a:rPr>
              <a:t> </a:t>
            </a:r>
            <a:r>
              <a:rPr lang="en-US" sz="1800" dirty="0">
                <a:effectLst/>
                <a:latin typeface="Times New Roman" panose="02020603050405020304" pitchFamily="18" charset="0"/>
                <a:ea typeface="Times New Roman" panose="02020603050405020304" pitchFamily="18" charset="0"/>
              </a:rPr>
              <a:t>the</a:t>
            </a:r>
            <a:r>
              <a:rPr lang="en-US" sz="1800" spc="-40" dirty="0">
                <a:effectLst/>
                <a:latin typeface="Times New Roman" panose="02020603050405020304" pitchFamily="18" charset="0"/>
                <a:ea typeface="Times New Roman" panose="02020603050405020304" pitchFamily="18" charset="0"/>
              </a:rPr>
              <a:t> </a:t>
            </a:r>
            <a:r>
              <a:rPr lang="en-US" sz="1800" dirty="0">
                <a:effectLst/>
                <a:latin typeface="Times New Roman" panose="02020603050405020304" pitchFamily="18" charset="0"/>
                <a:ea typeface="Times New Roman" panose="02020603050405020304" pitchFamily="18" charset="0"/>
              </a:rPr>
              <a:t>nodes of</a:t>
            </a:r>
            <a:r>
              <a:rPr lang="en-US" sz="1800" spc="-40" dirty="0">
                <a:effectLst/>
                <a:latin typeface="Times New Roman" panose="02020603050405020304" pitchFamily="18" charset="0"/>
                <a:ea typeface="Times New Roman" panose="02020603050405020304" pitchFamily="18" charset="0"/>
              </a:rPr>
              <a:t> </a:t>
            </a:r>
            <a:r>
              <a:rPr lang="en-US" sz="1800" dirty="0">
                <a:effectLst/>
                <a:latin typeface="Times New Roman" panose="02020603050405020304" pitchFamily="18" charset="0"/>
                <a:ea typeface="Times New Roman" panose="02020603050405020304" pitchFamily="18" charset="0"/>
              </a:rPr>
              <a:t>the</a:t>
            </a:r>
            <a:r>
              <a:rPr lang="en-US" sz="1800" spc="-40" dirty="0">
                <a:effectLst/>
                <a:latin typeface="Times New Roman" panose="02020603050405020304" pitchFamily="18" charset="0"/>
                <a:ea typeface="Times New Roman" panose="02020603050405020304" pitchFamily="18" charset="0"/>
              </a:rPr>
              <a:t> </a:t>
            </a:r>
            <a:r>
              <a:rPr lang="en-US" sz="1800" dirty="0">
                <a:effectLst/>
                <a:latin typeface="Times New Roman" panose="02020603050405020304" pitchFamily="18" charset="0"/>
                <a:ea typeface="Times New Roman" panose="02020603050405020304" pitchFamily="18" charset="0"/>
              </a:rPr>
              <a:t>network graph.</a:t>
            </a:r>
            <a:endParaRPr lang="en-IN" sz="1400" dirty="0">
              <a:effectLst/>
              <a:latin typeface="Times New Roman" panose="02020603050405020304" pitchFamily="18" charset="0"/>
              <a:ea typeface="Times New Roman" panose="02020603050405020304" pitchFamily="18" charset="0"/>
            </a:endParaRPr>
          </a:p>
          <a:p>
            <a:pPr marL="742950" marR="367665" lvl="1" indent="-285750" algn="just">
              <a:lnSpc>
                <a:spcPct val="103000"/>
              </a:lnSpc>
              <a:spcBef>
                <a:spcPts val="615"/>
              </a:spcBef>
              <a:spcAft>
                <a:spcPts val="0"/>
              </a:spcAft>
              <a:buFont typeface="Arial" panose="020B0604020202020204" pitchFamily="34" charset="0"/>
              <a:buChar char="•"/>
              <a:tabLst>
                <a:tab pos="868045" algn="l"/>
              </a:tabLst>
            </a:pPr>
            <a:r>
              <a:rPr lang="en-US" sz="1800" dirty="0">
                <a:effectLst/>
                <a:latin typeface="Times New Roman" panose="02020603050405020304" pitchFamily="18" charset="0"/>
                <a:ea typeface="Times New Roman" panose="02020603050405020304" pitchFamily="18" charset="0"/>
              </a:rPr>
              <a:t>If we are considering node B, which is connected with</a:t>
            </a:r>
            <a:r>
              <a:rPr lang="en-US" sz="1800" spc="5" dirty="0">
                <a:effectLst/>
                <a:latin typeface="Times New Roman" panose="02020603050405020304" pitchFamily="18" charset="0"/>
                <a:ea typeface="Times New Roman" panose="02020603050405020304" pitchFamily="18" charset="0"/>
              </a:rPr>
              <a:t> </a:t>
            </a:r>
            <a:r>
              <a:rPr lang="en-US" sz="1800" dirty="0">
                <a:effectLst/>
                <a:latin typeface="Times New Roman" panose="02020603050405020304" pitchFamily="18" charset="0"/>
                <a:ea typeface="Times New Roman" panose="02020603050405020304" pitchFamily="18" charset="0"/>
              </a:rPr>
              <a:t>node A by a directed arrow, then node A is called the</a:t>
            </a:r>
            <a:r>
              <a:rPr lang="en-US" sz="1800" spc="5" dirty="0">
                <a:effectLst/>
                <a:latin typeface="Times New Roman" panose="02020603050405020304" pitchFamily="18" charset="0"/>
                <a:ea typeface="Times New Roman" panose="02020603050405020304" pitchFamily="18" charset="0"/>
              </a:rPr>
              <a:t> </a:t>
            </a:r>
            <a:r>
              <a:rPr lang="en-US" sz="1800" dirty="0">
                <a:effectLst/>
                <a:latin typeface="Times New Roman" panose="02020603050405020304" pitchFamily="18" charset="0"/>
                <a:ea typeface="Times New Roman" panose="02020603050405020304" pitchFamily="18" charset="0"/>
              </a:rPr>
              <a:t>parent</a:t>
            </a:r>
            <a:r>
              <a:rPr lang="en-US" sz="1800" spc="-35" dirty="0">
                <a:effectLst/>
                <a:latin typeface="Times New Roman" panose="02020603050405020304" pitchFamily="18" charset="0"/>
                <a:ea typeface="Times New Roman" panose="02020603050405020304" pitchFamily="18" charset="0"/>
              </a:rPr>
              <a:t> </a:t>
            </a:r>
            <a:r>
              <a:rPr lang="en-US" sz="1800" dirty="0">
                <a:effectLst/>
                <a:latin typeface="Times New Roman" panose="02020603050405020304" pitchFamily="18" charset="0"/>
                <a:ea typeface="Times New Roman" panose="02020603050405020304" pitchFamily="18" charset="0"/>
              </a:rPr>
              <a:t>of</a:t>
            </a:r>
            <a:r>
              <a:rPr lang="en-US" sz="1800" spc="-5" dirty="0">
                <a:effectLst/>
                <a:latin typeface="Times New Roman" panose="02020603050405020304" pitchFamily="18" charset="0"/>
                <a:ea typeface="Times New Roman" panose="02020603050405020304" pitchFamily="18" charset="0"/>
              </a:rPr>
              <a:t> </a:t>
            </a:r>
            <a:r>
              <a:rPr lang="en-US" sz="1800" dirty="0">
                <a:effectLst/>
                <a:latin typeface="Times New Roman" panose="02020603050405020304" pitchFamily="18" charset="0"/>
                <a:ea typeface="Times New Roman" panose="02020603050405020304" pitchFamily="18" charset="0"/>
              </a:rPr>
              <a:t>Node B.</a:t>
            </a:r>
            <a:endParaRPr lang="en-IN" sz="1400" dirty="0">
              <a:effectLst/>
              <a:latin typeface="Times New Roman" panose="02020603050405020304" pitchFamily="18" charset="0"/>
              <a:ea typeface="Times New Roman" panose="02020603050405020304" pitchFamily="18" charset="0"/>
            </a:endParaRPr>
          </a:p>
          <a:p>
            <a:pPr marL="742950" lvl="1" indent="-285750" algn="just">
              <a:spcBef>
                <a:spcPts val="625"/>
              </a:spcBef>
              <a:buFont typeface="Arial" panose="020B0604020202020204" pitchFamily="34" charset="0"/>
              <a:buChar char="•"/>
              <a:tabLst>
                <a:tab pos="868045" algn="l"/>
              </a:tabLst>
            </a:pPr>
            <a:r>
              <a:rPr lang="en-US" sz="1800" dirty="0">
                <a:effectLst/>
                <a:latin typeface="Times New Roman" panose="02020603050405020304" pitchFamily="18" charset="0"/>
                <a:ea typeface="Times New Roman" panose="02020603050405020304" pitchFamily="18" charset="0"/>
              </a:rPr>
              <a:t>Node</a:t>
            </a:r>
            <a:r>
              <a:rPr lang="en-US" sz="1800" spc="175" dirty="0">
                <a:effectLst/>
                <a:latin typeface="Times New Roman" panose="02020603050405020304" pitchFamily="18" charset="0"/>
                <a:ea typeface="Times New Roman" panose="02020603050405020304" pitchFamily="18" charset="0"/>
              </a:rPr>
              <a:t> </a:t>
            </a:r>
            <a:r>
              <a:rPr lang="en-US" sz="1800" dirty="0">
                <a:effectLst/>
                <a:latin typeface="Times New Roman" panose="02020603050405020304" pitchFamily="18" charset="0"/>
                <a:ea typeface="Times New Roman" panose="02020603050405020304" pitchFamily="18" charset="0"/>
              </a:rPr>
              <a:t>C</a:t>
            </a:r>
            <a:r>
              <a:rPr lang="en-US" sz="1800" spc="280" dirty="0">
                <a:effectLst/>
                <a:latin typeface="Times New Roman" panose="02020603050405020304" pitchFamily="18" charset="0"/>
                <a:ea typeface="Times New Roman" panose="02020603050405020304" pitchFamily="18" charset="0"/>
              </a:rPr>
              <a:t> </a:t>
            </a:r>
            <a:r>
              <a:rPr lang="en-US" sz="1800" dirty="0">
                <a:effectLst/>
                <a:latin typeface="Times New Roman" panose="02020603050405020304" pitchFamily="18" charset="0"/>
                <a:ea typeface="Times New Roman" panose="02020603050405020304" pitchFamily="18" charset="0"/>
              </a:rPr>
              <a:t>is</a:t>
            </a:r>
            <a:r>
              <a:rPr lang="en-US" sz="1800" spc="240" dirty="0">
                <a:effectLst/>
                <a:latin typeface="Times New Roman" panose="02020603050405020304" pitchFamily="18" charset="0"/>
                <a:ea typeface="Times New Roman" panose="02020603050405020304" pitchFamily="18" charset="0"/>
              </a:rPr>
              <a:t> </a:t>
            </a:r>
            <a:r>
              <a:rPr lang="en-US" sz="1800" dirty="0">
                <a:effectLst/>
                <a:latin typeface="Times New Roman" panose="02020603050405020304" pitchFamily="18" charset="0"/>
                <a:ea typeface="Times New Roman" panose="02020603050405020304" pitchFamily="18" charset="0"/>
              </a:rPr>
              <a:t>independent</a:t>
            </a:r>
            <a:r>
              <a:rPr lang="en-US" sz="1800" spc="260" dirty="0">
                <a:effectLst/>
                <a:latin typeface="Times New Roman" panose="02020603050405020304" pitchFamily="18" charset="0"/>
                <a:ea typeface="Times New Roman" panose="02020603050405020304" pitchFamily="18" charset="0"/>
              </a:rPr>
              <a:t> </a:t>
            </a:r>
            <a:r>
              <a:rPr lang="en-US" sz="1800" dirty="0">
                <a:effectLst/>
                <a:latin typeface="Times New Roman" panose="02020603050405020304" pitchFamily="18" charset="0"/>
                <a:ea typeface="Times New Roman" panose="02020603050405020304" pitchFamily="18" charset="0"/>
              </a:rPr>
              <a:t>of</a:t>
            </a:r>
            <a:r>
              <a:rPr lang="en-US" sz="1800" spc="210" dirty="0">
                <a:effectLst/>
                <a:latin typeface="Times New Roman" panose="02020603050405020304" pitchFamily="18" charset="0"/>
                <a:ea typeface="Times New Roman" panose="02020603050405020304" pitchFamily="18" charset="0"/>
              </a:rPr>
              <a:t> </a:t>
            </a:r>
            <a:r>
              <a:rPr lang="en-US" sz="1800" dirty="0">
                <a:effectLst/>
                <a:latin typeface="Times New Roman" panose="02020603050405020304" pitchFamily="18" charset="0"/>
                <a:ea typeface="Times New Roman" panose="02020603050405020304" pitchFamily="18" charset="0"/>
              </a:rPr>
              <a:t>node</a:t>
            </a:r>
            <a:r>
              <a:rPr lang="en-US" sz="1800" spc="-170" dirty="0">
                <a:effectLst/>
                <a:latin typeface="Times New Roman" panose="02020603050405020304" pitchFamily="18" charset="0"/>
                <a:ea typeface="Times New Roman" panose="02020603050405020304" pitchFamily="18" charset="0"/>
              </a:rPr>
              <a:t> </a:t>
            </a:r>
            <a:r>
              <a:rPr lang="en-US" sz="1800" dirty="0">
                <a:effectLst/>
                <a:latin typeface="Times New Roman" panose="02020603050405020304" pitchFamily="18" charset="0"/>
                <a:ea typeface="Times New Roman" panose="02020603050405020304" pitchFamily="18" charset="0"/>
              </a:rPr>
              <a:t>A.</a:t>
            </a:r>
            <a:endParaRPr lang="en-IN" sz="1400" dirty="0">
              <a:effectLst/>
              <a:latin typeface="Times New Roman" panose="02020603050405020304" pitchFamily="18" charset="0"/>
              <a:ea typeface="Times New Roman" panose="02020603050405020304" pitchFamily="18" charset="0"/>
            </a:endParaRPr>
          </a:p>
          <a:p>
            <a:pPr marL="742950" marR="361315" lvl="1" indent="-285750" algn="just">
              <a:lnSpc>
                <a:spcPct val="103000"/>
              </a:lnSpc>
              <a:spcBef>
                <a:spcPts val="720"/>
              </a:spcBef>
              <a:spcAft>
                <a:spcPts val="0"/>
              </a:spcAft>
              <a:buFont typeface="Arial" panose="020B0604020202020204" pitchFamily="34" charset="0"/>
              <a:buChar char="•"/>
              <a:tabLst>
                <a:tab pos="868045" algn="l"/>
              </a:tabLst>
            </a:pPr>
            <a:r>
              <a:rPr lang="en-US" sz="1800" dirty="0">
                <a:effectLst/>
                <a:latin typeface="Times New Roman" panose="02020603050405020304" pitchFamily="18" charset="0"/>
                <a:ea typeface="Times New Roman" panose="02020603050405020304" pitchFamily="18" charset="0"/>
              </a:rPr>
              <a:t>The Bayesian network graph does not contain any cyclic</a:t>
            </a:r>
            <a:r>
              <a:rPr lang="en-US" sz="1800" spc="5" dirty="0">
                <a:effectLst/>
                <a:latin typeface="Times New Roman" panose="02020603050405020304" pitchFamily="18" charset="0"/>
                <a:ea typeface="Times New Roman" panose="02020603050405020304" pitchFamily="18" charset="0"/>
              </a:rPr>
              <a:t> </a:t>
            </a:r>
            <a:r>
              <a:rPr lang="en-US" sz="1800" dirty="0">
                <a:effectLst/>
                <a:latin typeface="Times New Roman" panose="02020603050405020304" pitchFamily="18" charset="0"/>
                <a:ea typeface="Times New Roman" panose="02020603050405020304" pitchFamily="18" charset="0"/>
              </a:rPr>
              <a:t>graph. Hence, it is known as a </a:t>
            </a:r>
            <a:r>
              <a:rPr lang="en-US" sz="1800" b="1" dirty="0">
                <a:effectLst/>
                <a:latin typeface="Times New Roman" panose="02020603050405020304" pitchFamily="18" charset="0"/>
                <a:ea typeface="Times New Roman" panose="02020603050405020304" pitchFamily="18" charset="0"/>
              </a:rPr>
              <a:t>directed acyclic graph or</a:t>
            </a:r>
            <a:r>
              <a:rPr lang="en-US" sz="1800" b="1" spc="5" dirty="0">
                <a:effectLst/>
                <a:latin typeface="Times New Roman" panose="02020603050405020304" pitchFamily="18" charset="0"/>
                <a:ea typeface="Times New Roman" panose="02020603050405020304" pitchFamily="18" charset="0"/>
              </a:rPr>
              <a:t> </a:t>
            </a:r>
            <a:r>
              <a:rPr lang="en-US" sz="1800" b="1" dirty="0">
                <a:effectLst/>
                <a:latin typeface="Times New Roman" panose="02020603050405020304" pitchFamily="18" charset="0"/>
                <a:ea typeface="Times New Roman" panose="02020603050405020304" pitchFamily="18" charset="0"/>
              </a:rPr>
              <a:t>DAG.</a:t>
            </a:r>
            <a:endParaRPr lang="en-IN" sz="1400" dirty="0">
              <a:effectLst/>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276323020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BD40BC5-80A7-37F8-88CA-20ED9E646346}"/>
              </a:ext>
            </a:extLst>
          </p:cNvPr>
          <p:cNvSpPr>
            <a:spLocks noGrp="1"/>
          </p:cNvSpPr>
          <p:nvPr>
            <p:ph idx="1"/>
          </p:nvPr>
        </p:nvSpPr>
        <p:spPr>
          <a:xfrm>
            <a:off x="206477" y="206477"/>
            <a:ext cx="11147323" cy="5970486"/>
          </a:xfrm>
        </p:spPr>
        <p:txBody>
          <a:bodyPr/>
          <a:lstStyle/>
          <a:p>
            <a:pPr marL="0" indent="0" algn="just">
              <a:buNone/>
            </a:pPr>
            <a:r>
              <a:rPr lang="en-IN" b="0" i="0" dirty="0">
                <a:solidFill>
                  <a:srgbClr val="2B2A29"/>
                </a:solidFill>
                <a:effectLst/>
                <a:latin typeface="Times New Roman" panose="02020603050405020304" pitchFamily="18" charset="0"/>
                <a:cs typeface="Times New Roman" panose="02020603050405020304" pitchFamily="18" charset="0"/>
              </a:rPr>
              <a:t>The Bayesian network has mainly two components:</a:t>
            </a:r>
          </a:p>
          <a:p>
            <a:pPr algn="just">
              <a:buFont typeface="Arial" panose="020B0604020202020204" pitchFamily="34" charset="0"/>
              <a:buChar char="•"/>
            </a:pPr>
            <a:r>
              <a:rPr lang="en-IN" b="1" i="0" dirty="0">
                <a:solidFill>
                  <a:srgbClr val="2B2A29"/>
                </a:solidFill>
                <a:effectLst/>
                <a:latin typeface="Times New Roman" panose="02020603050405020304" pitchFamily="18" charset="0"/>
                <a:cs typeface="Times New Roman" panose="02020603050405020304" pitchFamily="18" charset="0"/>
              </a:rPr>
              <a:t>Causal Component</a:t>
            </a:r>
            <a:endParaRPr lang="en-IN" b="0" i="0" dirty="0">
              <a:solidFill>
                <a:srgbClr val="2B2A29"/>
              </a:solidFill>
              <a:effectLst/>
              <a:latin typeface="Times New Roman" panose="02020603050405020304" pitchFamily="18" charset="0"/>
              <a:cs typeface="Times New Roman" panose="02020603050405020304" pitchFamily="18" charset="0"/>
            </a:endParaRPr>
          </a:p>
          <a:p>
            <a:pPr algn="just">
              <a:buFont typeface="Arial" panose="020B0604020202020204" pitchFamily="34" charset="0"/>
              <a:buChar char="•"/>
            </a:pPr>
            <a:r>
              <a:rPr lang="en-IN" b="1" i="0" dirty="0">
                <a:solidFill>
                  <a:srgbClr val="2B2A29"/>
                </a:solidFill>
                <a:effectLst/>
                <a:latin typeface="Times New Roman" panose="02020603050405020304" pitchFamily="18" charset="0"/>
                <a:cs typeface="Times New Roman" panose="02020603050405020304" pitchFamily="18" charset="0"/>
              </a:rPr>
              <a:t>Actual numbers</a:t>
            </a:r>
            <a:endParaRPr lang="en-IN" b="0" i="0" dirty="0">
              <a:solidFill>
                <a:srgbClr val="2B2A29"/>
              </a:solidFill>
              <a:effectLst/>
              <a:latin typeface="Times New Roman" panose="02020603050405020304" pitchFamily="18" charset="0"/>
              <a:cs typeface="Times New Roman" panose="02020603050405020304" pitchFamily="18" charset="0"/>
            </a:endParaRPr>
          </a:p>
          <a:p>
            <a:pPr marL="0" indent="0" algn="just">
              <a:buNone/>
            </a:pPr>
            <a:r>
              <a:rPr lang="en-IN" b="0" i="0" dirty="0">
                <a:solidFill>
                  <a:srgbClr val="2B2A29"/>
                </a:solidFill>
                <a:effectLst/>
                <a:latin typeface="Times New Roman" panose="02020603050405020304" pitchFamily="18" charset="0"/>
                <a:cs typeface="Times New Roman" panose="02020603050405020304" pitchFamily="18" charset="0"/>
              </a:rPr>
              <a:t>Each node in the Bayesian network has condition probability distribution </a:t>
            </a:r>
            <a:r>
              <a:rPr lang="en-IN" b="1" i="0" dirty="0">
                <a:solidFill>
                  <a:srgbClr val="2B2A29"/>
                </a:solidFill>
                <a:effectLst/>
                <a:latin typeface="Times New Roman" panose="02020603050405020304" pitchFamily="18" charset="0"/>
                <a:cs typeface="Times New Roman" panose="02020603050405020304" pitchFamily="18" charset="0"/>
              </a:rPr>
              <a:t>P(X</a:t>
            </a:r>
            <a:r>
              <a:rPr lang="en-IN" b="1" i="0" baseline="-25000" dirty="0">
                <a:solidFill>
                  <a:srgbClr val="2B2A29"/>
                </a:solidFill>
                <a:effectLst/>
                <a:latin typeface="Times New Roman" panose="02020603050405020304" pitchFamily="18" charset="0"/>
                <a:cs typeface="Times New Roman" panose="02020603050405020304" pitchFamily="18" charset="0"/>
              </a:rPr>
              <a:t>i</a:t>
            </a:r>
            <a:r>
              <a:rPr lang="en-IN" b="1" i="0" dirty="0">
                <a:solidFill>
                  <a:srgbClr val="2B2A29"/>
                </a:solidFill>
                <a:effectLst/>
                <a:latin typeface="Times New Roman" panose="02020603050405020304" pitchFamily="18" charset="0"/>
                <a:cs typeface="Times New Roman" panose="02020603050405020304" pitchFamily="18" charset="0"/>
              </a:rPr>
              <a:t> |Parent(X</a:t>
            </a:r>
            <a:r>
              <a:rPr lang="en-IN" b="1" i="0" baseline="-25000" dirty="0">
                <a:solidFill>
                  <a:srgbClr val="2B2A29"/>
                </a:solidFill>
                <a:effectLst/>
                <a:latin typeface="Times New Roman" panose="02020603050405020304" pitchFamily="18" charset="0"/>
                <a:cs typeface="Times New Roman" panose="02020603050405020304" pitchFamily="18" charset="0"/>
              </a:rPr>
              <a:t>i</a:t>
            </a:r>
            <a:r>
              <a:rPr lang="en-IN" b="1" i="0" dirty="0">
                <a:solidFill>
                  <a:srgbClr val="2B2A29"/>
                </a:solidFill>
                <a:effectLst/>
                <a:latin typeface="Times New Roman" panose="02020603050405020304" pitchFamily="18" charset="0"/>
                <a:cs typeface="Times New Roman" panose="02020603050405020304" pitchFamily="18" charset="0"/>
              </a:rPr>
              <a:t>) )</a:t>
            </a:r>
            <a:r>
              <a:rPr lang="en-IN" b="0" i="0" dirty="0">
                <a:solidFill>
                  <a:srgbClr val="2B2A29"/>
                </a:solidFill>
                <a:effectLst/>
                <a:latin typeface="Times New Roman" panose="02020603050405020304" pitchFamily="18" charset="0"/>
                <a:cs typeface="Times New Roman" panose="02020603050405020304" pitchFamily="18" charset="0"/>
              </a:rPr>
              <a:t>, which determines the effect of the parent on that node.</a:t>
            </a:r>
          </a:p>
          <a:p>
            <a:pPr marL="0" indent="0">
              <a:buNone/>
            </a:pPr>
            <a:br>
              <a:rPr lang="en-IN" dirty="0">
                <a:latin typeface="Times New Roman" panose="02020603050405020304" pitchFamily="18" charset="0"/>
                <a:cs typeface="Times New Roman" panose="02020603050405020304" pitchFamily="18" charset="0"/>
              </a:rPr>
            </a:br>
            <a:endParaRPr lang="en-US"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46719492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09FEE11-97A7-5FF9-373C-7D3A3259B007}"/>
              </a:ext>
            </a:extLst>
          </p:cNvPr>
          <p:cNvSpPr>
            <a:spLocks noGrp="1"/>
          </p:cNvSpPr>
          <p:nvPr>
            <p:ph idx="1"/>
          </p:nvPr>
        </p:nvSpPr>
        <p:spPr>
          <a:xfrm>
            <a:off x="288099" y="87682"/>
            <a:ext cx="11065701" cy="6089281"/>
          </a:xfrm>
        </p:spPr>
        <p:txBody>
          <a:bodyPr/>
          <a:lstStyle/>
          <a:p>
            <a:pPr marL="0" indent="0" algn="l">
              <a:buNone/>
            </a:pPr>
            <a:r>
              <a:rPr lang="en-IN" b="1" i="0" dirty="0">
                <a:solidFill>
                  <a:srgbClr val="1D1D27"/>
                </a:solidFill>
                <a:effectLst/>
                <a:latin typeface="Times New Roman" panose="02020603050405020304" pitchFamily="18" charset="0"/>
                <a:cs typeface="Times New Roman" panose="02020603050405020304" pitchFamily="18" charset="0"/>
              </a:rPr>
              <a:t>Joint probability distribution:</a:t>
            </a:r>
          </a:p>
          <a:p>
            <a:pPr marL="0" indent="0" algn="just">
              <a:buNone/>
            </a:pPr>
            <a:r>
              <a:rPr lang="en-IN" b="0" i="0" dirty="0">
                <a:solidFill>
                  <a:srgbClr val="2B2A29"/>
                </a:solidFill>
                <a:effectLst/>
                <a:latin typeface="Times New Roman" panose="02020603050405020304" pitchFamily="18" charset="0"/>
                <a:cs typeface="Times New Roman" panose="02020603050405020304" pitchFamily="18" charset="0"/>
              </a:rPr>
              <a:t>If we have variables x1, x2, x3,....., </a:t>
            </a:r>
            <a:r>
              <a:rPr lang="en-IN" b="0" i="0" dirty="0" err="1">
                <a:solidFill>
                  <a:srgbClr val="2B2A29"/>
                </a:solidFill>
                <a:effectLst/>
                <a:latin typeface="Times New Roman" panose="02020603050405020304" pitchFamily="18" charset="0"/>
                <a:cs typeface="Times New Roman" panose="02020603050405020304" pitchFamily="18" charset="0"/>
              </a:rPr>
              <a:t>xn</a:t>
            </a:r>
            <a:r>
              <a:rPr lang="en-IN" b="0" i="0" dirty="0">
                <a:solidFill>
                  <a:srgbClr val="2B2A29"/>
                </a:solidFill>
                <a:effectLst/>
                <a:latin typeface="Times New Roman" panose="02020603050405020304" pitchFamily="18" charset="0"/>
                <a:cs typeface="Times New Roman" panose="02020603050405020304" pitchFamily="18" charset="0"/>
              </a:rPr>
              <a:t>, then the probabilities of a different combination of x1, x2, x3.. </a:t>
            </a:r>
            <a:r>
              <a:rPr lang="en-IN" b="0" i="0" dirty="0" err="1">
                <a:solidFill>
                  <a:srgbClr val="2B2A29"/>
                </a:solidFill>
                <a:effectLst/>
                <a:latin typeface="Times New Roman" panose="02020603050405020304" pitchFamily="18" charset="0"/>
                <a:cs typeface="Times New Roman" panose="02020603050405020304" pitchFamily="18" charset="0"/>
              </a:rPr>
              <a:t>xn</a:t>
            </a:r>
            <a:r>
              <a:rPr lang="en-IN" b="0" i="0" dirty="0">
                <a:solidFill>
                  <a:srgbClr val="2B2A29"/>
                </a:solidFill>
                <a:effectLst/>
                <a:latin typeface="Times New Roman" panose="02020603050405020304" pitchFamily="18" charset="0"/>
                <a:cs typeface="Times New Roman" panose="02020603050405020304" pitchFamily="18" charset="0"/>
              </a:rPr>
              <a:t>, are known as Joint probability distribution.</a:t>
            </a:r>
          </a:p>
          <a:p>
            <a:pPr marL="0" indent="0" algn="just">
              <a:buNone/>
            </a:pPr>
            <a:r>
              <a:rPr lang="en-IN" b="1" i="0" dirty="0">
                <a:solidFill>
                  <a:srgbClr val="2B2A29"/>
                </a:solidFill>
                <a:effectLst/>
                <a:latin typeface="Times New Roman" panose="02020603050405020304" pitchFamily="18" charset="0"/>
                <a:cs typeface="Times New Roman" panose="02020603050405020304" pitchFamily="18" charset="0"/>
              </a:rPr>
              <a:t>P[x</a:t>
            </a:r>
            <a:r>
              <a:rPr lang="en-IN" b="1" i="0" baseline="-25000" dirty="0">
                <a:solidFill>
                  <a:srgbClr val="2B2A29"/>
                </a:solidFill>
                <a:effectLst/>
                <a:latin typeface="Times New Roman" panose="02020603050405020304" pitchFamily="18" charset="0"/>
                <a:cs typeface="Times New Roman" panose="02020603050405020304" pitchFamily="18" charset="0"/>
              </a:rPr>
              <a:t>1</a:t>
            </a:r>
            <a:r>
              <a:rPr lang="en-IN" b="1" i="0" dirty="0">
                <a:solidFill>
                  <a:srgbClr val="2B2A29"/>
                </a:solidFill>
                <a:effectLst/>
                <a:latin typeface="Times New Roman" panose="02020603050405020304" pitchFamily="18" charset="0"/>
                <a:cs typeface="Times New Roman" panose="02020603050405020304" pitchFamily="18" charset="0"/>
              </a:rPr>
              <a:t>, x</a:t>
            </a:r>
            <a:r>
              <a:rPr lang="en-IN" b="1" i="0" baseline="-25000" dirty="0">
                <a:solidFill>
                  <a:srgbClr val="2B2A29"/>
                </a:solidFill>
                <a:effectLst/>
                <a:latin typeface="Times New Roman" panose="02020603050405020304" pitchFamily="18" charset="0"/>
                <a:cs typeface="Times New Roman" panose="02020603050405020304" pitchFamily="18" charset="0"/>
              </a:rPr>
              <a:t>2</a:t>
            </a:r>
            <a:r>
              <a:rPr lang="en-IN" b="1" i="0" dirty="0">
                <a:solidFill>
                  <a:srgbClr val="2B2A29"/>
                </a:solidFill>
                <a:effectLst/>
                <a:latin typeface="Times New Roman" panose="02020603050405020304" pitchFamily="18" charset="0"/>
                <a:cs typeface="Times New Roman" panose="02020603050405020304" pitchFamily="18" charset="0"/>
              </a:rPr>
              <a:t>, x</a:t>
            </a:r>
            <a:r>
              <a:rPr lang="en-IN" b="1" i="0" baseline="-25000" dirty="0">
                <a:solidFill>
                  <a:srgbClr val="2B2A29"/>
                </a:solidFill>
                <a:effectLst/>
                <a:latin typeface="Times New Roman" panose="02020603050405020304" pitchFamily="18" charset="0"/>
                <a:cs typeface="Times New Roman" panose="02020603050405020304" pitchFamily="18" charset="0"/>
              </a:rPr>
              <a:t>3</a:t>
            </a:r>
            <a:r>
              <a:rPr lang="en-IN" b="1" i="0" dirty="0">
                <a:solidFill>
                  <a:srgbClr val="2B2A29"/>
                </a:solidFill>
                <a:effectLst/>
                <a:latin typeface="Times New Roman" panose="02020603050405020304" pitchFamily="18" charset="0"/>
                <a:cs typeface="Times New Roman" panose="02020603050405020304" pitchFamily="18" charset="0"/>
              </a:rPr>
              <a:t>,....., </a:t>
            </a:r>
            <a:r>
              <a:rPr lang="en-IN" b="1" i="0" dirty="0" err="1">
                <a:solidFill>
                  <a:srgbClr val="2B2A29"/>
                </a:solidFill>
                <a:effectLst/>
                <a:latin typeface="Times New Roman" panose="02020603050405020304" pitchFamily="18" charset="0"/>
                <a:cs typeface="Times New Roman" panose="02020603050405020304" pitchFamily="18" charset="0"/>
              </a:rPr>
              <a:t>x</a:t>
            </a:r>
            <a:r>
              <a:rPr lang="en-IN" b="1" i="0" baseline="-25000" dirty="0" err="1">
                <a:solidFill>
                  <a:srgbClr val="2B2A29"/>
                </a:solidFill>
                <a:effectLst/>
                <a:latin typeface="Times New Roman" panose="02020603050405020304" pitchFamily="18" charset="0"/>
                <a:cs typeface="Times New Roman" panose="02020603050405020304" pitchFamily="18" charset="0"/>
              </a:rPr>
              <a:t>n</a:t>
            </a:r>
            <a:r>
              <a:rPr lang="en-IN" b="1" i="0" dirty="0">
                <a:solidFill>
                  <a:srgbClr val="2B2A29"/>
                </a:solidFill>
                <a:effectLst/>
                <a:latin typeface="Times New Roman" panose="02020603050405020304" pitchFamily="18" charset="0"/>
                <a:cs typeface="Times New Roman" panose="02020603050405020304" pitchFamily="18" charset="0"/>
              </a:rPr>
              <a:t>]</a:t>
            </a:r>
            <a:r>
              <a:rPr lang="en-IN" b="0" i="0" dirty="0">
                <a:solidFill>
                  <a:srgbClr val="2B2A29"/>
                </a:solidFill>
                <a:effectLst/>
                <a:latin typeface="Times New Roman" panose="02020603050405020304" pitchFamily="18" charset="0"/>
                <a:cs typeface="Times New Roman" panose="02020603050405020304" pitchFamily="18" charset="0"/>
              </a:rPr>
              <a:t>, it can be written as the following way in terms of the joint probability distribution.</a:t>
            </a:r>
          </a:p>
          <a:p>
            <a:pPr marL="0" indent="0" algn="just">
              <a:buNone/>
            </a:pPr>
            <a:r>
              <a:rPr lang="en-IN" b="1" i="0" dirty="0">
                <a:solidFill>
                  <a:srgbClr val="2B2A29"/>
                </a:solidFill>
                <a:effectLst/>
                <a:latin typeface="Times New Roman" panose="02020603050405020304" pitchFamily="18" charset="0"/>
                <a:cs typeface="Times New Roman" panose="02020603050405020304" pitchFamily="18" charset="0"/>
              </a:rPr>
              <a:t>= P[x</a:t>
            </a:r>
            <a:r>
              <a:rPr lang="en-IN" b="1" i="0" baseline="-25000" dirty="0">
                <a:solidFill>
                  <a:srgbClr val="2B2A29"/>
                </a:solidFill>
                <a:effectLst/>
                <a:latin typeface="Times New Roman" panose="02020603050405020304" pitchFamily="18" charset="0"/>
                <a:cs typeface="Times New Roman" panose="02020603050405020304" pitchFamily="18" charset="0"/>
              </a:rPr>
              <a:t>1</a:t>
            </a:r>
            <a:r>
              <a:rPr lang="en-IN" b="1" i="0" dirty="0">
                <a:solidFill>
                  <a:srgbClr val="2B2A29"/>
                </a:solidFill>
                <a:effectLst/>
                <a:latin typeface="Times New Roman" panose="02020603050405020304" pitchFamily="18" charset="0"/>
                <a:cs typeface="Times New Roman" panose="02020603050405020304" pitchFamily="18" charset="0"/>
              </a:rPr>
              <a:t>| x</a:t>
            </a:r>
            <a:r>
              <a:rPr lang="en-IN" b="1" i="0" baseline="-25000" dirty="0">
                <a:solidFill>
                  <a:srgbClr val="2B2A29"/>
                </a:solidFill>
                <a:effectLst/>
                <a:latin typeface="Times New Roman" panose="02020603050405020304" pitchFamily="18" charset="0"/>
                <a:cs typeface="Times New Roman" panose="02020603050405020304" pitchFamily="18" charset="0"/>
              </a:rPr>
              <a:t>2</a:t>
            </a:r>
            <a:r>
              <a:rPr lang="en-IN" b="1" i="0" dirty="0">
                <a:solidFill>
                  <a:srgbClr val="2B2A29"/>
                </a:solidFill>
                <a:effectLst/>
                <a:latin typeface="Times New Roman" panose="02020603050405020304" pitchFamily="18" charset="0"/>
                <a:cs typeface="Times New Roman" panose="02020603050405020304" pitchFamily="18" charset="0"/>
              </a:rPr>
              <a:t>, x</a:t>
            </a:r>
            <a:r>
              <a:rPr lang="en-IN" b="1" i="0" baseline="-25000" dirty="0">
                <a:solidFill>
                  <a:srgbClr val="2B2A29"/>
                </a:solidFill>
                <a:effectLst/>
                <a:latin typeface="Times New Roman" panose="02020603050405020304" pitchFamily="18" charset="0"/>
                <a:cs typeface="Times New Roman" panose="02020603050405020304" pitchFamily="18" charset="0"/>
              </a:rPr>
              <a:t>3</a:t>
            </a:r>
            <a:r>
              <a:rPr lang="en-IN" b="1" i="0" dirty="0">
                <a:solidFill>
                  <a:srgbClr val="2B2A29"/>
                </a:solidFill>
                <a:effectLst/>
                <a:latin typeface="Times New Roman" panose="02020603050405020304" pitchFamily="18" charset="0"/>
                <a:cs typeface="Times New Roman" panose="02020603050405020304" pitchFamily="18" charset="0"/>
              </a:rPr>
              <a:t>,....., </a:t>
            </a:r>
            <a:r>
              <a:rPr lang="en-IN" b="1" i="0" dirty="0" err="1">
                <a:solidFill>
                  <a:srgbClr val="2B2A29"/>
                </a:solidFill>
                <a:effectLst/>
                <a:latin typeface="Times New Roman" panose="02020603050405020304" pitchFamily="18" charset="0"/>
                <a:cs typeface="Times New Roman" panose="02020603050405020304" pitchFamily="18" charset="0"/>
              </a:rPr>
              <a:t>x</a:t>
            </a:r>
            <a:r>
              <a:rPr lang="en-IN" b="1" i="0" baseline="-25000" dirty="0" err="1">
                <a:solidFill>
                  <a:srgbClr val="2B2A29"/>
                </a:solidFill>
                <a:effectLst/>
                <a:latin typeface="Times New Roman" panose="02020603050405020304" pitchFamily="18" charset="0"/>
                <a:cs typeface="Times New Roman" panose="02020603050405020304" pitchFamily="18" charset="0"/>
              </a:rPr>
              <a:t>n</a:t>
            </a:r>
            <a:r>
              <a:rPr lang="en-IN" b="1" i="0" dirty="0">
                <a:solidFill>
                  <a:srgbClr val="2B2A29"/>
                </a:solidFill>
                <a:effectLst/>
                <a:latin typeface="Times New Roman" panose="02020603050405020304" pitchFamily="18" charset="0"/>
                <a:cs typeface="Times New Roman" panose="02020603050405020304" pitchFamily="18" charset="0"/>
              </a:rPr>
              <a:t>]P[x</a:t>
            </a:r>
            <a:r>
              <a:rPr lang="en-IN" b="1" i="0" baseline="-25000" dirty="0">
                <a:solidFill>
                  <a:srgbClr val="2B2A29"/>
                </a:solidFill>
                <a:effectLst/>
                <a:latin typeface="Times New Roman" panose="02020603050405020304" pitchFamily="18" charset="0"/>
                <a:cs typeface="Times New Roman" panose="02020603050405020304" pitchFamily="18" charset="0"/>
              </a:rPr>
              <a:t>2</a:t>
            </a:r>
            <a:r>
              <a:rPr lang="en-IN" b="1" i="0" dirty="0">
                <a:solidFill>
                  <a:srgbClr val="2B2A29"/>
                </a:solidFill>
                <a:effectLst/>
                <a:latin typeface="Times New Roman" panose="02020603050405020304" pitchFamily="18" charset="0"/>
                <a:cs typeface="Times New Roman" panose="02020603050405020304" pitchFamily="18" charset="0"/>
              </a:rPr>
              <a:t>, x</a:t>
            </a:r>
            <a:r>
              <a:rPr lang="en-IN" b="1" i="0" baseline="-25000" dirty="0">
                <a:solidFill>
                  <a:srgbClr val="2B2A29"/>
                </a:solidFill>
                <a:effectLst/>
                <a:latin typeface="Times New Roman" panose="02020603050405020304" pitchFamily="18" charset="0"/>
                <a:cs typeface="Times New Roman" panose="02020603050405020304" pitchFamily="18" charset="0"/>
              </a:rPr>
              <a:t>3</a:t>
            </a:r>
            <a:r>
              <a:rPr lang="en-IN" b="1" i="0" dirty="0">
                <a:solidFill>
                  <a:srgbClr val="2B2A29"/>
                </a:solidFill>
                <a:effectLst/>
                <a:latin typeface="Times New Roman" panose="02020603050405020304" pitchFamily="18" charset="0"/>
                <a:cs typeface="Times New Roman" panose="02020603050405020304" pitchFamily="18" charset="0"/>
              </a:rPr>
              <a:t>,....., </a:t>
            </a:r>
            <a:r>
              <a:rPr lang="en-IN" b="1" i="0" dirty="0" err="1">
                <a:solidFill>
                  <a:srgbClr val="2B2A29"/>
                </a:solidFill>
                <a:effectLst/>
                <a:latin typeface="Times New Roman" panose="02020603050405020304" pitchFamily="18" charset="0"/>
                <a:cs typeface="Times New Roman" panose="02020603050405020304" pitchFamily="18" charset="0"/>
              </a:rPr>
              <a:t>x</a:t>
            </a:r>
            <a:r>
              <a:rPr lang="en-IN" b="1" i="0" baseline="-25000" dirty="0" err="1">
                <a:solidFill>
                  <a:srgbClr val="2B2A29"/>
                </a:solidFill>
                <a:effectLst/>
                <a:latin typeface="Times New Roman" panose="02020603050405020304" pitchFamily="18" charset="0"/>
                <a:cs typeface="Times New Roman" panose="02020603050405020304" pitchFamily="18" charset="0"/>
              </a:rPr>
              <a:t>n</a:t>
            </a:r>
            <a:r>
              <a:rPr lang="en-IN" b="1" i="0" dirty="0">
                <a:solidFill>
                  <a:srgbClr val="2B2A29"/>
                </a:solidFill>
                <a:effectLst/>
                <a:latin typeface="Times New Roman" panose="02020603050405020304" pitchFamily="18" charset="0"/>
                <a:cs typeface="Times New Roman" panose="02020603050405020304" pitchFamily="18" charset="0"/>
              </a:rPr>
              <a:t>]</a:t>
            </a:r>
            <a:endParaRPr lang="en-IN" b="0" i="0" dirty="0">
              <a:solidFill>
                <a:srgbClr val="2B2A29"/>
              </a:solidFill>
              <a:effectLst/>
              <a:latin typeface="Times New Roman" panose="02020603050405020304" pitchFamily="18" charset="0"/>
              <a:cs typeface="Times New Roman" panose="02020603050405020304" pitchFamily="18" charset="0"/>
            </a:endParaRPr>
          </a:p>
          <a:p>
            <a:pPr marL="0" indent="0" algn="just">
              <a:buNone/>
            </a:pPr>
            <a:r>
              <a:rPr lang="en-IN" b="1" i="0" dirty="0">
                <a:solidFill>
                  <a:srgbClr val="2B2A29"/>
                </a:solidFill>
                <a:effectLst/>
                <a:latin typeface="Times New Roman" panose="02020603050405020304" pitchFamily="18" charset="0"/>
                <a:cs typeface="Times New Roman" panose="02020603050405020304" pitchFamily="18" charset="0"/>
              </a:rPr>
              <a:t>= P[x</a:t>
            </a:r>
            <a:r>
              <a:rPr lang="en-IN" b="1" i="0" baseline="-25000" dirty="0">
                <a:solidFill>
                  <a:srgbClr val="2B2A29"/>
                </a:solidFill>
                <a:effectLst/>
                <a:latin typeface="Times New Roman" panose="02020603050405020304" pitchFamily="18" charset="0"/>
                <a:cs typeface="Times New Roman" panose="02020603050405020304" pitchFamily="18" charset="0"/>
              </a:rPr>
              <a:t>1</a:t>
            </a:r>
            <a:r>
              <a:rPr lang="en-IN" b="1" i="0" dirty="0">
                <a:solidFill>
                  <a:srgbClr val="2B2A29"/>
                </a:solidFill>
                <a:effectLst/>
                <a:latin typeface="Times New Roman" panose="02020603050405020304" pitchFamily="18" charset="0"/>
                <a:cs typeface="Times New Roman" panose="02020603050405020304" pitchFamily="18" charset="0"/>
              </a:rPr>
              <a:t>| x</a:t>
            </a:r>
            <a:r>
              <a:rPr lang="en-IN" b="1" i="0" baseline="-25000" dirty="0">
                <a:solidFill>
                  <a:srgbClr val="2B2A29"/>
                </a:solidFill>
                <a:effectLst/>
                <a:latin typeface="Times New Roman" panose="02020603050405020304" pitchFamily="18" charset="0"/>
                <a:cs typeface="Times New Roman" panose="02020603050405020304" pitchFamily="18" charset="0"/>
              </a:rPr>
              <a:t>2</a:t>
            </a:r>
            <a:r>
              <a:rPr lang="en-IN" b="1" i="0" dirty="0">
                <a:solidFill>
                  <a:srgbClr val="2B2A29"/>
                </a:solidFill>
                <a:effectLst/>
                <a:latin typeface="Times New Roman" panose="02020603050405020304" pitchFamily="18" charset="0"/>
                <a:cs typeface="Times New Roman" panose="02020603050405020304" pitchFamily="18" charset="0"/>
              </a:rPr>
              <a:t>, x</a:t>
            </a:r>
            <a:r>
              <a:rPr lang="en-IN" b="1" i="0" baseline="-25000" dirty="0">
                <a:solidFill>
                  <a:srgbClr val="2B2A29"/>
                </a:solidFill>
                <a:effectLst/>
                <a:latin typeface="Times New Roman" panose="02020603050405020304" pitchFamily="18" charset="0"/>
                <a:cs typeface="Times New Roman" panose="02020603050405020304" pitchFamily="18" charset="0"/>
              </a:rPr>
              <a:t>3</a:t>
            </a:r>
            <a:r>
              <a:rPr lang="en-IN" b="1" i="0" dirty="0">
                <a:solidFill>
                  <a:srgbClr val="2B2A29"/>
                </a:solidFill>
                <a:effectLst/>
                <a:latin typeface="Times New Roman" panose="02020603050405020304" pitchFamily="18" charset="0"/>
                <a:cs typeface="Times New Roman" panose="02020603050405020304" pitchFamily="18" charset="0"/>
              </a:rPr>
              <a:t>,....., </a:t>
            </a:r>
            <a:r>
              <a:rPr lang="en-IN" b="1" i="0" dirty="0" err="1">
                <a:solidFill>
                  <a:srgbClr val="2B2A29"/>
                </a:solidFill>
                <a:effectLst/>
                <a:latin typeface="Times New Roman" panose="02020603050405020304" pitchFamily="18" charset="0"/>
                <a:cs typeface="Times New Roman" panose="02020603050405020304" pitchFamily="18" charset="0"/>
              </a:rPr>
              <a:t>x</a:t>
            </a:r>
            <a:r>
              <a:rPr lang="en-IN" b="1" i="0" baseline="-25000" dirty="0" err="1">
                <a:solidFill>
                  <a:srgbClr val="2B2A29"/>
                </a:solidFill>
                <a:effectLst/>
                <a:latin typeface="Times New Roman" panose="02020603050405020304" pitchFamily="18" charset="0"/>
                <a:cs typeface="Times New Roman" panose="02020603050405020304" pitchFamily="18" charset="0"/>
              </a:rPr>
              <a:t>n</a:t>
            </a:r>
            <a:r>
              <a:rPr lang="en-IN" b="1" i="0" dirty="0">
                <a:solidFill>
                  <a:srgbClr val="2B2A29"/>
                </a:solidFill>
                <a:effectLst/>
                <a:latin typeface="Times New Roman" panose="02020603050405020304" pitchFamily="18" charset="0"/>
                <a:cs typeface="Times New Roman" panose="02020603050405020304" pitchFamily="18" charset="0"/>
              </a:rPr>
              <a:t>]P[x</a:t>
            </a:r>
            <a:r>
              <a:rPr lang="en-IN" b="1" i="0" baseline="-25000" dirty="0">
                <a:solidFill>
                  <a:srgbClr val="2B2A29"/>
                </a:solidFill>
                <a:effectLst/>
                <a:latin typeface="Times New Roman" panose="02020603050405020304" pitchFamily="18" charset="0"/>
                <a:cs typeface="Times New Roman" panose="02020603050405020304" pitchFamily="18" charset="0"/>
              </a:rPr>
              <a:t>2</a:t>
            </a:r>
            <a:r>
              <a:rPr lang="en-IN" b="1" i="0" dirty="0">
                <a:solidFill>
                  <a:srgbClr val="2B2A29"/>
                </a:solidFill>
                <a:effectLst/>
                <a:latin typeface="Times New Roman" panose="02020603050405020304" pitchFamily="18" charset="0"/>
                <a:cs typeface="Times New Roman" panose="02020603050405020304" pitchFamily="18" charset="0"/>
              </a:rPr>
              <a:t>|x</a:t>
            </a:r>
            <a:r>
              <a:rPr lang="en-IN" b="1" i="0" baseline="-25000" dirty="0">
                <a:solidFill>
                  <a:srgbClr val="2B2A29"/>
                </a:solidFill>
                <a:effectLst/>
                <a:latin typeface="Times New Roman" panose="02020603050405020304" pitchFamily="18" charset="0"/>
                <a:cs typeface="Times New Roman" panose="02020603050405020304" pitchFamily="18" charset="0"/>
              </a:rPr>
              <a:t>3</a:t>
            </a:r>
            <a:r>
              <a:rPr lang="en-IN" b="1" i="0" dirty="0">
                <a:solidFill>
                  <a:srgbClr val="2B2A29"/>
                </a:solidFill>
                <a:effectLst/>
                <a:latin typeface="Times New Roman" panose="02020603050405020304" pitchFamily="18" charset="0"/>
                <a:cs typeface="Times New Roman" panose="02020603050405020304" pitchFamily="18" charset="0"/>
              </a:rPr>
              <a:t>,....., </a:t>
            </a:r>
            <a:r>
              <a:rPr lang="en-IN" b="1" i="0" dirty="0" err="1">
                <a:solidFill>
                  <a:srgbClr val="2B2A29"/>
                </a:solidFill>
                <a:effectLst/>
                <a:latin typeface="Times New Roman" panose="02020603050405020304" pitchFamily="18" charset="0"/>
                <a:cs typeface="Times New Roman" panose="02020603050405020304" pitchFamily="18" charset="0"/>
              </a:rPr>
              <a:t>x</a:t>
            </a:r>
            <a:r>
              <a:rPr lang="en-IN" b="1" i="0" baseline="-25000" dirty="0" err="1">
                <a:solidFill>
                  <a:srgbClr val="2B2A29"/>
                </a:solidFill>
                <a:effectLst/>
                <a:latin typeface="Times New Roman" panose="02020603050405020304" pitchFamily="18" charset="0"/>
                <a:cs typeface="Times New Roman" panose="02020603050405020304" pitchFamily="18" charset="0"/>
              </a:rPr>
              <a:t>n</a:t>
            </a:r>
            <a:r>
              <a:rPr lang="en-IN" b="1" i="0" dirty="0">
                <a:solidFill>
                  <a:srgbClr val="2B2A29"/>
                </a:solidFill>
                <a:effectLst/>
                <a:latin typeface="Times New Roman" panose="02020603050405020304" pitchFamily="18" charset="0"/>
                <a:cs typeface="Times New Roman" panose="02020603050405020304" pitchFamily="18" charset="0"/>
              </a:rPr>
              <a:t>]....P[x</a:t>
            </a:r>
            <a:r>
              <a:rPr lang="en-IN" b="1" i="0" baseline="-25000" dirty="0">
                <a:solidFill>
                  <a:srgbClr val="2B2A29"/>
                </a:solidFill>
                <a:effectLst/>
                <a:latin typeface="Times New Roman" panose="02020603050405020304" pitchFamily="18" charset="0"/>
                <a:cs typeface="Times New Roman" panose="02020603050405020304" pitchFamily="18" charset="0"/>
              </a:rPr>
              <a:t>n-1</a:t>
            </a:r>
            <a:r>
              <a:rPr lang="en-IN" b="1" i="0" dirty="0">
                <a:solidFill>
                  <a:srgbClr val="2B2A29"/>
                </a:solidFill>
                <a:effectLst/>
                <a:latin typeface="Times New Roman" panose="02020603050405020304" pitchFamily="18" charset="0"/>
                <a:cs typeface="Times New Roman" panose="02020603050405020304" pitchFamily="18" charset="0"/>
              </a:rPr>
              <a:t>|x</a:t>
            </a:r>
            <a:r>
              <a:rPr lang="en-IN" b="1" i="0" baseline="-25000" dirty="0">
                <a:solidFill>
                  <a:srgbClr val="2B2A29"/>
                </a:solidFill>
                <a:effectLst/>
                <a:latin typeface="Times New Roman" panose="02020603050405020304" pitchFamily="18" charset="0"/>
                <a:cs typeface="Times New Roman" panose="02020603050405020304" pitchFamily="18" charset="0"/>
              </a:rPr>
              <a:t>n</a:t>
            </a:r>
            <a:r>
              <a:rPr lang="en-IN" b="1" i="0" dirty="0">
                <a:solidFill>
                  <a:srgbClr val="2B2A29"/>
                </a:solidFill>
                <a:effectLst/>
                <a:latin typeface="Times New Roman" panose="02020603050405020304" pitchFamily="18" charset="0"/>
                <a:cs typeface="Times New Roman" panose="02020603050405020304" pitchFamily="18" charset="0"/>
              </a:rPr>
              <a:t>]P[</a:t>
            </a:r>
            <a:r>
              <a:rPr lang="en-IN" b="1" i="0" dirty="0" err="1">
                <a:solidFill>
                  <a:srgbClr val="2B2A29"/>
                </a:solidFill>
                <a:effectLst/>
                <a:latin typeface="Times New Roman" panose="02020603050405020304" pitchFamily="18" charset="0"/>
                <a:cs typeface="Times New Roman" panose="02020603050405020304" pitchFamily="18" charset="0"/>
              </a:rPr>
              <a:t>x</a:t>
            </a:r>
            <a:r>
              <a:rPr lang="en-IN" b="1" i="0" baseline="-25000" dirty="0" err="1">
                <a:solidFill>
                  <a:srgbClr val="2B2A29"/>
                </a:solidFill>
                <a:effectLst/>
                <a:latin typeface="Times New Roman" panose="02020603050405020304" pitchFamily="18" charset="0"/>
                <a:cs typeface="Times New Roman" panose="02020603050405020304" pitchFamily="18" charset="0"/>
              </a:rPr>
              <a:t>n</a:t>
            </a:r>
            <a:r>
              <a:rPr lang="en-IN" b="1" i="0" dirty="0">
                <a:solidFill>
                  <a:srgbClr val="2B2A29"/>
                </a:solidFill>
                <a:effectLst/>
                <a:latin typeface="Times New Roman" panose="02020603050405020304" pitchFamily="18" charset="0"/>
                <a:cs typeface="Times New Roman" panose="02020603050405020304" pitchFamily="18" charset="0"/>
              </a:rPr>
              <a:t>].</a:t>
            </a:r>
            <a:endParaRPr lang="en-IN" b="0" i="0" dirty="0">
              <a:solidFill>
                <a:srgbClr val="2B2A29"/>
              </a:solidFill>
              <a:effectLst/>
              <a:latin typeface="Times New Roman" panose="02020603050405020304" pitchFamily="18" charset="0"/>
              <a:cs typeface="Times New Roman" panose="02020603050405020304" pitchFamily="18" charset="0"/>
            </a:endParaRPr>
          </a:p>
          <a:p>
            <a:pPr marL="0" indent="0" algn="just">
              <a:buNone/>
            </a:pPr>
            <a:r>
              <a:rPr lang="en-IN" b="0" i="0" dirty="0">
                <a:solidFill>
                  <a:srgbClr val="2B2A29"/>
                </a:solidFill>
                <a:effectLst/>
                <a:latin typeface="Times New Roman" panose="02020603050405020304" pitchFamily="18" charset="0"/>
                <a:cs typeface="Times New Roman" panose="02020603050405020304" pitchFamily="18" charset="0"/>
              </a:rPr>
              <a:t>In general for each variable Xi, we can write the equation as:</a:t>
            </a:r>
          </a:p>
          <a:p>
            <a:pPr marL="0" indent="0" algn="l">
              <a:buNone/>
            </a:pPr>
            <a:br>
              <a:rPr lang="en-IN" b="0" i="0" dirty="0">
                <a:solidFill>
                  <a:srgbClr val="2B2A29"/>
                </a:solidFill>
                <a:effectLst/>
                <a:latin typeface="Times New Roman" panose="02020603050405020304" pitchFamily="18" charset="0"/>
                <a:cs typeface="Times New Roman" panose="02020603050405020304" pitchFamily="18" charset="0"/>
              </a:rPr>
            </a:br>
            <a:endParaRPr lang="en-IN" b="0" i="0" dirty="0">
              <a:solidFill>
                <a:srgbClr val="2B2A29"/>
              </a:solidFill>
              <a:effectLst/>
              <a:latin typeface="Times New Roman" panose="02020603050405020304" pitchFamily="18" charset="0"/>
              <a:cs typeface="Times New Roman" panose="02020603050405020304" pitchFamily="18" charset="0"/>
            </a:endParaRPr>
          </a:p>
          <a:p>
            <a:endParaRPr lang="en-US" dirty="0">
              <a:latin typeface="Times New Roman" panose="02020603050405020304" pitchFamily="18" charset="0"/>
              <a:cs typeface="Times New Roman" panose="02020603050405020304" pitchFamily="18" charset="0"/>
            </a:endParaRPr>
          </a:p>
        </p:txBody>
      </p:sp>
      <p:pic>
        <p:nvPicPr>
          <p:cNvPr id="4" name="Picture 3">
            <a:extLst>
              <a:ext uri="{FF2B5EF4-FFF2-40B4-BE49-F238E27FC236}">
                <a16:creationId xmlns:a16="http://schemas.microsoft.com/office/drawing/2014/main" id="{004C002A-398A-6FBA-FE11-F53EC69A132F}"/>
              </a:ext>
            </a:extLst>
          </p:cNvPr>
          <p:cNvPicPr>
            <a:picLocks noChangeAspect="1"/>
          </p:cNvPicPr>
          <p:nvPr/>
        </p:nvPicPr>
        <p:blipFill>
          <a:blip r:embed="rId2"/>
          <a:stretch>
            <a:fillRect/>
          </a:stretch>
        </p:blipFill>
        <p:spPr>
          <a:xfrm>
            <a:off x="2173287" y="5026025"/>
            <a:ext cx="6273800" cy="635000"/>
          </a:xfrm>
          <a:prstGeom prst="rect">
            <a:avLst/>
          </a:prstGeom>
        </p:spPr>
      </p:pic>
    </p:spTree>
    <p:extLst>
      <p:ext uri="{BB962C8B-B14F-4D97-AF65-F5344CB8AC3E}">
        <p14:creationId xmlns:p14="http://schemas.microsoft.com/office/powerpoint/2010/main" val="159897033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4F8A5B-F06C-80F4-FFCE-45FC91B8D002}"/>
              </a:ext>
            </a:extLst>
          </p:cNvPr>
          <p:cNvSpPr>
            <a:spLocks noGrp="1"/>
          </p:cNvSpPr>
          <p:nvPr>
            <p:ph type="title"/>
          </p:nvPr>
        </p:nvSpPr>
        <p:spPr/>
        <p:txBody>
          <a:bodyPr/>
          <a:lstStyle/>
          <a:p>
            <a:r>
              <a:rPr lang="en-IN" b="1" i="0" dirty="0">
                <a:solidFill>
                  <a:srgbClr val="2B2A29"/>
                </a:solidFill>
                <a:effectLst/>
                <a:latin typeface="montserrat" pitchFamily="2" charset="77"/>
              </a:rPr>
              <a:t>Example:</a:t>
            </a:r>
            <a:r>
              <a:rPr lang="en-IN" b="0" i="0" dirty="0">
                <a:solidFill>
                  <a:srgbClr val="2B2A29"/>
                </a:solidFill>
                <a:effectLst/>
                <a:latin typeface="montserrat" pitchFamily="2" charset="77"/>
              </a:rPr>
              <a:t> </a:t>
            </a:r>
            <a:endParaRPr lang="en-US" dirty="0"/>
          </a:p>
        </p:txBody>
      </p:sp>
      <p:sp>
        <p:nvSpPr>
          <p:cNvPr id="3" name="Content Placeholder 2">
            <a:extLst>
              <a:ext uri="{FF2B5EF4-FFF2-40B4-BE49-F238E27FC236}">
                <a16:creationId xmlns:a16="http://schemas.microsoft.com/office/drawing/2014/main" id="{346C89AB-09FE-ED92-DDCC-105AEE906E4C}"/>
              </a:ext>
            </a:extLst>
          </p:cNvPr>
          <p:cNvSpPr>
            <a:spLocks noGrp="1"/>
          </p:cNvSpPr>
          <p:nvPr>
            <p:ph idx="1"/>
          </p:nvPr>
        </p:nvSpPr>
        <p:spPr/>
        <p:txBody>
          <a:bodyPr>
            <a:normAutofit/>
          </a:bodyPr>
          <a:lstStyle/>
          <a:p>
            <a:r>
              <a:rPr lang="en-IN" b="0" i="0" dirty="0">
                <a:solidFill>
                  <a:srgbClr val="2B2A29"/>
                </a:solidFill>
                <a:effectLst/>
                <a:latin typeface="Times New Roman" panose="02020603050405020304" pitchFamily="18" charset="0"/>
                <a:cs typeface="Times New Roman" panose="02020603050405020304" pitchFamily="18" charset="0"/>
              </a:rPr>
              <a:t>Harry installed a new burglar alarm at his home to detect burglary. The alarm reliably responds at detecting a burglary but also responds for minor earthquakes. Harry has two </a:t>
            </a:r>
            <a:r>
              <a:rPr lang="en-IN" b="0" i="0" dirty="0" err="1">
                <a:solidFill>
                  <a:srgbClr val="2B2A29"/>
                </a:solidFill>
                <a:effectLst/>
                <a:latin typeface="Times New Roman" panose="02020603050405020304" pitchFamily="18" charset="0"/>
                <a:cs typeface="Times New Roman" panose="02020603050405020304" pitchFamily="18" charset="0"/>
              </a:rPr>
              <a:t>neighbors</a:t>
            </a:r>
            <a:r>
              <a:rPr lang="en-IN" b="0" i="0" dirty="0">
                <a:solidFill>
                  <a:srgbClr val="2B2A29"/>
                </a:solidFill>
                <a:effectLst/>
                <a:latin typeface="Times New Roman" panose="02020603050405020304" pitchFamily="18" charset="0"/>
                <a:cs typeface="Times New Roman" panose="02020603050405020304" pitchFamily="18" charset="0"/>
              </a:rPr>
              <a:t> John and Marry, who have taken a responsibility to inform Harry at work when they hear the alarm. </a:t>
            </a:r>
            <a:r>
              <a:rPr lang="en-IN" dirty="0">
                <a:solidFill>
                  <a:srgbClr val="2B2A29"/>
                </a:solidFill>
                <a:latin typeface="Times New Roman" panose="02020603050405020304" pitchFamily="18" charset="0"/>
                <a:cs typeface="Times New Roman" panose="02020603050405020304" pitchFamily="18" charset="0"/>
              </a:rPr>
              <a:t>John</a:t>
            </a:r>
            <a:r>
              <a:rPr lang="en-IN" b="0" i="0" dirty="0">
                <a:solidFill>
                  <a:srgbClr val="2B2A29"/>
                </a:solidFill>
                <a:effectLst/>
                <a:latin typeface="Times New Roman" panose="02020603050405020304" pitchFamily="18" charset="0"/>
                <a:cs typeface="Times New Roman" panose="02020603050405020304" pitchFamily="18" charset="0"/>
              </a:rPr>
              <a:t> always calls Harry when he hears the alarm, but sometimes he got confused with the phone ringing and calls at that time too. On the other hand, Marry likes to listen to high music, so sometimes she misses to hear the alarm. Here we would like to compute the probability of Burglary Alarm.</a:t>
            </a:r>
            <a:endParaRPr lang="en-US"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35395726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B35E296-0C35-DC0E-D973-E8503BA206B2}"/>
              </a:ext>
            </a:extLst>
          </p:cNvPr>
          <p:cNvSpPr>
            <a:spLocks noGrp="1"/>
          </p:cNvSpPr>
          <p:nvPr>
            <p:ph idx="1"/>
          </p:nvPr>
        </p:nvSpPr>
        <p:spPr>
          <a:xfrm>
            <a:off x="313151" y="450937"/>
            <a:ext cx="11040649" cy="6135240"/>
          </a:xfrm>
        </p:spPr>
        <p:txBody>
          <a:bodyPr/>
          <a:lstStyle/>
          <a:p>
            <a:pPr marL="0" indent="0">
              <a:buNone/>
            </a:pPr>
            <a:r>
              <a:rPr lang="en-IN" dirty="0">
                <a:effectLst/>
                <a:latin typeface="Times New Roman" panose="02020603050405020304" pitchFamily="18" charset="0"/>
                <a:cs typeface="Times New Roman" panose="02020603050405020304" pitchFamily="18" charset="0"/>
              </a:rPr>
              <a:t> Calculate the probability that the </a:t>
            </a:r>
            <a:r>
              <a:rPr lang="en-IN" dirty="0">
                <a:effectLst/>
                <a:highlight>
                  <a:srgbClr val="00FF00"/>
                </a:highlight>
                <a:latin typeface="Times New Roman" panose="02020603050405020304" pitchFamily="18" charset="0"/>
                <a:cs typeface="Times New Roman" panose="02020603050405020304" pitchFamily="18" charset="0"/>
              </a:rPr>
              <a:t>alarm has sounded</a:t>
            </a:r>
            <a:r>
              <a:rPr lang="en-IN" dirty="0">
                <a:effectLst/>
                <a:latin typeface="Times New Roman" panose="02020603050405020304" pitchFamily="18" charset="0"/>
                <a:cs typeface="Times New Roman" panose="02020603050405020304" pitchFamily="18" charset="0"/>
              </a:rPr>
              <a:t>, but there </a:t>
            </a:r>
            <a:r>
              <a:rPr lang="en-IN" dirty="0">
                <a:effectLst/>
                <a:highlight>
                  <a:srgbClr val="00FF00"/>
                </a:highlight>
                <a:latin typeface="Times New Roman" panose="02020603050405020304" pitchFamily="18" charset="0"/>
                <a:cs typeface="Times New Roman" panose="02020603050405020304" pitchFamily="18" charset="0"/>
              </a:rPr>
              <a:t>is neither a burglary nor</a:t>
            </a:r>
            <a:r>
              <a:rPr lang="en-IN" dirty="0">
                <a:highlight>
                  <a:srgbClr val="00FF00"/>
                </a:highlight>
                <a:latin typeface="Times New Roman" panose="02020603050405020304" pitchFamily="18" charset="0"/>
                <a:cs typeface="Times New Roman" panose="02020603050405020304" pitchFamily="18" charset="0"/>
              </a:rPr>
              <a:t> </a:t>
            </a:r>
            <a:r>
              <a:rPr lang="en-IN" dirty="0">
                <a:effectLst/>
                <a:highlight>
                  <a:srgbClr val="00FF00"/>
                </a:highlight>
                <a:latin typeface="Times New Roman" panose="02020603050405020304" pitchFamily="18" charset="0"/>
                <a:cs typeface="Times New Roman" panose="02020603050405020304" pitchFamily="18" charset="0"/>
              </a:rPr>
              <a:t>an earthquake</a:t>
            </a:r>
            <a:r>
              <a:rPr lang="en-IN" dirty="0">
                <a:effectLst/>
                <a:latin typeface="Times New Roman" panose="02020603050405020304" pitchFamily="18" charset="0"/>
                <a:cs typeface="Times New Roman" panose="02020603050405020304" pitchFamily="18" charset="0"/>
              </a:rPr>
              <a:t>, and </a:t>
            </a:r>
            <a:r>
              <a:rPr lang="en-IN" dirty="0">
                <a:effectLst/>
                <a:highlight>
                  <a:srgbClr val="00FF00"/>
                </a:highlight>
                <a:latin typeface="Times New Roman" panose="02020603050405020304" pitchFamily="18" charset="0"/>
                <a:cs typeface="Times New Roman" panose="02020603050405020304" pitchFamily="18" charset="0"/>
              </a:rPr>
              <a:t>both</a:t>
            </a:r>
            <a:r>
              <a:rPr lang="en-IN" dirty="0">
                <a:effectLst/>
                <a:latin typeface="Times New Roman" panose="02020603050405020304" pitchFamily="18" charset="0"/>
                <a:cs typeface="Times New Roman" panose="02020603050405020304" pitchFamily="18" charset="0"/>
              </a:rPr>
              <a:t> John and </a:t>
            </a:r>
            <a:r>
              <a:rPr lang="en-IN" dirty="0">
                <a:latin typeface="Times New Roman" panose="02020603050405020304" pitchFamily="18" charset="0"/>
                <a:cs typeface="Times New Roman" panose="02020603050405020304" pitchFamily="18" charset="0"/>
              </a:rPr>
              <a:t>Marry</a:t>
            </a:r>
            <a:r>
              <a:rPr lang="en-IN" dirty="0">
                <a:effectLst/>
                <a:latin typeface="Times New Roman" panose="02020603050405020304" pitchFamily="18" charset="0"/>
                <a:cs typeface="Times New Roman" panose="02020603050405020304" pitchFamily="18" charset="0"/>
              </a:rPr>
              <a:t> </a:t>
            </a:r>
            <a:r>
              <a:rPr lang="en-IN" dirty="0">
                <a:effectLst/>
                <a:highlight>
                  <a:srgbClr val="00FF00"/>
                </a:highlight>
                <a:latin typeface="Times New Roman" panose="02020603050405020304" pitchFamily="18" charset="0"/>
                <a:cs typeface="Times New Roman" panose="02020603050405020304" pitchFamily="18" charset="0"/>
              </a:rPr>
              <a:t>called </a:t>
            </a:r>
            <a:r>
              <a:rPr lang="en-IN" dirty="0">
                <a:effectLst/>
                <a:latin typeface="Times New Roman" panose="02020603050405020304" pitchFamily="18" charset="0"/>
                <a:cs typeface="Times New Roman" panose="02020603050405020304" pitchFamily="18" charset="0"/>
              </a:rPr>
              <a:t>Harry. </a:t>
            </a:r>
          </a:p>
          <a:p>
            <a:pPr>
              <a:buFont typeface="+mj-lt"/>
              <a:buAutoNum type="arabicPeriod"/>
            </a:pPr>
            <a:r>
              <a:rPr lang="en-IN" sz="2400" dirty="0">
                <a:effectLst/>
                <a:latin typeface="Times New Roman" panose="02020603050405020304" pitchFamily="18" charset="0"/>
                <a:cs typeface="Times New Roman" panose="02020603050405020304" pitchFamily="18" charset="0"/>
              </a:rPr>
              <a:t>Bayesian Network Structure: </a:t>
            </a:r>
          </a:p>
          <a:p>
            <a:pPr marL="742950" lvl="1" indent="-285750">
              <a:buFont typeface="Arial" panose="020B0604020202020204" pitchFamily="34" charset="0"/>
              <a:buChar char="•"/>
            </a:pPr>
            <a:r>
              <a:rPr lang="en-IN" dirty="0">
                <a:effectLst/>
                <a:latin typeface="Times New Roman" panose="02020603050405020304" pitchFamily="18" charset="0"/>
                <a:cs typeface="Times New Roman" panose="02020603050405020304" pitchFamily="18" charset="0"/>
              </a:rPr>
              <a:t>  Burglary (B) and Earthquake (E) influence the Alarm (A). </a:t>
            </a:r>
          </a:p>
          <a:p>
            <a:pPr marL="742950" lvl="1" indent="-285750">
              <a:buFont typeface="Arial" panose="020B0604020202020204" pitchFamily="34" charset="0"/>
              <a:buChar char="•"/>
            </a:pPr>
            <a:r>
              <a:rPr lang="en-IN" dirty="0">
                <a:effectLst/>
                <a:latin typeface="Times New Roman" panose="02020603050405020304" pitchFamily="18" charset="0"/>
                <a:cs typeface="Times New Roman" panose="02020603050405020304" pitchFamily="18" charset="0"/>
              </a:rPr>
              <a:t>  Alarm (A) influences </a:t>
            </a:r>
            <a:r>
              <a:rPr lang="en-IN" dirty="0">
                <a:latin typeface="Times New Roman" panose="02020603050405020304" pitchFamily="18" charset="0"/>
                <a:cs typeface="Times New Roman" panose="02020603050405020304" pitchFamily="18" charset="0"/>
              </a:rPr>
              <a:t>John</a:t>
            </a:r>
            <a:r>
              <a:rPr lang="en-IN" dirty="0">
                <a:effectLst/>
                <a:latin typeface="Times New Roman" panose="02020603050405020304" pitchFamily="18" charset="0"/>
                <a:cs typeface="Times New Roman" panose="02020603050405020304" pitchFamily="18" charset="0"/>
              </a:rPr>
              <a:t> Calls (J) and </a:t>
            </a:r>
            <a:r>
              <a:rPr lang="en-IN" dirty="0">
                <a:latin typeface="Times New Roman" panose="02020603050405020304" pitchFamily="18" charset="0"/>
                <a:cs typeface="Times New Roman" panose="02020603050405020304" pitchFamily="18" charset="0"/>
              </a:rPr>
              <a:t>Marry</a:t>
            </a:r>
            <a:r>
              <a:rPr lang="en-IN" dirty="0">
                <a:effectLst/>
                <a:latin typeface="Times New Roman" panose="02020603050405020304" pitchFamily="18" charset="0"/>
                <a:cs typeface="Times New Roman" panose="02020603050405020304" pitchFamily="18" charset="0"/>
              </a:rPr>
              <a:t> Calls (M). </a:t>
            </a:r>
          </a:p>
          <a:p>
            <a:pPr marL="742950" lvl="1" indent="-285750">
              <a:buFont typeface="Arial" panose="020B0604020202020204" pitchFamily="34" charset="0"/>
              <a:buChar char="•"/>
            </a:pPr>
            <a:r>
              <a:rPr lang="en-IN" dirty="0">
                <a:effectLst/>
                <a:latin typeface="Times New Roman" panose="02020603050405020304" pitchFamily="18" charset="0"/>
                <a:cs typeface="Times New Roman" panose="02020603050405020304" pitchFamily="18" charset="0"/>
              </a:rPr>
              <a:t>Conditional Probability Tables (CPTs): </a:t>
            </a:r>
          </a:p>
          <a:p>
            <a:r>
              <a:rPr lang="en-IN" sz="2400" dirty="0">
                <a:effectLst/>
                <a:latin typeface="Times New Roman" panose="02020603050405020304" pitchFamily="18" charset="0"/>
                <a:cs typeface="Times New Roman" panose="02020603050405020304" pitchFamily="18" charset="0"/>
              </a:rPr>
              <a:t>1. Burglary (B): </a:t>
            </a:r>
          </a:p>
          <a:p>
            <a:r>
              <a:rPr lang="en-IN" sz="2400" dirty="0">
                <a:effectLst/>
                <a:latin typeface="Times New Roman" panose="02020603050405020304" pitchFamily="18" charset="0"/>
                <a:cs typeface="Times New Roman" panose="02020603050405020304" pitchFamily="18" charset="0"/>
              </a:rPr>
              <a:t>o P (B=True)=0.002 </a:t>
            </a:r>
          </a:p>
          <a:p>
            <a:r>
              <a:rPr lang="en-IN" sz="2400" dirty="0">
                <a:effectLst/>
                <a:latin typeface="Times New Roman" panose="02020603050405020304" pitchFamily="18" charset="0"/>
                <a:cs typeface="Times New Roman" panose="02020603050405020304" pitchFamily="18" charset="0"/>
              </a:rPr>
              <a:t>o P(B=False) =0.998 2. Earthquake (E): </a:t>
            </a:r>
          </a:p>
          <a:p>
            <a:r>
              <a:rPr lang="en-IN" sz="2400" dirty="0">
                <a:effectLst/>
                <a:latin typeface="Times New Roman" panose="02020603050405020304" pitchFamily="18" charset="0"/>
                <a:cs typeface="Times New Roman" panose="02020603050405020304" pitchFamily="18" charset="0"/>
              </a:rPr>
              <a:t>o P(E=True) =0.001 o P(E=False)=0.999 </a:t>
            </a:r>
          </a:p>
          <a:p>
            <a:pPr marL="0" indent="0">
              <a:buNone/>
            </a:pPr>
            <a:endParaRPr lang="en-US" dirty="0"/>
          </a:p>
        </p:txBody>
      </p:sp>
      <mc:AlternateContent xmlns:mc="http://schemas.openxmlformats.org/markup-compatibility/2006" xmlns:p14="http://schemas.microsoft.com/office/powerpoint/2010/main">
        <mc:Choice Requires="p14">
          <p:contentPart p14:bwMode="auto" r:id="rId2">
            <p14:nvContentPartPr>
              <p14:cNvPr id="2" name="Ink 1">
                <a:extLst>
                  <a:ext uri="{FF2B5EF4-FFF2-40B4-BE49-F238E27FC236}">
                    <a16:creationId xmlns:a16="http://schemas.microsoft.com/office/drawing/2014/main" id="{3A60F0B3-E2BE-0AD0-86CA-C6B6A00C5052}"/>
                  </a:ext>
                </a:extLst>
              </p14:cNvPr>
              <p14:cNvContentPartPr/>
              <p14:nvPr/>
            </p14:nvContentPartPr>
            <p14:xfrm>
              <a:off x="1207822" y="-507533"/>
              <a:ext cx="360" cy="360"/>
            </p14:xfrm>
          </p:contentPart>
        </mc:Choice>
        <mc:Fallback xmlns="">
          <p:pic>
            <p:nvPicPr>
              <p:cNvPr id="2" name="Ink 1">
                <a:extLst>
                  <a:ext uri="{FF2B5EF4-FFF2-40B4-BE49-F238E27FC236}">
                    <a16:creationId xmlns:a16="http://schemas.microsoft.com/office/drawing/2014/main" id="{3A60F0B3-E2BE-0AD0-86CA-C6B6A00C5052}"/>
                  </a:ext>
                </a:extLst>
              </p:cNvPr>
              <p:cNvPicPr/>
              <p:nvPr/>
            </p:nvPicPr>
            <p:blipFill>
              <a:blip r:embed="rId3"/>
              <a:stretch>
                <a:fillRect/>
              </a:stretch>
            </p:blipFill>
            <p:spPr>
              <a:xfrm>
                <a:off x="1201702" y="-513653"/>
                <a:ext cx="12600" cy="12600"/>
              </a:xfrm>
              <a:prstGeom prst="rect">
                <a:avLst/>
              </a:prstGeom>
            </p:spPr>
          </p:pic>
        </mc:Fallback>
      </mc:AlternateContent>
    </p:spTree>
    <p:extLst>
      <p:ext uri="{BB962C8B-B14F-4D97-AF65-F5344CB8AC3E}">
        <p14:creationId xmlns:p14="http://schemas.microsoft.com/office/powerpoint/2010/main" val="351343415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p14="http://schemas.microsoft.com/office/powerpoint/2010/main">
        <mc:Choice Requires="p14">
          <p:contentPart p14:bwMode="auto" r:id="rId2">
            <p14:nvContentPartPr>
              <p14:cNvPr id="6" name="Ink 5">
                <a:extLst>
                  <a:ext uri="{FF2B5EF4-FFF2-40B4-BE49-F238E27FC236}">
                    <a16:creationId xmlns:a16="http://schemas.microsoft.com/office/drawing/2014/main" id="{CFDAC104-9784-2EC3-CD56-0DE78032CAD5}"/>
                  </a:ext>
                </a:extLst>
              </p14:cNvPr>
              <p14:cNvContentPartPr/>
              <p14:nvPr/>
            </p14:nvContentPartPr>
            <p14:xfrm>
              <a:off x="3888022" y="5383147"/>
              <a:ext cx="290880" cy="55080"/>
            </p14:xfrm>
          </p:contentPart>
        </mc:Choice>
        <mc:Fallback xmlns="">
          <p:pic>
            <p:nvPicPr>
              <p:cNvPr id="6" name="Ink 5">
                <a:extLst>
                  <a:ext uri="{FF2B5EF4-FFF2-40B4-BE49-F238E27FC236}">
                    <a16:creationId xmlns:a16="http://schemas.microsoft.com/office/drawing/2014/main" id="{CFDAC104-9784-2EC3-CD56-0DE78032CAD5}"/>
                  </a:ext>
                </a:extLst>
              </p:cNvPr>
              <p:cNvPicPr/>
              <p:nvPr/>
            </p:nvPicPr>
            <p:blipFill>
              <a:blip r:embed="rId3"/>
              <a:stretch>
                <a:fillRect/>
              </a:stretch>
            </p:blipFill>
            <p:spPr>
              <a:xfrm>
                <a:off x="3881902" y="5377027"/>
                <a:ext cx="303120" cy="67320"/>
              </a:xfrm>
              <a:prstGeom prst="rect">
                <a:avLst/>
              </a:prstGeom>
            </p:spPr>
          </p:pic>
        </mc:Fallback>
      </mc:AlternateContent>
      <mc:AlternateContent xmlns:mc="http://schemas.openxmlformats.org/markup-compatibility/2006" xmlns:p14="http://schemas.microsoft.com/office/powerpoint/2010/main">
        <mc:Choice Requires="p14">
          <p:contentPart p14:bwMode="auto" r:id="rId4">
            <p14:nvContentPartPr>
              <p14:cNvPr id="7" name="Ink 6">
                <a:extLst>
                  <a:ext uri="{FF2B5EF4-FFF2-40B4-BE49-F238E27FC236}">
                    <a16:creationId xmlns:a16="http://schemas.microsoft.com/office/drawing/2014/main" id="{23E64CEA-34B1-12D3-F364-D3B7592F430D}"/>
                  </a:ext>
                </a:extLst>
              </p14:cNvPr>
              <p14:cNvContentPartPr/>
              <p14:nvPr/>
            </p14:nvContentPartPr>
            <p14:xfrm>
              <a:off x="7784662" y="3929467"/>
              <a:ext cx="360" cy="360"/>
            </p14:xfrm>
          </p:contentPart>
        </mc:Choice>
        <mc:Fallback xmlns="">
          <p:pic>
            <p:nvPicPr>
              <p:cNvPr id="7" name="Ink 6">
                <a:extLst>
                  <a:ext uri="{FF2B5EF4-FFF2-40B4-BE49-F238E27FC236}">
                    <a16:creationId xmlns:a16="http://schemas.microsoft.com/office/drawing/2014/main" id="{23E64CEA-34B1-12D3-F364-D3B7592F430D}"/>
                  </a:ext>
                </a:extLst>
              </p:cNvPr>
              <p:cNvPicPr/>
              <p:nvPr/>
            </p:nvPicPr>
            <p:blipFill>
              <a:blip r:embed="rId5"/>
              <a:stretch>
                <a:fillRect/>
              </a:stretch>
            </p:blipFill>
            <p:spPr>
              <a:xfrm>
                <a:off x="7778542" y="3923347"/>
                <a:ext cx="12600" cy="12600"/>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8" name="Ink 7">
                <a:extLst>
                  <a:ext uri="{FF2B5EF4-FFF2-40B4-BE49-F238E27FC236}">
                    <a16:creationId xmlns:a16="http://schemas.microsoft.com/office/drawing/2014/main" id="{7A0B96D6-E2E7-39C2-05BE-731469C8512B}"/>
                  </a:ext>
                </a:extLst>
              </p14:cNvPr>
              <p14:cNvContentPartPr/>
              <p14:nvPr/>
            </p14:nvContentPartPr>
            <p14:xfrm>
              <a:off x="5397502" y="1472107"/>
              <a:ext cx="360" cy="360"/>
            </p14:xfrm>
          </p:contentPart>
        </mc:Choice>
        <mc:Fallback xmlns="">
          <p:pic>
            <p:nvPicPr>
              <p:cNvPr id="8" name="Ink 7">
                <a:extLst>
                  <a:ext uri="{FF2B5EF4-FFF2-40B4-BE49-F238E27FC236}">
                    <a16:creationId xmlns:a16="http://schemas.microsoft.com/office/drawing/2014/main" id="{7A0B96D6-E2E7-39C2-05BE-731469C8512B}"/>
                  </a:ext>
                </a:extLst>
              </p:cNvPr>
              <p:cNvPicPr/>
              <p:nvPr/>
            </p:nvPicPr>
            <p:blipFill>
              <a:blip r:embed="rId5"/>
              <a:stretch>
                <a:fillRect/>
              </a:stretch>
            </p:blipFill>
            <p:spPr>
              <a:xfrm>
                <a:off x="5391382" y="1465987"/>
                <a:ext cx="12600" cy="12600"/>
              </a:xfrm>
              <a:prstGeom prst="rect">
                <a:avLst/>
              </a:prstGeom>
            </p:spPr>
          </p:pic>
        </mc:Fallback>
      </mc:AlternateContent>
      <mc:AlternateContent xmlns:mc="http://schemas.openxmlformats.org/markup-compatibility/2006" xmlns:p14="http://schemas.microsoft.com/office/powerpoint/2010/main">
        <mc:Choice Requires="p14">
          <p:contentPart p14:bwMode="auto" r:id="rId7">
            <p14:nvContentPartPr>
              <p14:cNvPr id="9" name="Ink 8">
                <a:extLst>
                  <a:ext uri="{FF2B5EF4-FFF2-40B4-BE49-F238E27FC236}">
                    <a16:creationId xmlns:a16="http://schemas.microsoft.com/office/drawing/2014/main" id="{E417F85E-DC5C-EEB1-2F42-6A47218769DB}"/>
                  </a:ext>
                </a:extLst>
              </p14:cNvPr>
              <p14:cNvContentPartPr/>
              <p14:nvPr/>
            </p14:nvContentPartPr>
            <p14:xfrm>
              <a:off x="2467102" y="3319987"/>
              <a:ext cx="360" cy="360"/>
            </p14:xfrm>
          </p:contentPart>
        </mc:Choice>
        <mc:Fallback xmlns="">
          <p:pic>
            <p:nvPicPr>
              <p:cNvPr id="9" name="Ink 8">
                <a:extLst>
                  <a:ext uri="{FF2B5EF4-FFF2-40B4-BE49-F238E27FC236}">
                    <a16:creationId xmlns:a16="http://schemas.microsoft.com/office/drawing/2014/main" id="{E417F85E-DC5C-EEB1-2F42-6A47218769DB}"/>
                  </a:ext>
                </a:extLst>
              </p:cNvPr>
              <p:cNvPicPr/>
              <p:nvPr/>
            </p:nvPicPr>
            <p:blipFill>
              <a:blip r:embed="rId5"/>
              <a:stretch>
                <a:fillRect/>
              </a:stretch>
            </p:blipFill>
            <p:spPr>
              <a:xfrm>
                <a:off x="2460982" y="3313867"/>
                <a:ext cx="12600" cy="12600"/>
              </a:xfrm>
              <a:prstGeom prst="rect">
                <a:avLst/>
              </a:prstGeom>
            </p:spPr>
          </p:pic>
        </mc:Fallback>
      </mc:AlternateContent>
      <mc:AlternateContent xmlns:mc="http://schemas.openxmlformats.org/markup-compatibility/2006" xmlns:p14="http://schemas.microsoft.com/office/powerpoint/2010/main">
        <mc:Choice Requires="p14">
          <p:contentPart p14:bwMode="auto" r:id="rId8">
            <p14:nvContentPartPr>
              <p14:cNvPr id="10" name="Ink 9">
                <a:extLst>
                  <a:ext uri="{FF2B5EF4-FFF2-40B4-BE49-F238E27FC236}">
                    <a16:creationId xmlns:a16="http://schemas.microsoft.com/office/drawing/2014/main" id="{56D0428B-A9EF-BC59-765F-1556C5751B17}"/>
                  </a:ext>
                </a:extLst>
              </p14:cNvPr>
              <p14:cNvContentPartPr/>
              <p14:nvPr/>
            </p14:nvContentPartPr>
            <p14:xfrm>
              <a:off x="2457022" y="3408907"/>
              <a:ext cx="360" cy="360"/>
            </p14:xfrm>
          </p:contentPart>
        </mc:Choice>
        <mc:Fallback xmlns="">
          <p:pic>
            <p:nvPicPr>
              <p:cNvPr id="10" name="Ink 9">
                <a:extLst>
                  <a:ext uri="{FF2B5EF4-FFF2-40B4-BE49-F238E27FC236}">
                    <a16:creationId xmlns:a16="http://schemas.microsoft.com/office/drawing/2014/main" id="{56D0428B-A9EF-BC59-765F-1556C5751B17}"/>
                  </a:ext>
                </a:extLst>
              </p:cNvPr>
              <p:cNvPicPr/>
              <p:nvPr/>
            </p:nvPicPr>
            <p:blipFill>
              <a:blip r:embed="rId5"/>
              <a:stretch>
                <a:fillRect/>
              </a:stretch>
            </p:blipFill>
            <p:spPr>
              <a:xfrm>
                <a:off x="2450902" y="3402787"/>
                <a:ext cx="12600" cy="12600"/>
              </a:xfrm>
              <a:prstGeom prst="rect">
                <a:avLst/>
              </a:prstGeom>
            </p:spPr>
          </p:pic>
        </mc:Fallback>
      </mc:AlternateContent>
      <p:pic>
        <p:nvPicPr>
          <p:cNvPr id="1028" name="Picture 4">
            <a:extLst>
              <a:ext uri="{FF2B5EF4-FFF2-40B4-BE49-F238E27FC236}">
                <a16:creationId xmlns:a16="http://schemas.microsoft.com/office/drawing/2014/main" id="{9E1E209F-DF72-EFB8-65F2-3B996FBA40B6}"/>
              </a:ext>
            </a:extLst>
          </p:cNvPr>
          <p:cNvPicPr>
            <a:picLocks noGrp="1" noChangeAspect="1" noChangeArrowheads="1"/>
          </p:cNvPicPr>
          <p:nvPr>
            <p:ph idx="1"/>
          </p:nvPr>
        </p:nvPicPr>
        <p:blipFill>
          <a:blip r:embed="rId9">
            <a:extLst>
              <a:ext uri="{28A0092B-C50C-407E-A947-70E740481C1C}">
                <a14:useLocalDpi xmlns:a14="http://schemas.microsoft.com/office/drawing/2010/main" val="0"/>
              </a:ext>
            </a:extLst>
          </a:blip>
          <a:srcRect/>
          <a:stretch>
            <a:fillRect/>
          </a:stretch>
        </p:blipFill>
        <p:spPr bwMode="auto">
          <a:xfrm>
            <a:off x="414338" y="114300"/>
            <a:ext cx="10772775" cy="6357938"/>
          </a:xfrm>
          <a:prstGeom prst="rect">
            <a:avLst/>
          </a:prstGeom>
          <a:noFill/>
          <a:extLst>
            <a:ext uri="{909E8E84-426E-40DD-AFC4-6F175D3DCCD1}">
              <a14:hiddenFill xmlns:a14="http://schemas.microsoft.com/office/drawing/2010/main">
                <a:solidFill>
                  <a:srgbClr val="FFFFFF"/>
                </a:solidFill>
              </a14:hiddenFill>
            </a:ext>
          </a:extLst>
        </p:spPr>
      </p:pic>
      <mc:AlternateContent xmlns:mc="http://schemas.openxmlformats.org/markup-compatibility/2006" xmlns:p14="http://schemas.microsoft.com/office/powerpoint/2010/main">
        <mc:Choice Requires="p14">
          <p:contentPart p14:bwMode="auto" r:id="rId10">
            <p14:nvContentPartPr>
              <p14:cNvPr id="38" name="Ink 37">
                <a:extLst>
                  <a:ext uri="{FF2B5EF4-FFF2-40B4-BE49-F238E27FC236}">
                    <a16:creationId xmlns:a16="http://schemas.microsoft.com/office/drawing/2014/main" id="{3626F8DF-8E88-DB8E-9B11-55CF7918CB73}"/>
                  </a:ext>
                </a:extLst>
              </p14:cNvPr>
              <p14:cNvContentPartPr/>
              <p14:nvPr/>
            </p14:nvContentPartPr>
            <p14:xfrm>
              <a:off x="1482502" y="4861147"/>
              <a:ext cx="167760" cy="405000"/>
            </p14:xfrm>
          </p:contentPart>
        </mc:Choice>
        <mc:Fallback xmlns="">
          <p:pic>
            <p:nvPicPr>
              <p:cNvPr id="38" name="Ink 37">
                <a:extLst>
                  <a:ext uri="{FF2B5EF4-FFF2-40B4-BE49-F238E27FC236}">
                    <a16:creationId xmlns:a16="http://schemas.microsoft.com/office/drawing/2014/main" id="{3626F8DF-8E88-DB8E-9B11-55CF7918CB73}"/>
                  </a:ext>
                </a:extLst>
              </p:cNvPr>
              <p:cNvPicPr/>
              <p:nvPr/>
            </p:nvPicPr>
            <p:blipFill>
              <a:blip r:embed="rId11"/>
              <a:stretch>
                <a:fillRect/>
              </a:stretch>
            </p:blipFill>
            <p:spPr>
              <a:xfrm>
                <a:off x="1476382" y="4855027"/>
                <a:ext cx="180000" cy="417240"/>
              </a:xfrm>
              <a:prstGeom prst="rect">
                <a:avLst/>
              </a:prstGeom>
            </p:spPr>
          </p:pic>
        </mc:Fallback>
      </mc:AlternateContent>
      <mc:AlternateContent xmlns:mc="http://schemas.openxmlformats.org/markup-compatibility/2006" xmlns:p14="http://schemas.microsoft.com/office/powerpoint/2010/main">
        <mc:Choice Requires="p14">
          <p:contentPart p14:bwMode="auto" r:id="rId12">
            <p14:nvContentPartPr>
              <p14:cNvPr id="39" name="Ink 38">
                <a:extLst>
                  <a:ext uri="{FF2B5EF4-FFF2-40B4-BE49-F238E27FC236}">
                    <a16:creationId xmlns:a16="http://schemas.microsoft.com/office/drawing/2014/main" id="{0BADBC7E-4A91-A3F6-2D66-C7FDEB8C6ED8}"/>
                  </a:ext>
                </a:extLst>
              </p14:cNvPr>
              <p14:cNvContentPartPr/>
              <p14:nvPr/>
            </p14:nvContentPartPr>
            <p14:xfrm>
              <a:off x="1810822" y="4851067"/>
              <a:ext cx="83160" cy="460440"/>
            </p14:xfrm>
          </p:contentPart>
        </mc:Choice>
        <mc:Fallback xmlns="">
          <p:pic>
            <p:nvPicPr>
              <p:cNvPr id="39" name="Ink 38">
                <a:extLst>
                  <a:ext uri="{FF2B5EF4-FFF2-40B4-BE49-F238E27FC236}">
                    <a16:creationId xmlns:a16="http://schemas.microsoft.com/office/drawing/2014/main" id="{0BADBC7E-4A91-A3F6-2D66-C7FDEB8C6ED8}"/>
                  </a:ext>
                </a:extLst>
              </p:cNvPr>
              <p:cNvPicPr/>
              <p:nvPr/>
            </p:nvPicPr>
            <p:blipFill>
              <a:blip r:embed="rId13"/>
              <a:stretch>
                <a:fillRect/>
              </a:stretch>
            </p:blipFill>
            <p:spPr>
              <a:xfrm>
                <a:off x="1804702" y="4844947"/>
                <a:ext cx="95400" cy="472680"/>
              </a:xfrm>
              <a:prstGeom prst="rect">
                <a:avLst/>
              </a:prstGeom>
            </p:spPr>
          </p:pic>
        </mc:Fallback>
      </mc:AlternateContent>
      <mc:AlternateContent xmlns:mc="http://schemas.openxmlformats.org/markup-compatibility/2006" xmlns:p14="http://schemas.microsoft.com/office/powerpoint/2010/main">
        <mc:Choice Requires="p14">
          <p:contentPart p14:bwMode="auto" r:id="rId14">
            <p14:nvContentPartPr>
              <p14:cNvPr id="1036" name="Ink 1035">
                <a:extLst>
                  <a:ext uri="{FF2B5EF4-FFF2-40B4-BE49-F238E27FC236}">
                    <a16:creationId xmlns:a16="http://schemas.microsoft.com/office/drawing/2014/main" id="{FBE161F9-9703-8B7D-9416-34A1A7508D24}"/>
                  </a:ext>
                </a:extLst>
              </p14:cNvPr>
              <p14:cNvContentPartPr/>
              <p14:nvPr/>
            </p14:nvContentPartPr>
            <p14:xfrm>
              <a:off x="3721702" y="4965547"/>
              <a:ext cx="136800" cy="356040"/>
            </p14:xfrm>
          </p:contentPart>
        </mc:Choice>
        <mc:Fallback xmlns="">
          <p:pic>
            <p:nvPicPr>
              <p:cNvPr id="1036" name="Ink 1035">
                <a:extLst>
                  <a:ext uri="{FF2B5EF4-FFF2-40B4-BE49-F238E27FC236}">
                    <a16:creationId xmlns:a16="http://schemas.microsoft.com/office/drawing/2014/main" id="{FBE161F9-9703-8B7D-9416-34A1A7508D24}"/>
                  </a:ext>
                </a:extLst>
              </p:cNvPr>
              <p:cNvPicPr/>
              <p:nvPr/>
            </p:nvPicPr>
            <p:blipFill>
              <a:blip r:embed="rId15"/>
              <a:stretch>
                <a:fillRect/>
              </a:stretch>
            </p:blipFill>
            <p:spPr>
              <a:xfrm>
                <a:off x="3715582" y="4959427"/>
                <a:ext cx="149040" cy="368280"/>
              </a:xfrm>
              <a:prstGeom prst="rect">
                <a:avLst/>
              </a:prstGeom>
            </p:spPr>
          </p:pic>
        </mc:Fallback>
      </mc:AlternateContent>
      <p:grpSp>
        <p:nvGrpSpPr>
          <p:cNvPr id="1051" name="Group 1050">
            <a:extLst>
              <a:ext uri="{FF2B5EF4-FFF2-40B4-BE49-F238E27FC236}">
                <a16:creationId xmlns:a16="http://schemas.microsoft.com/office/drawing/2014/main" id="{AD7CA5EE-E222-3630-EB20-365E15C6621B}"/>
              </a:ext>
            </a:extLst>
          </p:cNvPr>
          <p:cNvGrpSpPr/>
          <p:nvPr/>
        </p:nvGrpSpPr>
        <p:grpSpPr>
          <a:xfrm>
            <a:off x="1945102" y="4737307"/>
            <a:ext cx="1679040" cy="1375560"/>
            <a:chOff x="1945102" y="4737307"/>
            <a:chExt cx="1679040" cy="1375560"/>
          </a:xfrm>
        </p:grpSpPr>
        <mc:AlternateContent xmlns:mc="http://schemas.openxmlformats.org/markup-compatibility/2006" xmlns:p14="http://schemas.microsoft.com/office/powerpoint/2010/main">
          <mc:Choice Requires="p14">
            <p:contentPart p14:bwMode="auto" r:id="rId16">
              <p14:nvContentPartPr>
                <p14:cNvPr id="50" name="Ink 49">
                  <a:extLst>
                    <a:ext uri="{FF2B5EF4-FFF2-40B4-BE49-F238E27FC236}">
                      <a16:creationId xmlns:a16="http://schemas.microsoft.com/office/drawing/2014/main" id="{8027DA13-218D-CC1D-02FD-5CF422DB47E8}"/>
                    </a:ext>
                  </a:extLst>
                </p14:cNvPr>
                <p14:cNvContentPartPr/>
                <p14:nvPr/>
              </p14:nvContentPartPr>
              <p14:xfrm>
                <a:off x="2563222" y="4847467"/>
                <a:ext cx="897840" cy="1222200"/>
              </p14:xfrm>
            </p:contentPart>
          </mc:Choice>
          <mc:Fallback xmlns="">
            <p:pic>
              <p:nvPicPr>
                <p:cNvPr id="50" name="Ink 49">
                  <a:extLst>
                    <a:ext uri="{FF2B5EF4-FFF2-40B4-BE49-F238E27FC236}">
                      <a16:creationId xmlns:a16="http://schemas.microsoft.com/office/drawing/2014/main" id="{8027DA13-218D-CC1D-02FD-5CF422DB47E8}"/>
                    </a:ext>
                  </a:extLst>
                </p:cNvPr>
                <p:cNvPicPr/>
                <p:nvPr/>
              </p:nvPicPr>
              <p:blipFill>
                <a:blip r:embed="rId17"/>
                <a:stretch>
                  <a:fillRect/>
                </a:stretch>
              </p:blipFill>
              <p:spPr>
                <a:xfrm>
                  <a:off x="2557102" y="4841347"/>
                  <a:ext cx="910080" cy="1234440"/>
                </a:xfrm>
                <a:prstGeom prst="rect">
                  <a:avLst/>
                </a:prstGeom>
              </p:spPr>
            </p:pic>
          </mc:Fallback>
        </mc:AlternateContent>
        <mc:AlternateContent xmlns:mc="http://schemas.openxmlformats.org/markup-compatibility/2006" xmlns:p14="http://schemas.microsoft.com/office/powerpoint/2010/main">
          <mc:Choice Requires="p14">
            <p:contentPart p14:bwMode="auto" r:id="rId18">
              <p14:nvContentPartPr>
                <p14:cNvPr id="53" name="Ink 52">
                  <a:extLst>
                    <a:ext uri="{FF2B5EF4-FFF2-40B4-BE49-F238E27FC236}">
                      <a16:creationId xmlns:a16="http://schemas.microsoft.com/office/drawing/2014/main" id="{E8CE5916-65E5-6606-9823-EF559FBCFA96}"/>
                    </a:ext>
                  </a:extLst>
                </p14:cNvPr>
                <p14:cNvContentPartPr/>
                <p14:nvPr/>
              </p14:nvContentPartPr>
              <p14:xfrm>
                <a:off x="2593102" y="5648107"/>
                <a:ext cx="924480" cy="22320"/>
              </p14:xfrm>
            </p:contentPart>
          </mc:Choice>
          <mc:Fallback xmlns="">
            <p:pic>
              <p:nvPicPr>
                <p:cNvPr id="53" name="Ink 52">
                  <a:extLst>
                    <a:ext uri="{FF2B5EF4-FFF2-40B4-BE49-F238E27FC236}">
                      <a16:creationId xmlns:a16="http://schemas.microsoft.com/office/drawing/2014/main" id="{E8CE5916-65E5-6606-9823-EF559FBCFA96}"/>
                    </a:ext>
                  </a:extLst>
                </p:cNvPr>
                <p:cNvPicPr/>
                <p:nvPr/>
              </p:nvPicPr>
              <p:blipFill>
                <a:blip r:embed="rId19"/>
                <a:stretch>
                  <a:fillRect/>
                </a:stretch>
              </p:blipFill>
              <p:spPr>
                <a:xfrm>
                  <a:off x="2586982" y="5641987"/>
                  <a:ext cx="936720" cy="34560"/>
                </a:xfrm>
                <a:prstGeom prst="rect">
                  <a:avLst/>
                </a:prstGeom>
              </p:spPr>
            </p:pic>
          </mc:Fallback>
        </mc:AlternateContent>
        <mc:AlternateContent xmlns:mc="http://schemas.openxmlformats.org/markup-compatibility/2006" xmlns:p14="http://schemas.microsoft.com/office/powerpoint/2010/main">
          <mc:Choice Requires="p14">
            <p:contentPart p14:bwMode="auto" r:id="rId20">
              <p14:nvContentPartPr>
                <p14:cNvPr id="56" name="Ink 55">
                  <a:extLst>
                    <a:ext uri="{FF2B5EF4-FFF2-40B4-BE49-F238E27FC236}">
                      <a16:creationId xmlns:a16="http://schemas.microsoft.com/office/drawing/2014/main" id="{B83A1FB8-068C-4443-334F-E946B42B75C7}"/>
                    </a:ext>
                  </a:extLst>
                </p14:cNvPr>
                <p14:cNvContentPartPr/>
                <p14:nvPr/>
              </p14:nvContentPartPr>
              <p14:xfrm>
                <a:off x="2580862" y="5302147"/>
                <a:ext cx="900360" cy="41400"/>
              </p14:xfrm>
            </p:contentPart>
          </mc:Choice>
          <mc:Fallback xmlns="">
            <p:pic>
              <p:nvPicPr>
                <p:cNvPr id="56" name="Ink 55">
                  <a:extLst>
                    <a:ext uri="{FF2B5EF4-FFF2-40B4-BE49-F238E27FC236}">
                      <a16:creationId xmlns:a16="http://schemas.microsoft.com/office/drawing/2014/main" id="{B83A1FB8-068C-4443-334F-E946B42B75C7}"/>
                    </a:ext>
                  </a:extLst>
                </p:cNvPr>
                <p:cNvPicPr/>
                <p:nvPr/>
              </p:nvPicPr>
              <p:blipFill>
                <a:blip r:embed="rId21"/>
                <a:stretch>
                  <a:fillRect/>
                </a:stretch>
              </p:blipFill>
              <p:spPr>
                <a:xfrm>
                  <a:off x="2574742" y="5296027"/>
                  <a:ext cx="912600" cy="53640"/>
                </a:xfrm>
                <a:prstGeom prst="rect">
                  <a:avLst/>
                </a:prstGeom>
              </p:spPr>
            </p:pic>
          </mc:Fallback>
        </mc:AlternateContent>
        <mc:AlternateContent xmlns:mc="http://schemas.openxmlformats.org/markup-compatibility/2006" xmlns:p14="http://schemas.microsoft.com/office/powerpoint/2010/main">
          <mc:Choice Requires="p14">
            <p:contentPart p14:bwMode="auto" r:id="rId22">
              <p14:nvContentPartPr>
                <p14:cNvPr id="40" name="Ink 39">
                  <a:extLst>
                    <a:ext uri="{FF2B5EF4-FFF2-40B4-BE49-F238E27FC236}">
                      <a16:creationId xmlns:a16="http://schemas.microsoft.com/office/drawing/2014/main" id="{6D39BC06-6425-D19B-E337-A8C23B57A9A9}"/>
                    </a:ext>
                  </a:extLst>
                </p14:cNvPr>
                <p14:cNvContentPartPr/>
                <p14:nvPr/>
              </p14:nvContentPartPr>
              <p14:xfrm>
                <a:off x="1945102" y="4920547"/>
                <a:ext cx="282960" cy="300240"/>
              </p14:xfrm>
            </p:contentPart>
          </mc:Choice>
          <mc:Fallback xmlns="">
            <p:pic>
              <p:nvPicPr>
                <p:cNvPr id="40" name="Ink 39">
                  <a:extLst>
                    <a:ext uri="{FF2B5EF4-FFF2-40B4-BE49-F238E27FC236}">
                      <a16:creationId xmlns:a16="http://schemas.microsoft.com/office/drawing/2014/main" id="{6D39BC06-6425-D19B-E337-A8C23B57A9A9}"/>
                    </a:ext>
                  </a:extLst>
                </p:cNvPr>
                <p:cNvPicPr/>
                <p:nvPr/>
              </p:nvPicPr>
              <p:blipFill>
                <a:blip r:embed="rId23"/>
                <a:stretch>
                  <a:fillRect/>
                </a:stretch>
              </p:blipFill>
              <p:spPr>
                <a:xfrm>
                  <a:off x="1938982" y="4914427"/>
                  <a:ext cx="295200" cy="312480"/>
                </a:xfrm>
                <a:prstGeom prst="rect">
                  <a:avLst/>
                </a:prstGeom>
              </p:spPr>
            </p:pic>
          </mc:Fallback>
        </mc:AlternateContent>
        <mc:AlternateContent xmlns:mc="http://schemas.openxmlformats.org/markup-compatibility/2006" xmlns:p14="http://schemas.microsoft.com/office/powerpoint/2010/main">
          <mc:Choice Requires="p14">
            <p:contentPart p14:bwMode="auto" r:id="rId24">
              <p14:nvContentPartPr>
                <p14:cNvPr id="41" name="Ink 40">
                  <a:extLst>
                    <a:ext uri="{FF2B5EF4-FFF2-40B4-BE49-F238E27FC236}">
                      <a16:creationId xmlns:a16="http://schemas.microsoft.com/office/drawing/2014/main" id="{5553351A-D19D-3461-E76C-ECB61EAB9820}"/>
                    </a:ext>
                  </a:extLst>
                </p14:cNvPr>
                <p14:cNvContentPartPr/>
                <p14:nvPr/>
              </p14:nvContentPartPr>
              <p14:xfrm>
                <a:off x="2204302" y="4737307"/>
                <a:ext cx="133560" cy="608400"/>
              </p14:xfrm>
            </p:contentPart>
          </mc:Choice>
          <mc:Fallback xmlns="">
            <p:pic>
              <p:nvPicPr>
                <p:cNvPr id="41" name="Ink 40">
                  <a:extLst>
                    <a:ext uri="{FF2B5EF4-FFF2-40B4-BE49-F238E27FC236}">
                      <a16:creationId xmlns:a16="http://schemas.microsoft.com/office/drawing/2014/main" id="{5553351A-D19D-3461-E76C-ECB61EAB9820}"/>
                    </a:ext>
                  </a:extLst>
                </p:cNvPr>
                <p:cNvPicPr/>
                <p:nvPr/>
              </p:nvPicPr>
              <p:blipFill>
                <a:blip r:embed="rId25"/>
                <a:stretch>
                  <a:fillRect/>
                </a:stretch>
              </p:blipFill>
              <p:spPr>
                <a:xfrm>
                  <a:off x="2198182" y="4731187"/>
                  <a:ext cx="145800" cy="620640"/>
                </a:xfrm>
                <a:prstGeom prst="rect">
                  <a:avLst/>
                </a:prstGeom>
              </p:spPr>
            </p:pic>
          </mc:Fallback>
        </mc:AlternateContent>
        <mc:AlternateContent xmlns:mc="http://schemas.openxmlformats.org/markup-compatibility/2006" xmlns:p14="http://schemas.microsoft.com/office/powerpoint/2010/main">
          <mc:Choice Requires="p14">
            <p:contentPart p14:bwMode="auto" r:id="rId26">
              <p14:nvContentPartPr>
                <p14:cNvPr id="44" name="Ink 43">
                  <a:extLst>
                    <a:ext uri="{FF2B5EF4-FFF2-40B4-BE49-F238E27FC236}">
                      <a16:creationId xmlns:a16="http://schemas.microsoft.com/office/drawing/2014/main" id="{10AEC105-7A1A-B90B-345F-30C89CC72623}"/>
                    </a:ext>
                  </a:extLst>
                </p14:cNvPr>
                <p14:cNvContentPartPr/>
                <p14:nvPr/>
              </p14:nvContentPartPr>
              <p14:xfrm>
                <a:off x="2404462" y="4988587"/>
                <a:ext cx="111600" cy="181800"/>
              </p14:xfrm>
            </p:contentPart>
          </mc:Choice>
          <mc:Fallback xmlns="">
            <p:pic>
              <p:nvPicPr>
                <p:cNvPr id="44" name="Ink 43">
                  <a:extLst>
                    <a:ext uri="{FF2B5EF4-FFF2-40B4-BE49-F238E27FC236}">
                      <a16:creationId xmlns:a16="http://schemas.microsoft.com/office/drawing/2014/main" id="{10AEC105-7A1A-B90B-345F-30C89CC72623}"/>
                    </a:ext>
                  </a:extLst>
                </p:cNvPr>
                <p:cNvPicPr/>
                <p:nvPr/>
              </p:nvPicPr>
              <p:blipFill>
                <a:blip r:embed="rId27"/>
                <a:stretch>
                  <a:fillRect/>
                </a:stretch>
              </p:blipFill>
              <p:spPr>
                <a:xfrm>
                  <a:off x="2398342" y="4982467"/>
                  <a:ext cx="123840" cy="194040"/>
                </a:xfrm>
                <a:prstGeom prst="rect">
                  <a:avLst/>
                </a:prstGeom>
              </p:spPr>
            </p:pic>
          </mc:Fallback>
        </mc:AlternateContent>
        <mc:AlternateContent xmlns:mc="http://schemas.openxmlformats.org/markup-compatibility/2006" xmlns:p14="http://schemas.microsoft.com/office/powerpoint/2010/main">
          <mc:Choice Requires="p14">
            <p:contentPart p14:bwMode="auto" r:id="rId28">
              <p14:nvContentPartPr>
                <p14:cNvPr id="47" name="Ink 46">
                  <a:extLst>
                    <a:ext uri="{FF2B5EF4-FFF2-40B4-BE49-F238E27FC236}">
                      <a16:creationId xmlns:a16="http://schemas.microsoft.com/office/drawing/2014/main" id="{2197A55A-DDC5-1AAE-49FB-9F5B8DE98C52}"/>
                    </a:ext>
                  </a:extLst>
                </p14:cNvPr>
                <p14:cNvContentPartPr/>
                <p14:nvPr/>
              </p14:nvContentPartPr>
              <p14:xfrm>
                <a:off x="2352262" y="5166067"/>
                <a:ext cx="213480" cy="360"/>
              </p14:xfrm>
            </p:contentPart>
          </mc:Choice>
          <mc:Fallback xmlns="">
            <p:pic>
              <p:nvPicPr>
                <p:cNvPr id="47" name="Ink 46">
                  <a:extLst>
                    <a:ext uri="{FF2B5EF4-FFF2-40B4-BE49-F238E27FC236}">
                      <a16:creationId xmlns:a16="http://schemas.microsoft.com/office/drawing/2014/main" id="{2197A55A-DDC5-1AAE-49FB-9F5B8DE98C52}"/>
                    </a:ext>
                  </a:extLst>
                </p:cNvPr>
                <p:cNvPicPr/>
                <p:nvPr/>
              </p:nvPicPr>
              <p:blipFill>
                <a:blip r:embed="rId29"/>
                <a:stretch>
                  <a:fillRect/>
                </a:stretch>
              </p:blipFill>
              <p:spPr>
                <a:xfrm>
                  <a:off x="2346142" y="5159947"/>
                  <a:ext cx="225720" cy="12600"/>
                </a:xfrm>
                <a:prstGeom prst="rect">
                  <a:avLst/>
                </a:prstGeom>
              </p:spPr>
            </p:pic>
          </mc:Fallback>
        </mc:AlternateContent>
        <mc:AlternateContent xmlns:mc="http://schemas.openxmlformats.org/markup-compatibility/2006" xmlns:p14="http://schemas.microsoft.com/office/powerpoint/2010/main">
          <mc:Choice Requires="p14">
            <p:contentPart p14:bwMode="auto" r:id="rId30">
              <p14:nvContentPartPr>
                <p14:cNvPr id="59" name="Ink 58">
                  <a:extLst>
                    <a:ext uri="{FF2B5EF4-FFF2-40B4-BE49-F238E27FC236}">
                      <a16:creationId xmlns:a16="http://schemas.microsoft.com/office/drawing/2014/main" id="{F33ECF69-875E-1A59-1C5B-24196A5844CB}"/>
                    </a:ext>
                  </a:extLst>
                </p14:cNvPr>
                <p14:cNvContentPartPr/>
                <p14:nvPr/>
              </p14:nvContentPartPr>
              <p14:xfrm>
                <a:off x="2800462" y="4968067"/>
                <a:ext cx="101880" cy="340560"/>
              </p14:xfrm>
            </p:contentPart>
          </mc:Choice>
          <mc:Fallback xmlns="">
            <p:pic>
              <p:nvPicPr>
                <p:cNvPr id="59" name="Ink 58">
                  <a:extLst>
                    <a:ext uri="{FF2B5EF4-FFF2-40B4-BE49-F238E27FC236}">
                      <a16:creationId xmlns:a16="http://schemas.microsoft.com/office/drawing/2014/main" id="{F33ECF69-875E-1A59-1C5B-24196A5844CB}"/>
                    </a:ext>
                  </a:extLst>
                </p:cNvPr>
                <p:cNvPicPr/>
                <p:nvPr/>
              </p:nvPicPr>
              <p:blipFill>
                <a:blip r:embed="rId31"/>
                <a:stretch>
                  <a:fillRect/>
                </a:stretch>
              </p:blipFill>
              <p:spPr>
                <a:xfrm>
                  <a:off x="2794342" y="4961947"/>
                  <a:ext cx="114120" cy="352800"/>
                </a:xfrm>
                <a:prstGeom prst="rect">
                  <a:avLst/>
                </a:prstGeom>
              </p:spPr>
            </p:pic>
          </mc:Fallback>
        </mc:AlternateContent>
        <mc:AlternateContent xmlns:mc="http://schemas.openxmlformats.org/markup-compatibility/2006" xmlns:p14="http://schemas.microsoft.com/office/powerpoint/2010/main">
          <mc:Choice Requires="p14">
            <p:contentPart p14:bwMode="auto" r:id="rId32">
              <p14:nvContentPartPr>
                <p14:cNvPr id="62" name="Ink 61">
                  <a:extLst>
                    <a:ext uri="{FF2B5EF4-FFF2-40B4-BE49-F238E27FC236}">
                      <a16:creationId xmlns:a16="http://schemas.microsoft.com/office/drawing/2014/main" id="{F202D3AA-1EB8-5FCE-81C9-A75A22FFBE33}"/>
                    </a:ext>
                  </a:extLst>
                </p14:cNvPr>
                <p14:cNvContentPartPr/>
                <p14:nvPr/>
              </p14:nvContentPartPr>
              <p14:xfrm>
                <a:off x="3032662" y="4929547"/>
                <a:ext cx="61560" cy="316080"/>
              </p14:xfrm>
            </p:contentPart>
          </mc:Choice>
          <mc:Fallback xmlns="">
            <p:pic>
              <p:nvPicPr>
                <p:cNvPr id="62" name="Ink 61">
                  <a:extLst>
                    <a:ext uri="{FF2B5EF4-FFF2-40B4-BE49-F238E27FC236}">
                      <a16:creationId xmlns:a16="http://schemas.microsoft.com/office/drawing/2014/main" id="{F202D3AA-1EB8-5FCE-81C9-A75A22FFBE33}"/>
                    </a:ext>
                  </a:extLst>
                </p:cNvPr>
                <p:cNvPicPr/>
                <p:nvPr/>
              </p:nvPicPr>
              <p:blipFill>
                <a:blip r:embed="rId33"/>
                <a:stretch>
                  <a:fillRect/>
                </a:stretch>
              </p:blipFill>
              <p:spPr>
                <a:xfrm>
                  <a:off x="3026542" y="4923427"/>
                  <a:ext cx="73800" cy="328320"/>
                </a:xfrm>
                <a:prstGeom prst="rect">
                  <a:avLst/>
                </a:prstGeom>
              </p:spPr>
            </p:pic>
          </mc:Fallback>
        </mc:AlternateContent>
        <mc:AlternateContent xmlns:mc="http://schemas.openxmlformats.org/markup-compatibility/2006" xmlns:p14="http://schemas.microsoft.com/office/powerpoint/2010/main">
          <mc:Choice Requires="p14">
            <p:contentPart p14:bwMode="auto" r:id="rId34">
              <p14:nvContentPartPr>
                <p14:cNvPr id="1025" name="Ink 1024">
                  <a:extLst>
                    <a:ext uri="{FF2B5EF4-FFF2-40B4-BE49-F238E27FC236}">
                      <a16:creationId xmlns:a16="http://schemas.microsoft.com/office/drawing/2014/main" id="{EE361906-C858-DD0A-0D9E-1CF33EB4A212}"/>
                    </a:ext>
                  </a:extLst>
                </p14:cNvPr>
                <p14:cNvContentPartPr/>
                <p14:nvPr/>
              </p14:nvContentPartPr>
              <p14:xfrm>
                <a:off x="3130222" y="5057347"/>
                <a:ext cx="282960" cy="39600"/>
              </p14:xfrm>
            </p:contentPart>
          </mc:Choice>
          <mc:Fallback xmlns="">
            <p:pic>
              <p:nvPicPr>
                <p:cNvPr id="1025" name="Ink 1024">
                  <a:extLst>
                    <a:ext uri="{FF2B5EF4-FFF2-40B4-BE49-F238E27FC236}">
                      <a16:creationId xmlns:a16="http://schemas.microsoft.com/office/drawing/2014/main" id="{EE361906-C858-DD0A-0D9E-1CF33EB4A212}"/>
                    </a:ext>
                  </a:extLst>
                </p:cNvPr>
                <p:cNvPicPr/>
                <p:nvPr/>
              </p:nvPicPr>
              <p:blipFill>
                <a:blip r:embed="rId35"/>
                <a:stretch>
                  <a:fillRect/>
                </a:stretch>
              </p:blipFill>
              <p:spPr>
                <a:xfrm>
                  <a:off x="3124102" y="5051227"/>
                  <a:ext cx="295200" cy="51840"/>
                </a:xfrm>
                <a:prstGeom prst="rect">
                  <a:avLst/>
                </a:prstGeom>
              </p:spPr>
            </p:pic>
          </mc:Fallback>
        </mc:AlternateContent>
        <mc:AlternateContent xmlns:mc="http://schemas.openxmlformats.org/markup-compatibility/2006" xmlns:p14="http://schemas.microsoft.com/office/powerpoint/2010/main">
          <mc:Choice Requires="p14">
            <p:contentPart p14:bwMode="auto" r:id="rId36">
              <p14:nvContentPartPr>
                <p14:cNvPr id="1030" name="Ink 1029">
                  <a:extLst>
                    <a:ext uri="{FF2B5EF4-FFF2-40B4-BE49-F238E27FC236}">
                      <a16:creationId xmlns:a16="http://schemas.microsoft.com/office/drawing/2014/main" id="{8ADB29B1-074E-E5A0-7ACB-02C35ED3D926}"/>
                    </a:ext>
                  </a:extLst>
                </p14:cNvPr>
                <p14:cNvContentPartPr/>
                <p14:nvPr/>
              </p14:nvContentPartPr>
              <p14:xfrm>
                <a:off x="3538462" y="4843507"/>
                <a:ext cx="85680" cy="631800"/>
              </p14:xfrm>
            </p:contentPart>
          </mc:Choice>
          <mc:Fallback xmlns="">
            <p:pic>
              <p:nvPicPr>
                <p:cNvPr id="1030" name="Ink 1029">
                  <a:extLst>
                    <a:ext uri="{FF2B5EF4-FFF2-40B4-BE49-F238E27FC236}">
                      <a16:creationId xmlns:a16="http://schemas.microsoft.com/office/drawing/2014/main" id="{8ADB29B1-074E-E5A0-7ACB-02C35ED3D926}"/>
                    </a:ext>
                  </a:extLst>
                </p:cNvPr>
                <p:cNvPicPr/>
                <p:nvPr/>
              </p:nvPicPr>
              <p:blipFill>
                <a:blip r:embed="rId37"/>
                <a:stretch>
                  <a:fillRect/>
                </a:stretch>
              </p:blipFill>
              <p:spPr>
                <a:xfrm>
                  <a:off x="3532342" y="4837387"/>
                  <a:ext cx="97920" cy="644040"/>
                </a:xfrm>
                <a:prstGeom prst="rect">
                  <a:avLst/>
                </a:prstGeom>
              </p:spPr>
            </p:pic>
          </mc:Fallback>
        </mc:AlternateContent>
        <mc:AlternateContent xmlns:mc="http://schemas.openxmlformats.org/markup-compatibility/2006" xmlns:p14="http://schemas.microsoft.com/office/powerpoint/2010/main">
          <mc:Choice Requires="p14">
            <p:contentPart p14:bwMode="auto" r:id="rId38">
              <p14:nvContentPartPr>
                <p14:cNvPr id="1033" name="Ink 1032">
                  <a:extLst>
                    <a:ext uri="{FF2B5EF4-FFF2-40B4-BE49-F238E27FC236}">
                      <a16:creationId xmlns:a16="http://schemas.microsoft.com/office/drawing/2014/main" id="{3C2E8C7B-AE36-C7E6-D39F-3C7CD0C39A4B}"/>
                    </a:ext>
                  </a:extLst>
                </p14:cNvPr>
                <p14:cNvContentPartPr/>
                <p14:nvPr/>
              </p14:nvContentPartPr>
              <p14:xfrm>
                <a:off x="3328942" y="4996507"/>
                <a:ext cx="290520" cy="318600"/>
              </p14:xfrm>
            </p:contentPart>
          </mc:Choice>
          <mc:Fallback xmlns="">
            <p:pic>
              <p:nvPicPr>
                <p:cNvPr id="1033" name="Ink 1032">
                  <a:extLst>
                    <a:ext uri="{FF2B5EF4-FFF2-40B4-BE49-F238E27FC236}">
                      <a16:creationId xmlns:a16="http://schemas.microsoft.com/office/drawing/2014/main" id="{3C2E8C7B-AE36-C7E6-D39F-3C7CD0C39A4B}"/>
                    </a:ext>
                  </a:extLst>
                </p:cNvPr>
                <p:cNvPicPr/>
                <p:nvPr/>
              </p:nvPicPr>
              <p:blipFill>
                <a:blip r:embed="rId39"/>
                <a:stretch>
                  <a:fillRect/>
                </a:stretch>
              </p:blipFill>
              <p:spPr>
                <a:xfrm>
                  <a:off x="3322822" y="4990387"/>
                  <a:ext cx="302760" cy="330840"/>
                </a:xfrm>
                <a:prstGeom prst="rect">
                  <a:avLst/>
                </a:prstGeom>
              </p:spPr>
            </p:pic>
          </mc:Fallback>
        </mc:AlternateContent>
        <mc:AlternateContent xmlns:mc="http://schemas.openxmlformats.org/markup-compatibility/2006" xmlns:p14="http://schemas.microsoft.com/office/powerpoint/2010/main">
          <mc:Choice Requires="p14">
            <p:contentPart p14:bwMode="auto" r:id="rId40">
              <p14:nvContentPartPr>
                <p14:cNvPr id="1039" name="Ink 1038">
                  <a:extLst>
                    <a:ext uri="{FF2B5EF4-FFF2-40B4-BE49-F238E27FC236}">
                      <a16:creationId xmlns:a16="http://schemas.microsoft.com/office/drawing/2014/main" id="{C21120B1-0243-B778-0530-9D6F2CF3FF86}"/>
                    </a:ext>
                  </a:extLst>
                </p14:cNvPr>
                <p14:cNvContentPartPr/>
                <p14:nvPr/>
              </p14:nvContentPartPr>
              <p14:xfrm>
                <a:off x="2824222" y="5470627"/>
                <a:ext cx="25200" cy="65160"/>
              </p14:xfrm>
            </p:contentPart>
          </mc:Choice>
          <mc:Fallback xmlns="">
            <p:pic>
              <p:nvPicPr>
                <p:cNvPr id="1039" name="Ink 1038">
                  <a:extLst>
                    <a:ext uri="{FF2B5EF4-FFF2-40B4-BE49-F238E27FC236}">
                      <a16:creationId xmlns:a16="http://schemas.microsoft.com/office/drawing/2014/main" id="{C21120B1-0243-B778-0530-9D6F2CF3FF86}"/>
                    </a:ext>
                  </a:extLst>
                </p:cNvPr>
                <p:cNvPicPr/>
                <p:nvPr/>
              </p:nvPicPr>
              <p:blipFill>
                <a:blip r:embed="rId41"/>
                <a:stretch>
                  <a:fillRect/>
                </a:stretch>
              </p:blipFill>
              <p:spPr>
                <a:xfrm>
                  <a:off x="2818102" y="5464507"/>
                  <a:ext cx="37440" cy="77400"/>
                </a:xfrm>
                <a:prstGeom prst="rect">
                  <a:avLst/>
                </a:prstGeom>
              </p:spPr>
            </p:pic>
          </mc:Fallback>
        </mc:AlternateContent>
        <mc:AlternateContent xmlns:mc="http://schemas.openxmlformats.org/markup-compatibility/2006" xmlns:p14="http://schemas.microsoft.com/office/powerpoint/2010/main">
          <mc:Choice Requires="p14">
            <p:contentPart p14:bwMode="auto" r:id="rId42">
              <p14:nvContentPartPr>
                <p14:cNvPr id="1042" name="Ink 1041">
                  <a:extLst>
                    <a:ext uri="{FF2B5EF4-FFF2-40B4-BE49-F238E27FC236}">
                      <a16:creationId xmlns:a16="http://schemas.microsoft.com/office/drawing/2014/main" id="{C42CD658-4882-5B60-BAEF-6E33D737C6F6}"/>
                    </a:ext>
                  </a:extLst>
                </p14:cNvPr>
                <p14:cNvContentPartPr/>
                <p14:nvPr/>
              </p14:nvContentPartPr>
              <p14:xfrm>
                <a:off x="2912422" y="5367667"/>
                <a:ext cx="16920" cy="345960"/>
              </p14:xfrm>
            </p:contentPart>
          </mc:Choice>
          <mc:Fallback xmlns="">
            <p:pic>
              <p:nvPicPr>
                <p:cNvPr id="1042" name="Ink 1041">
                  <a:extLst>
                    <a:ext uri="{FF2B5EF4-FFF2-40B4-BE49-F238E27FC236}">
                      <a16:creationId xmlns:a16="http://schemas.microsoft.com/office/drawing/2014/main" id="{C42CD658-4882-5B60-BAEF-6E33D737C6F6}"/>
                    </a:ext>
                  </a:extLst>
                </p:cNvPr>
                <p:cNvPicPr/>
                <p:nvPr/>
              </p:nvPicPr>
              <p:blipFill>
                <a:blip r:embed="rId43"/>
                <a:stretch>
                  <a:fillRect/>
                </a:stretch>
              </p:blipFill>
              <p:spPr>
                <a:xfrm>
                  <a:off x="2906302" y="5361547"/>
                  <a:ext cx="29160" cy="358200"/>
                </a:xfrm>
                <a:prstGeom prst="rect">
                  <a:avLst/>
                </a:prstGeom>
              </p:spPr>
            </p:pic>
          </mc:Fallback>
        </mc:AlternateContent>
        <mc:AlternateContent xmlns:mc="http://schemas.openxmlformats.org/markup-compatibility/2006" xmlns:p14="http://schemas.microsoft.com/office/powerpoint/2010/main">
          <mc:Choice Requires="p14">
            <p:contentPart p14:bwMode="auto" r:id="rId44">
              <p14:nvContentPartPr>
                <p14:cNvPr id="1045" name="Ink 1044">
                  <a:extLst>
                    <a:ext uri="{FF2B5EF4-FFF2-40B4-BE49-F238E27FC236}">
                      <a16:creationId xmlns:a16="http://schemas.microsoft.com/office/drawing/2014/main" id="{30D57504-BAA4-B3CC-23BE-71D2BBBB04C4}"/>
                    </a:ext>
                  </a:extLst>
                </p14:cNvPr>
                <p14:cNvContentPartPr/>
                <p14:nvPr/>
              </p14:nvContentPartPr>
              <p14:xfrm>
                <a:off x="3106822" y="5426707"/>
                <a:ext cx="153360" cy="208080"/>
              </p14:xfrm>
            </p:contentPart>
          </mc:Choice>
          <mc:Fallback xmlns="">
            <p:pic>
              <p:nvPicPr>
                <p:cNvPr id="1045" name="Ink 1044">
                  <a:extLst>
                    <a:ext uri="{FF2B5EF4-FFF2-40B4-BE49-F238E27FC236}">
                      <a16:creationId xmlns:a16="http://schemas.microsoft.com/office/drawing/2014/main" id="{30D57504-BAA4-B3CC-23BE-71D2BBBB04C4}"/>
                    </a:ext>
                  </a:extLst>
                </p:cNvPr>
                <p:cNvPicPr/>
                <p:nvPr/>
              </p:nvPicPr>
              <p:blipFill>
                <a:blip r:embed="rId45"/>
                <a:stretch>
                  <a:fillRect/>
                </a:stretch>
              </p:blipFill>
              <p:spPr>
                <a:xfrm>
                  <a:off x="3100702" y="5420587"/>
                  <a:ext cx="165600" cy="220320"/>
                </a:xfrm>
                <a:prstGeom prst="rect">
                  <a:avLst/>
                </a:prstGeom>
              </p:spPr>
            </p:pic>
          </mc:Fallback>
        </mc:AlternateContent>
        <mc:AlternateContent xmlns:mc="http://schemas.openxmlformats.org/markup-compatibility/2006" xmlns:p14="http://schemas.microsoft.com/office/powerpoint/2010/main">
          <mc:Choice Requires="p14">
            <p:contentPart p14:bwMode="auto" r:id="rId46">
              <p14:nvContentPartPr>
                <p14:cNvPr id="1048" name="Ink 1047">
                  <a:extLst>
                    <a:ext uri="{FF2B5EF4-FFF2-40B4-BE49-F238E27FC236}">
                      <a16:creationId xmlns:a16="http://schemas.microsoft.com/office/drawing/2014/main" id="{69BFB069-17D7-3436-14A4-A89C7A793DEF}"/>
                    </a:ext>
                  </a:extLst>
                </p14:cNvPr>
                <p14:cNvContentPartPr/>
                <p14:nvPr/>
              </p14:nvContentPartPr>
              <p14:xfrm>
                <a:off x="2801542" y="5878147"/>
                <a:ext cx="40320" cy="95040"/>
              </p14:xfrm>
            </p:contentPart>
          </mc:Choice>
          <mc:Fallback xmlns="">
            <p:pic>
              <p:nvPicPr>
                <p:cNvPr id="1048" name="Ink 1047">
                  <a:extLst>
                    <a:ext uri="{FF2B5EF4-FFF2-40B4-BE49-F238E27FC236}">
                      <a16:creationId xmlns:a16="http://schemas.microsoft.com/office/drawing/2014/main" id="{69BFB069-17D7-3436-14A4-A89C7A793DEF}"/>
                    </a:ext>
                  </a:extLst>
                </p:cNvPr>
                <p:cNvPicPr/>
                <p:nvPr/>
              </p:nvPicPr>
              <p:blipFill>
                <a:blip r:embed="rId47"/>
                <a:stretch>
                  <a:fillRect/>
                </a:stretch>
              </p:blipFill>
              <p:spPr>
                <a:xfrm>
                  <a:off x="2795422" y="5872027"/>
                  <a:ext cx="52560" cy="107280"/>
                </a:xfrm>
                <a:prstGeom prst="rect">
                  <a:avLst/>
                </a:prstGeom>
              </p:spPr>
            </p:pic>
          </mc:Fallback>
        </mc:AlternateContent>
        <mc:AlternateContent xmlns:mc="http://schemas.openxmlformats.org/markup-compatibility/2006" xmlns:p14="http://schemas.microsoft.com/office/powerpoint/2010/main">
          <mc:Choice Requires="p14">
            <p:contentPart p14:bwMode="auto" r:id="rId48">
              <p14:nvContentPartPr>
                <p14:cNvPr id="1049" name="Ink 1048">
                  <a:extLst>
                    <a:ext uri="{FF2B5EF4-FFF2-40B4-BE49-F238E27FC236}">
                      <a16:creationId xmlns:a16="http://schemas.microsoft.com/office/drawing/2014/main" id="{336E935C-E958-AFCA-A272-7F6A446B51B6}"/>
                    </a:ext>
                  </a:extLst>
                </p14:cNvPr>
                <p14:cNvContentPartPr/>
                <p14:nvPr/>
              </p14:nvContentPartPr>
              <p14:xfrm>
                <a:off x="3015382" y="5805787"/>
                <a:ext cx="82800" cy="307080"/>
              </p14:xfrm>
            </p:contentPart>
          </mc:Choice>
          <mc:Fallback xmlns="">
            <p:pic>
              <p:nvPicPr>
                <p:cNvPr id="1049" name="Ink 1048">
                  <a:extLst>
                    <a:ext uri="{FF2B5EF4-FFF2-40B4-BE49-F238E27FC236}">
                      <a16:creationId xmlns:a16="http://schemas.microsoft.com/office/drawing/2014/main" id="{336E935C-E958-AFCA-A272-7F6A446B51B6}"/>
                    </a:ext>
                  </a:extLst>
                </p:cNvPr>
                <p:cNvPicPr/>
                <p:nvPr/>
              </p:nvPicPr>
              <p:blipFill>
                <a:blip r:embed="rId49"/>
                <a:stretch>
                  <a:fillRect/>
                </a:stretch>
              </p:blipFill>
              <p:spPr>
                <a:xfrm>
                  <a:off x="3009262" y="5799667"/>
                  <a:ext cx="95040" cy="319320"/>
                </a:xfrm>
                <a:prstGeom prst="rect">
                  <a:avLst/>
                </a:prstGeom>
              </p:spPr>
            </p:pic>
          </mc:Fallback>
        </mc:AlternateContent>
      </p:grpSp>
      <mc:AlternateContent xmlns:mc="http://schemas.openxmlformats.org/markup-compatibility/2006" xmlns:p14="http://schemas.microsoft.com/office/powerpoint/2010/main">
        <mc:Choice Requires="p14">
          <p:contentPart p14:bwMode="auto" r:id="rId50">
            <p14:nvContentPartPr>
              <p14:cNvPr id="1052" name="Ink 1051">
                <a:extLst>
                  <a:ext uri="{FF2B5EF4-FFF2-40B4-BE49-F238E27FC236}">
                    <a16:creationId xmlns:a16="http://schemas.microsoft.com/office/drawing/2014/main" id="{EDF95C37-81AD-C5B4-FB9D-DD3964C32674}"/>
                  </a:ext>
                </a:extLst>
              </p14:cNvPr>
              <p14:cNvContentPartPr/>
              <p14:nvPr/>
            </p14:nvContentPartPr>
            <p14:xfrm>
              <a:off x="3210502" y="5850427"/>
              <a:ext cx="177480" cy="233280"/>
            </p14:xfrm>
          </p:contentPart>
        </mc:Choice>
        <mc:Fallback xmlns="">
          <p:pic>
            <p:nvPicPr>
              <p:cNvPr id="1052" name="Ink 1051">
                <a:extLst>
                  <a:ext uri="{FF2B5EF4-FFF2-40B4-BE49-F238E27FC236}">
                    <a16:creationId xmlns:a16="http://schemas.microsoft.com/office/drawing/2014/main" id="{EDF95C37-81AD-C5B4-FB9D-DD3964C32674}"/>
                  </a:ext>
                </a:extLst>
              </p:cNvPr>
              <p:cNvPicPr/>
              <p:nvPr/>
            </p:nvPicPr>
            <p:blipFill>
              <a:blip r:embed="rId51"/>
              <a:stretch>
                <a:fillRect/>
              </a:stretch>
            </p:blipFill>
            <p:spPr>
              <a:xfrm>
                <a:off x="3204382" y="5844307"/>
                <a:ext cx="189720" cy="245520"/>
              </a:xfrm>
              <a:prstGeom prst="rect">
                <a:avLst/>
              </a:prstGeom>
            </p:spPr>
          </p:pic>
        </mc:Fallback>
      </mc:AlternateContent>
      <p:grpSp>
        <p:nvGrpSpPr>
          <p:cNvPr id="1056" name="Group 1055">
            <a:extLst>
              <a:ext uri="{FF2B5EF4-FFF2-40B4-BE49-F238E27FC236}">
                <a16:creationId xmlns:a16="http://schemas.microsoft.com/office/drawing/2014/main" id="{25FB34AD-8389-BF60-A160-E2AE84B8A725}"/>
              </a:ext>
            </a:extLst>
          </p:cNvPr>
          <p:cNvGrpSpPr/>
          <p:nvPr/>
        </p:nvGrpSpPr>
        <p:grpSpPr>
          <a:xfrm>
            <a:off x="10451902" y="4907947"/>
            <a:ext cx="1018080" cy="1122840"/>
            <a:chOff x="10451902" y="4907947"/>
            <a:chExt cx="1018080" cy="1122840"/>
          </a:xfrm>
        </p:grpSpPr>
        <mc:AlternateContent xmlns:mc="http://schemas.openxmlformats.org/markup-compatibility/2006" xmlns:p14="http://schemas.microsoft.com/office/powerpoint/2010/main">
          <mc:Choice Requires="p14">
            <p:contentPart p14:bwMode="auto" r:id="rId52">
              <p14:nvContentPartPr>
                <p14:cNvPr id="1053" name="Ink 1052">
                  <a:extLst>
                    <a:ext uri="{FF2B5EF4-FFF2-40B4-BE49-F238E27FC236}">
                      <a16:creationId xmlns:a16="http://schemas.microsoft.com/office/drawing/2014/main" id="{C250C3E9-0EFA-D4EC-88AB-33BCCA2968D0}"/>
                    </a:ext>
                  </a:extLst>
                </p14:cNvPr>
                <p14:cNvContentPartPr/>
                <p14:nvPr/>
              </p14:nvContentPartPr>
              <p14:xfrm>
                <a:off x="10451902" y="4907947"/>
                <a:ext cx="1018080" cy="1122840"/>
              </p14:xfrm>
            </p:contentPart>
          </mc:Choice>
          <mc:Fallback xmlns="">
            <p:pic>
              <p:nvPicPr>
                <p:cNvPr id="1053" name="Ink 1052">
                  <a:extLst>
                    <a:ext uri="{FF2B5EF4-FFF2-40B4-BE49-F238E27FC236}">
                      <a16:creationId xmlns:a16="http://schemas.microsoft.com/office/drawing/2014/main" id="{C250C3E9-0EFA-D4EC-88AB-33BCCA2968D0}"/>
                    </a:ext>
                  </a:extLst>
                </p:cNvPr>
                <p:cNvPicPr/>
                <p:nvPr/>
              </p:nvPicPr>
              <p:blipFill>
                <a:blip r:embed="rId53"/>
                <a:stretch>
                  <a:fillRect/>
                </a:stretch>
              </p:blipFill>
              <p:spPr>
                <a:xfrm>
                  <a:off x="10445782" y="4901827"/>
                  <a:ext cx="1030320" cy="1135080"/>
                </a:xfrm>
                <a:prstGeom prst="rect">
                  <a:avLst/>
                </a:prstGeom>
              </p:spPr>
            </p:pic>
          </mc:Fallback>
        </mc:AlternateContent>
        <mc:AlternateContent xmlns:mc="http://schemas.openxmlformats.org/markup-compatibility/2006" xmlns:p14="http://schemas.microsoft.com/office/powerpoint/2010/main">
          <mc:Choice Requires="p14">
            <p:contentPart p14:bwMode="auto" r:id="rId54">
              <p14:nvContentPartPr>
                <p14:cNvPr id="1054" name="Ink 1053">
                  <a:extLst>
                    <a:ext uri="{FF2B5EF4-FFF2-40B4-BE49-F238E27FC236}">
                      <a16:creationId xmlns:a16="http://schemas.microsoft.com/office/drawing/2014/main" id="{31F21626-2D79-D0B2-F6A5-FFB2839E3D8B}"/>
                    </a:ext>
                  </a:extLst>
                </p14:cNvPr>
                <p14:cNvContentPartPr/>
                <p14:nvPr/>
              </p14:nvContentPartPr>
              <p14:xfrm>
                <a:off x="10630102" y="5557747"/>
                <a:ext cx="786240" cy="84600"/>
              </p14:xfrm>
            </p:contentPart>
          </mc:Choice>
          <mc:Fallback xmlns="">
            <p:pic>
              <p:nvPicPr>
                <p:cNvPr id="1054" name="Ink 1053">
                  <a:extLst>
                    <a:ext uri="{FF2B5EF4-FFF2-40B4-BE49-F238E27FC236}">
                      <a16:creationId xmlns:a16="http://schemas.microsoft.com/office/drawing/2014/main" id="{31F21626-2D79-D0B2-F6A5-FFB2839E3D8B}"/>
                    </a:ext>
                  </a:extLst>
                </p:cNvPr>
                <p:cNvPicPr/>
                <p:nvPr/>
              </p:nvPicPr>
              <p:blipFill>
                <a:blip r:embed="rId55"/>
                <a:stretch>
                  <a:fillRect/>
                </a:stretch>
              </p:blipFill>
              <p:spPr>
                <a:xfrm>
                  <a:off x="10623982" y="5551627"/>
                  <a:ext cx="798480" cy="96840"/>
                </a:xfrm>
                <a:prstGeom prst="rect">
                  <a:avLst/>
                </a:prstGeom>
              </p:spPr>
            </p:pic>
          </mc:Fallback>
        </mc:AlternateContent>
      </p:grpSp>
      <mc:AlternateContent xmlns:mc="http://schemas.openxmlformats.org/markup-compatibility/2006" xmlns:p14="http://schemas.microsoft.com/office/powerpoint/2010/main">
        <mc:Choice Requires="p14">
          <p:contentPart p14:bwMode="auto" r:id="rId56">
            <p14:nvContentPartPr>
              <p14:cNvPr id="1057" name="Ink 1056">
                <a:extLst>
                  <a:ext uri="{FF2B5EF4-FFF2-40B4-BE49-F238E27FC236}">
                    <a16:creationId xmlns:a16="http://schemas.microsoft.com/office/drawing/2014/main" id="{AE97433F-CA54-6F7A-59E8-5A4CFC172877}"/>
                  </a:ext>
                </a:extLst>
              </p14:cNvPr>
              <p14:cNvContentPartPr/>
              <p14:nvPr/>
            </p14:nvContentPartPr>
            <p14:xfrm>
              <a:off x="10470622" y="5227627"/>
              <a:ext cx="1026360" cy="12960"/>
            </p14:xfrm>
          </p:contentPart>
        </mc:Choice>
        <mc:Fallback xmlns="">
          <p:pic>
            <p:nvPicPr>
              <p:cNvPr id="1057" name="Ink 1056">
                <a:extLst>
                  <a:ext uri="{FF2B5EF4-FFF2-40B4-BE49-F238E27FC236}">
                    <a16:creationId xmlns:a16="http://schemas.microsoft.com/office/drawing/2014/main" id="{AE97433F-CA54-6F7A-59E8-5A4CFC172877}"/>
                  </a:ext>
                </a:extLst>
              </p:cNvPr>
              <p:cNvPicPr/>
              <p:nvPr/>
            </p:nvPicPr>
            <p:blipFill>
              <a:blip r:embed="rId57"/>
              <a:stretch>
                <a:fillRect/>
              </a:stretch>
            </p:blipFill>
            <p:spPr>
              <a:xfrm>
                <a:off x="10464502" y="5221507"/>
                <a:ext cx="1038600" cy="25200"/>
              </a:xfrm>
              <a:prstGeom prst="rect">
                <a:avLst/>
              </a:prstGeom>
            </p:spPr>
          </p:pic>
        </mc:Fallback>
      </mc:AlternateContent>
      <p:grpSp>
        <p:nvGrpSpPr>
          <p:cNvPr id="1061" name="Group 1060">
            <a:extLst>
              <a:ext uri="{FF2B5EF4-FFF2-40B4-BE49-F238E27FC236}">
                <a16:creationId xmlns:a16="http://schemas.microsoft.com/office/drawing/2014/main" id="{74B0A76E-3BE6-1D94-DDA6-536C00E328A7}"/>
              </a:ext>
            </a:extLst>
          </p:cNvPr>
          <p:cNvGrpSpPr/>
          <p:nvPr/>
        </p:nvGrpSpPr>
        <p:grpSpPr>
          <a:xfrm>
            <a:off x="10395742" y="431707"/>
            <a:ext cx="988920" cy="824040"/>
            <a:chOff x="10395742" y="431707"/>
            <a:chExt cx="988920" cy="824040"/>
          </a:xfrm>
        </p:grpSpPr>
        <mc:AlternateContent xmlns:mc="http://schemas.openxmlformats.org/markup-compatibility/2006" xmlns:p14="http://schemas.microsoft.com/office/powerpoint/2010/main">
          <mc:Choice Requires="p14">
            <p:contentPart p14:bwMode="auto" r:id="rId58">
              <p14:nvContentPartPr>
                <p14:cNvPr id="1058" name="Ink 1057">
                  <a:extLst>
                    <a:ext uri="{FF2B5EF4-FFF2-40B4-BE49-F238E27FC236}">
                      <a16:creationId xmlns:a16="http://schemas.microsoft.com/office/drawing/2014/main" id="{1D4EDD77-5971-42BE-6742-A9A2E6FDD34B}"/>
                    </a:ext>
                  </a:extLst>
                </p14:cNvPr>
                <p14:cNvContentPartPr/>
                <p14:nvPr/>
              </p14:nvContentPartPr>
              <p14:xfrm>
                <a:off x="10395742" y="431707"/>
                <a:ext cx="947520" cy="824040"/>
              </p14:xfrm>
            </p:contentPart>
          </mc:Choice>
          <mc:Fallback xmlns="">
            <p:pic>
              <p:nvPicPr>
                <p:cNvPr id="1058" name="Ink 1057">
                  <a:extLst>
                    <a:ext uri="{FF2B5EF4-FFF2-40B4-BE49-F238E27FC236}">
                      <a16:creationId xmlns:a16="http://schemas.microsoft.com/office/drawing/2014/main" id="{1D4EDD77-5971-42BE-6742-A9A2E6FDD34B}"/>
                    </a:ext>
                  </a:extLst>
                </p:cNvPr>
                <p:cNvPicPr/>
                <p:nvPr/>
              </p:nvPicPr>
              <p:blipFill>
                <a:blip r:embed="rId59"/>
                <a:stretch>
                  <a:fillRect/>
                </a:stretch>
              </p:blipFill>
              <p:spPr>
                <a:xfrm>
                  <a:off x="10389622" y="425587"/>
                  <a:ext cx="959760" cy="836280"/>
                </a:xfrm>
                <a:prstGeom prst="rect">
                  <a:avLst/>
                </a:prstGeom>
              </p:spPr>
            </p:pic>
          </mc:Fallback>
        </mc:AlternateContent>
        <mc:AlternateContent xmlns:mc="http://schemas.openxmlformats.org/markup-compatibility/2006" xmlns:p14="http://schemas.microsoft.com/office/powerpoint/2010/main">
          <mc:Choice Requires="p14">
            <p:contentPart p14:bwMode="auto" r:id="rId60">
              <p14:nvContentPartPr>
                <p14:cNvPr id="1059" name="Ink 1058">
                  <a:extLst>
                    <a:ext uri="{FF2B5EF4-FFF2-40B4-BE49-F238E27FC236}">
                      <a16:creationId xmlns:a16="http://schemas.microsoft.com/office/drawing/2014/main" id="{5EF23962-63F9-1E38-9405-242A03B243D3}"/>
                    </a:ext>
                  </a:extLst>
                </p14:cNvPr>
                <p14:cNvContentPartPr/>
                <p14:nvPr/>
              </p14:nvContentPartPr>
              <p14:xfrm>
                <a:off x="10425262" y="914467"/>
                <a:ext cx="959400" cy="360"/>
              </p14:xfrm>
            </p:contentPart>
          </mc:Choice>
          <mc:Fallback xmlns="">
            <p:pic>
              <p:nvPicPr>
                <p:cNvPr id="1059" name="Ink 1058">
                  <a:extLst>
                    <a:ext uri="{FF2B5EF4-FFF2-40B4-BE49-F238E27FC236}">
                      <a16:creationId xmlns:a16="http://schemas.microsoft.com/office/drawing/2014/main" id="{5EF23962-63F9-1E38-9405-242A03B243D3}"/>
                    </a:ext>
                  </a:extLst>
                </p:cNvPr>
                <p:cNvPicPr/>
                <p:nvPr/>
              </p:nvPicPr>
              <p:blipFill>
                <a:blip r:embed="rId61"/>
                <a:stretch>
                  <a:fillRect/>
                </a:stretch>
              </p:blipFill>
              <p:spPr>
                <a:xfrm>
                  <a:off x="10419142" y="908347"/>
                  <a:ext cx="971640" cy="12600"/>
                </a:xfrm>
                <a:prstGeom prst="rect">
                  <a:avLst/>
                </a:prstGeom>
              </p:spPr>
            </p:pic>
          </mc:Fallback>
        </mc:AlternateContent>
      </p:grpSp>
      <p:grpSp>
        <p:nvGrpSpPr>
          <p:cNvPr id="1065" name="Group 1064">
            <a:extLst>
              <a:ext uri="{FF2B5EF4-FFF2-40B4-BE49-F238E27FC236}">
                <a16:creationId xmlns:a16="http://schemas.microsoft.com/office/drawing/2014/main" id="{CDA54D71-CD82-E883-D95C-43C5FF1AA66A}"/>
              </a:ext>
            </a:extLst>
          </p:cNvPr>
          <p:cNvGrpSpPr/>
          <p:nvPr/>
        </p:nvGrpSpPr>
        <p:grpSpPr>
          <a:xfrm>
            <a:off x="2064262" y="531427"/>
            <a:ext cx="837360" cy="759960"/>
            <a:chOff x="2064262" y="531427"/>
            <a:chExt cx="837360" cy="759960"/>
          </a:xfrm>
        </p:grpSpPr>
        <mc:AlternateContent xmlns:mc="http://schemas.openxmlformats.org/markup-compatibility/2006" xmlns:p14="http://schemas.microsoft.com/office/powerpoint/2010/main">
          <mc:Choice Requires="p14">
            <p:contentPart p14:bwMode="auto" r:id="rId62">
              <p14:nvContentPartPr>
                <p14:cNvPr id="1062" name="Ink 1061">
                  <a:extLst>
                    <a:ext uri="{FF2B5EF4-FFF2-40B4-BE49-F238E27FC236}">
                      <a16:creationId xmlns:a16="http://schemas.microsoft.com/office/drawing/2014/main" id="{F3E9ECC0-7149-33BB-E899-543402C1F77C}"/>
                    </a:ext>
                  </a:extLst>
                </p14:cNvPr>
                <p14:cNvContentPartPr/>
                <p14:nvPr/>
              </p14:nvContentPartPr>
              <p14:xfrm>
                <a:off x="2064262" y="531427"/>
                <a:ext cx="837360" cy="759960"/>
              </p14:xfrm>
            </p:contentPart>
          </mc:Choice>
          <mc:Fallback xmlns="">
            <p:pic>
              <p:nvPicPr>
                <p:cNvPr id="1062" name="Ink 1061">
                  <a:extLst>
                    <a:ext uri="{FF2B5EF4-FFF2-40B4-BE49-F238E27FC236}">
                      <a16:creationId xmlns:a16="http://schemas.microsoft.com/office/drawing/2014/main" id="{F3E9ECC0-7149-33BB-E899-543402C1F77C}"/>
                    </a:ext>
                  </a:extLst>
                </p:cNvPr>
                <p:cNvPicPr/>
                <p:nvPr/>
              </p:nvPicPr>
              <p:blipFill>
                <a:blip r:embed="rId63"/>
                <a:stretch>
                  <a:fillRect/>
                </a:stretch>
              </p:blipFill>
              <p:spPr>
                <a:xfrm>
                  <a:off x="2058142" y="525307"/>
                  <a:ext cx="849600" cy="772200"/>
                </a:xfrm>
                <a:prstGeom prst="rect">
                  <a:avLst/>
                </a:prstGeom>
              </p:spPr>
            </p:pic>
          </mc:Fallback>
        </mc:AlternateContent>
        <mc:AlternateContent xmlns:mc="http://schemas.openxmlformats.org/markup-compatibility/2006" xmlns:p14="http://schemas.microsoft.com/office/powerpoint/2010/main">
          <mc:Choice Requires="p14">
            <p:contentPart p14:bwMode="auto" r:id="rId64">
              <p14:nvContentPartPr>
                <p14:cNvPr id="1063" name="Ink 1062">
                  <a:extLst>
                    <a:ext uri="{FF2B5EF4-FFF2-40B4-BE49-F238E27FC236}">
                      <a16:creationId xmlns:a16="http://schemas.microsoft.com/office/drawing/2014/main" id="{36080F80-6B41-7517-5A76-936861980497}"/>
                    </a:ext>
                  </a:extLst>
                </p14:cNvPr>
                <p14:cNvContentPartPr/>
                <p14:nvPr/>
              </p14:nvContentPartPr>
              <p14:xfrm>
                <a:off x="2070022" y="933187"/>
                <a:ext cx="826560" cy="23400"/>
              </p14:xfrm>
            </p:contentPart>
          </mc:Choice>
          <mc:Fallback xmlns="">
            <p:pic>
              <p:nvPicPr>
                <p:cNvPr id="1063" name="Ink 1062">
                  <a:extLst>
                    <a:ext uri="{FF2B5EF4-FFF2-40B4-BE49-F238E27FC236}">
                      <a16:creationId xmlns:a16="http://schemas.microsoft.com/office/drawing/2014/main" id="{36080F80-6B41-7517-5A76-936861980497}"/>
                    </a:ext>
                  </a:extLst>
                </p:cNvPr>
                <p:cNvPicPr/>
                <p:nvPr/>
              </p:nvPicPr>
              <p:blipFill>
                <a:blip r:embed="rId65"/>
                <a:stretch>
                  <a:fillRect/>
                </a:stretch>
              </p:blipFill>
              <p:spPr>
                <a:xfrm>
                  <a:off x="2063902" y="927067"/>
                  <a:ext cx="838800" cy="35640"/>
                </a:xfrm>
                <a:prstGeom prst="rect">
                  <a:avLst/>
                </a:prstGeom>
              </p:spPr>
            </p:pic>
          </mc:Fallback>
        </mc:AlternateContent>
      </p:grpSp>
      <mc:AlternateContent xmlns:mc="http://schemas.openxmlformats.org/markup-compatibility/2006" xmlns:p14="http://schemas.microsoft.com/office/powerpoint/2010/main">
        <mc:Choice Requires="p14">
          <p:contentPart p14:bwMode="auto" r:id="rId66">
            <p14:nvContentPartPr>
              <p14:cNvPr id="1066" name="Ink 1065">
                <a:extLst>
                  <a:ext uri="{FF2B5EF4-FFF2-40B4-BE49-F238E27FC236}">
                    <a16:creationId xmlns:a16="http://schemas.microsoft.com/office/drawing/2014/main" id="{ED6B05ED-CA22-4C53-C244-2FFB9620A5A0}"/>
                  </a:ext>
                </a:extLst>
              </p14:cNvPr>
              <p14:cNvContentPartPr/>
              <p14:nvPr/>
            </p14:nvContentPartPr>
            <p14:xfrm>
              <a:off x="7172302" y="-377933"/>
              <a:ext cx="360" cy="360"/>
            </p14:xfrm>
          </p:contentPart>
        </mc:Choice>
        <mc:Fallback xmlns="">
          <p:pic>
            <p:nvPicPr>
              <p:cNvPr id="1066" name="Ink 1065">
                <a:extLst>
                  <a:ext uri="{FF2B5EF4-FFF2-40B4-BE49-F238E27FC236}">
                    <a16:creationId xmlns:a16="http://schemas.microsoft.com/office/drawing/2014/main" id="{ED6B05ED-CA22-4C53-C244-2FFB9620A5A0}"/>
                  </a:ext>
                </a:extLst>
              </p:cNvPr>
              <p:cNvPicPr/>
              <p:nvPr/>
            </p:nvPicPr>
            <p:blipFill>
              <a:blip r:embed="rId5"/>
              <a:stretch>
                <a:fillRect/>
              </a:stretch>
            </p:blipFill>
            <p:spPr>
              <a:xfrm>
                <a:off x="7166182" y="-384053"/>
                <a:ext cx="12600" cy="12600"/>
              </a:xfrm>
              <a:prstGeom prst="rect">
                <a:avLst/>
              </a:prstGeom>
            </p:spPr>
          </p:pic>
        </mc:Fallback>
      </mc:AlternateContent>
    </p:spTree>
    <p:extLst>
      <p:ext uri="{BB962C8B-B14F-4D97-AF65-F5344CB8AC3E}">
        <p14:creationId xmlns:p14="http://schemas.microsoft.com/office/powerpoint/2010/main" val="20293031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Content Placeholder 2">
            <a:extLst>
              <a:ext uri="{FF2B5EF4-FFF2-40B4-BE49-F238E27FC236}">
                <a16:creationId xmlns:a16="http://schemas.microsoft.com/office/drawing/2014/main" id="{703A0B2A-E14D-3803-B342-451CFAD55413}"/>
              </a:ext>
            </a:extLst>
          </p:cNvPr>
          <p:cNvPicPr>
            <a:picLocks noGrp="1" noChangeAspect="1"/>
          </p:cNvPicPr>
          <p:nvPr>
            <p:ph idx="1"/>
          </p:nvPr>
        </p:nvPicPr>
        <p:blipFill>
          <a:blip r:embed="rId2"/>
          <a:stretch>
            <a:fillRect/>
          </a:stretch>
        </p:blipFill>
        <p:spPr>
          <a:xfrm>
            <a:off x="100013" y="142876"/>
            <a:ext cx="11930062" cy="6429374"/>
          </a:xfrm>
          <a:prstGeom prst="rect">
            <a:avLst/>
          </a:prstGeom>
        </p:spPr>
      </p:pic>
    </p:spTree>
    <p:extLst>
      <p:ext uri="{BB962C8B-B14F-4D97-AF65-F5344CB8AC3E}">
        <p14:creationId xmlns:p14="http://schemas.microsoft.com/office/powerpoint/2010/main" val="12848670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51B8DE0-82A4-5073-B983-4AA86A517C79}"/>
              </a:ext>
            </a:extLst>
          </p:cNvPr>
          <p:cNvSpPr>
            <a:spLocks noGrp="1"/>
          </p:cNvSpPr>
          <p:nvPr>
            <p:ph idx="1"/>
          </p:nvPr>
        </p:nvSpPr>
        <p:spPr>
          <a:xfrm>
            <a:off x="357188" y="542925"/>
            <a:ext cx="10996611" cy="5634038"/>
          </a:xfrm>
        </p:spPr>
        <p:txBody>
          <a:bodyPr>
            <a:normAutofit/>
          </a:bodyPr>
          <a:lstStyle/>
          <a:p>
            <a:pPr marL="742950" marR="366395" lvl="1" indent="-285750" algn="just">
              <a:lnSpc>
                <a:spcPct val="103000"/>
              </a:lnSpc>
              <a:spcBef>
                <a:spcPts val="265"/>
              </a:spcBef>
              <a:spcAft>
                <a:spcPts val="0"/>
              </a:spcAft>
              <a:buFont typeface="Arial" panose="020B0604020202020204" pitchFamily="34" charset="0"/>
              <a:buChar char="•"/>
              <a:tabLst>
                <a:tab pos="868045" algn="l"/>
              </a:tabLst>
            </a:pPr>
            <a:r>
              <a:rPr lang="en-US" sz="2800" dirty="0">
                <a:effectLst/>
                <a:latin typeface="Times New Roman" panose="02020603050405020304" pitchFamily="18" charset="0"/>
                <a:ea typeface="Times New Roman" panose="02020603050405020304" pitchFamily="18" charset="0"/>
                <a:cs typeface="Times New Roman" panose="02020603050405020304" pitchFamily="18" charset="0"/>
              </a:rPr>
              <a:t>Bayes' theorem allows updating the probability prediction</a:t>
            </a:r>
            <a:r>
              <a:rPr lang="en-US" sz="2800" spc="-635"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2800" dirty="0">
                <a:effectLst/>
                <a:latin typeface="Times New Roman" panose="02020603050405020304" pitchFamily="18" charset="0"/>
                <a:ea typeface="Times New Roman" panose="02020603050405020304" pitchFamily="18" charset="0"/>
                <a:cs typeface="Times New Roman" panose="02020603050405020304" pitchFamily="18" charset="0"/>
              </a:rPr>
              <a:t>of</a:t>
            </a:r>
            <a:r>
              <a:rPr lang="en-US" sz="2800" spc="5"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2800" dirty="0">
                <a:effectLst/>
                <a:latin typeface="Times New Roman" panose="02020603050405020304" pitchFamily="18" charset="0"/>
                <a:ea typeface="Times New Roman" panose="02020603050405020304" pitchFamily="18" charset="0"/>
                <a:cs typeface="Times New Roman" panose="02020603050405020304" pitchFamily="18" charset="0"/>
              </a:rPr>
              <a:t>an</a:t>
            </a:r>
            <a:r>
              <a:rPr lang="en-US" sz="2800" spc="5"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2800" dirty="0">
                <a:effectLst/>
                <a:latin typeface="Times New Roman" panose="02020603050405020304" pitchFamily="18" charset="0"/>
                <a:ea typeface="Times New Roman" panose="02020603050405020304" pitchFamily="18" charset="0"/>
                <a:cs typeface="Times New Roman" panose="02020603050405020304" pitchFamily="18" charset="0"/>
              </a:rPr>
              <a:t>event</a:t>
            </a:r>
            <a:r>
              <a:rPr lang="en-US" sz="2800" spc="5"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2800" dirty="0">
                <a:effectLst/>
                <a:latin typeface="Times New Roman" panose="02020603050405020304" pitchFamily="18" charset="0"/>
                <a:ea typeface="Times New Roman" panose="02020603050405020304" pitchFamily="18" charset="0"/>
                <a:cs typeface="Times New Roman" panose="02020603050405020304" pitchFamily="18" charset="0"/>
              </a:rPr>
              <a:t>by</a:t>
            </a:r>
            <a:r>
              <a:rPr lang="en-US" sz="2800" spc="5"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2800" dirty="0">
                <a:effectLst/>
                <a:latin typeface="Times New Roman" panose="02020603050405020304" pitchFamily="18" charset="0"/>
                <a:ea typeface="Times New Roman" panose="02020603050405020304" pitchFamily="18" charset="0"/>
                <a:cs typeface="Times New Roman" panose="02020603050405020304" pitchFamily="18" charset="0"/>
              </a:rPr>
              <a:t>observing</a:t>
            </a:r>
            <a:r>
              <a:rPr lang="en-US" sz="2800" spc="5"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2800" dirty="0">
                <a:effectLst/>
                <a:latin typeface="Times New Roman" panose="02020603050405020304" pitchFamily="18" charset="0"/>
                <a:ea typeface="Times New Roman" panose="02020603050405020304" pitchFamily="18" charset="0"/>
                <a:cs typeface="Times New Roman" panose="02020603050405020304" pitchFamily="18" charset="0"/>
              </a:rPr>
              <a:t>new</a:t>
            </a:r>
            <a:r>
              <a:rPr lang="en-US" sz="2800" spc="5"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2800" dirty="0">
                <a:effectLst/>
                <a:latin typeface="Times New Roman" panose="02020603050405020304" pitchFamily="18" charset="0"/>
                <a:ea typeface="Times New Roman" panose="02020603050405020304" pitchFamily="18" charset="0"/>
                <a:cs typeface="Times New Roman" panose="02020603050405020304" pitchFamily="18" charset="0"/>
              </a:rPr>
              <a:t>information</a:t>
            </a:r>
            <a:r>
              <a:rPr lang="en-US" sz="2800" spc="5"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2800" dirty="0">
                <a:effectLst/>
                <a:latin typeface="Times New Roman" panose="02020603050405020304" pitchFamily="18" charset="0"/>
                <a:ea typeface="Times New Roman" panose="02020603050405020304" pitchFamily="18" charset="0"/>
                <a:cs typeface="Times New Roman" panose="02020603050405020304" pitchFamily="18" charset="0"/>
              </a:rPr>
              <a:t>of</a:t>
            </a:r>
            <a:r>
              <a:rPr lang="en-US" sz="2800" spc="5"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2800" dirty="0">
                <a:effectLst/>
                <a:latin typeface="Times New Roman" panose="02020603050405020304" pitchFamily="18" charset="0"/>
                <a:ea typeface="Times New Roman" panose="02020603050405020304" pitchFamily="18" charset="0"/>
                <a:cs typeface="Times New Roman" panose="02020603050405020304" pitchFamily="18" charset="0"/>
              </a:rPr>
              <a:t>the</a:t>
            </a:r>
            <a:r>
              <a:rPr lang="en-US" sz="2800" spc="5"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2800" dirty="0">
                <a:effectLst/>
                <a:latin typeface="Times New Roman" panose="02020603050405020304" pitchFamily="18" charset="0"/>
                <a:ea typeface="Times New Roman" panose="02020603050405020304" pitchFamily="18" charset="0"/>
                <a:cs typeface="Times New Roman" panose="02020603050405020304" pitchFamily="18" charset="0"/>
              </a:rPr>
              <a:t>real</a:t>
            </a:r>
            <a:r>
              <a:rPr lang="en-US" sz="2800" spc="-635"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2800" dirty="0">
                <a:effectLst/>
                <a:latin typeface="Times New Roman" panose="02020603050405020304" pitchFamily="18" charset="0"/>
                <a:ea typeface="Times New Roman" panose="02020603050405020304" pitchFamily="18" charset="0"/>
                <a:cs typeface="Times New Roman" panose="02020603050405020304" pitchFamily="18" charset="0"/>
              </a:rPr>
              <a:t>world.</a:t>
            </a:r>
            <a:endParaRPr lang="en-IN" sz="280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marL="742950" marR="351790" lvl="1" indent="-285750" algn="just">
              <a:lnSpc>
                <a:spcPct val="103000"/>
              </a:lnSpc>
              <a:spcBef>
                <a:spcPts val="625"/>
              </a:spcBef>
              <a:spcAft>
                <a:spcPts val="0"/>
              </a:spcAft>
              <a:buFont typeface="Arial" panose="020B0604020202020204" pitchFamily="34" charset="0"/>
              <a:buChar char="•"/>
              <a:tabLst>
                <a:tab pos="868045" algn="l"/>
              </a:tabLst>
            </a:pPr>
            <a:r>
              <a:rPr lang="en-US" sz="2800" b="1" dirty="0">
                <a:effectLst/>
                <a:latin typeface="Times New Roman" panose="02020603050405020304" pitchFamily="18" charset="0"/>
                <a:ea typeface="Times New Roman" panose="02020603050405020304" pitchFamily="18" charset="0"/>
                <a:cs typeface="Times New Roman" panose="02020603050405020304" pitchFamily="18" charset="0"/>
              </a:rPr>
              <a:t>Example</a:t>
            </a:r>
            <a:r>
              <a:rPr lang="en-US" sz="2800" dirty="0">
                <a:effectLst/>
                <a:latin typeface="Times New Roman" panose="02020603050405020304" pitchFamily="18" charset="0"/>
                <a:ea typeface="Times New Roman" panose="02020603050405020304" pitchFamily="18" charset="0"/>
                <a:cs typeface="Times New Roman" panose="02020603050405020304" pitchFamily="18" charset="0"/>
              </a:rPr>
              <a:t>:</a:t>
            </a:r>
            <a:r>
              <a:rPr lang="en-US" sz="2800" spc="5"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2800" dirty="0">
                <a:effectLst/>
                <a:latin typeface="Times New Roman" panose="02020603050405020304" pitchFamily="18" charset="0"/>
                <a:ea typeface="Times New Roman" panose="02020603050405020304" pitchFamily="18" charset="0"/>
                <a:cs typeface="Times New Roman" panose="02020603050405020304" pitchFamily="18" charset="0"/>
              </a:rPr>
              <a:t>If</a:t>
            </a:r>
            <a:r>
              <a:rPr lang="en-US" sz="2800" spc="5"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2800" dirty="0">
                <a:effectLst/>
                <a:latin typeface="Times New Roman" panose="02020603050405020304" pitchFamily="18" charset="0"/>
                <a:ea typeface="Times New Roman" panose="02020603050405020304" pitchFamily="18" charset="0"/>
                <a:cs typeface="Times New Roman" panose="02020603050405020304" pitchFamily="18" charset="0"/>
              </a:rPr>
              <a:t>cancer</a:t>
            </a:r>
            <a:r>
              <a:rPr lang="en-US" sz="2800" spc="5"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2800" dirty="0">
                <a:effectLst/>
                <a:latin typeface="Times New Roman" panose="02020603050405020304" pitchFamily="18" charset="0"/>
                <a:ea typeface="Times New Roman" panose="02020603050405020304" pitchFamily="18" charset="0"/>
                <a:cs typeface="Times New Roman" panose="02020603050405020304" pitchFamily="18" charset="0"/>
              </a:rPr>
              <a:t>corresponds</a:t>
            </a:r>
            <a:r>
              <a:rPr lang="en-US" sz="2800" spc="5"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2800" dirty="0">
                <a:effectLst/>
                <a:latin typeface="Times New Roman" panose="02020603050405020304" pitchFamily="18" charset="0"/>
                <a:ea typeface="Times New Roman" panose="02020603050405020304" pitchFamily="18" charset="0"/>
                <a:cs typeface="Times New Roman" panose="02020603050405020304" pitchFamily="18" charset="0"/>
              </a:rPr>
              <a:t>to</a:t>
            </a:r>
            <a:r>
              <a:rPr lang="en-US" sz="2800" spc="5"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2800" dirty="0">
                <a:effectLst/>
                <a:latin typeface="Times New Roman" panose="02020603050405020304" pitchFamily="18" charset="0"/>
                <a:ea typeface="Times New Roman" panose="02020603050405020304" pitchFamily="18" charset="0"/>
                <a:cs typeface="Times New Roman" panose="02020603050405020304" pitchFamily="18" charset="0"/>
              </a:rPr>
              <a:t>one's</a:t>
            </a:r>
            <a:r>
              <a:rPr lang="en-US" sz="2800" spc="5"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2800" dirty="0">
                <a:effectLst/>
                <a:latin typeface="Times New Roman" panose="02020603050405020304" pitchFamily="18" charset="0"/>
                <a:ea typeface="Times New Roman" panose="02020603050405020304" pitchFamily="18" charset="0"/>
                <a:cs typeface="Times New Roman" panose="02020603050405020304" pitchFamily="18" charset="0"/>
              </a:rPr>
              <a:t>age</a:t>
            </a:r>
            <a:r>
              <a:rPr lang="en-US" sz="2800" spc="5"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2800" dirty="0">
                <a:effectLst/>
                <a:latin typeface="Times New Roman" panose="02020603050405020304" pitchFamily="18" charset="0"/>
                <a:ea typeface="Times New Roman" panose="02020603050405020304" pitchFamily="18" charset="0"/>
                <a:cs typeface="Times New Roman" panose="02020603050405020304" pitchFamily="18" charset="0"/>
              </a:rPr>
              <a:t>then</a:t>
            </a:r>
            <a:r>
              <a:rPr lang="en-US" sz="2800" spc="65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2800" spc="70" dirty="0">
                <a:effectLst/>
                <a:latin typeface="Times New Roman" panose="02020603050405020304" pitchFamily="18" charset="0"/>
                <a:ea typeface="Times New Roman" panose="02020603050405020304" pitchFamily="18" charset="0"/>
                <a:cs typeface="Times New Roman" panose="02020603050405020304" pitchFamily="18" charset="0"/>
              </a:rPr>
              <a:t>by</a:t>
            </a:r>
            <a:r>
              <a:rPr lang="en-US" sz="2800" spc="75"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2800" dirty="0">
                <a:effectLst/>
                <a:latin typeface="Times New Roman" panose="02020603050405020304" pitchFamily="18" charset="0"/>
                <a:ea typeface="Times New Roman" panose="02020603050405020304" pitchFamily="18" charset="0"/>
                <a:cs typeface="Times New Roman" panose="02020603050405020304" pitchFamily="18" charset="0"/>
              </a:rPr>
              <a:t>using Bayes' theorem, we can determine the probability of </a:t>
            </a:r>
            <a:r>
              <a:rPr lang="en-US" sz="2800" spc="-635"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2800" dirty="0">
                <a:effectLst/>
                <a:latin typeface="Times New Roman" panose="02020603050405020304" pitchFamily="18" charset="0"/>
                <a:ea typeface="Times New Roman" panose="02020603050405020304" pitchFamily="18" charset="0"/>
                <a:cs typeface="Times New Roman" panose="02020603050405020304" pitchFamily="18" charset="0"/>
              </a:rPr>
              <a:t>cancer</a:t>
            </a:r>
            <a:r>
              <a:rPr lang="en-US" sz="2800" spc="-4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2800" dirty="0">
                <a:effectLst/>
                <a:latin typeface="Times New Roman" panose="02020603050405020304" pitchFamily="18" charset="0"/>
                <a:ea typeface="Times New Roman" panose="02020603050405020304" pitchFamily="18" charset="0"/>
                <a:cs typeface="Times New Roman" panose="02020603050405020304" pitchFamily="18" charset="0"/>
              </a:rPr>
              <a:t>more</a:t>
            </a:r>
            <a:r>
              <a:rPr lang="en-US" sz="2800" spc="35"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2800" dirty="0">
                <a:effectLst/>
                <a:latin typeface="Times New Roman" panose="02020603050405020304" pitchFamily="18" charset="0"/>
                <a:ea typeface="Times New Roman" panose="02020603050405020304" pitchFamily="18" charset="0"/>
                <a:cs typeface="Times New Roman" panose="02020603050405020304" pitchFamily="18" charset="0"/>
              </a:rPr>
              <a:t>accurately</a:t>
            </a:r>
            <a:r>
              <a:rPr lang="en-US" sz="2800" spc="-15"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2800" dirty="0">
                <a:effectLst/>
                <a:latin typeface="Times New Roman" panose="02020603050405020304" pitchFamily="18" charset="0"/>
                <a:ea typeface="Times New Roman" panose="02020603050405020304" pitchFamily="18" charset="0"/>
                <a:cs typeface="Times New Roman" panose="02020603050405020304" pitchFamily="18" charset="0"/>
              </a:rPr>
              <a:t>with</a:t>
            </a:r>
            <a:r>
              <a:rPr lang="en-US" sz="2800" spc="-55"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2800" dirty="0">
                <a:effectLst/>
                <a:latin typeface="Times New Roman" panose="02020603050405020304" pitchFamily="18" charset="0"/>
                <a:ea typeface="Times New Roman" panose="02020603050405020304" pitchFamily="18" charset="0"/>
                <a:cs typeface="Times New Roman" panose="02020603050405020304" pitchFamily="18" charset="0"/>
              </a:rPr>
              <a:t>the</a:t>
            </a:r>
            <a:r>
              <a:rPr lang="en-US" sz="2800" spc="1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2800" dirty="0">
                <a:effectLst/>
                <a:latin typeface="Times New Roman" panose="02020603050405020304" pitchFamily="18" charset="0"/>
                <a:ea typeface="Times New Roman" panose="02020603050405020304" pitchFamily="18" charset="0"/>
                <a:cs typeface="Times New Roman" panose="02020603050405020304" pitchFamily="18" charset="0"/>
              </a:rPr>
              <a:t>help</a:t>
            </a:r>
            <a:r>
              <a:rPr lang="en-US" sz="2800" spc="-1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2800" dirty="0">
                <a:effectLst/>
                <a:latin typeface="Times New Roman" panose="02020603050405020304" pitchFamily="18" charset="0"/>
                <a:ea typeface="Times New Roman" panose="02020603050405020304" pitchFamily="18" charset="0"/>
                <a:cs typeface="Times New Roman" panose="02020603050405020304" pitchFamily="18" charset="0"/>
              </a:rPr>
              <a:t>of</a:t>
            </a:r>
            <a:r>
              <a:rPr lang="en-US" sz="2800" spc="-1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2800" dirty="0">
                <a:effectLst/>
                <a:latin typeface="Times New Roman" panose="02020603050405020304" pitchFamily="18" charset="0"/>
                <a:ea typeface="Times New Roman" panose="02020603050405020304" pitchFamily="18" charset="0"/>
                <a:cs typeface="Times New Roman" panose="02020603050405020304" pitchFamily="18" charset="0"/>
              </a:rPr>
              <a:t>age.</a:t>
            </a:r>
            <a:endParaRPr lang="en-IN" sz="280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marL="742950" marR="367030" lvl="1" indent="-285750" algn="just">
              <a:lnSpc>
                <a:spcPct val="103000"/>
              </a:lnSpc>
              <a:spcBef>
                <a:spcPts val="625"/>
              </a:spcBef>
              <a:spcAft>
                <a:spcPts val="0"/>
              </a:spcAft>
              <a:buFont typeface="Arial" panose="020B0604020202020204" pitchFamily="34" charset="0"/>
              <a:buChar char="•"/>
              <a:tabLst>
                <a:tab pos="868045" algn="l"/>
              </a:tabLst>
            </a:pPr>
            <a:r>
              <a:rPr lang="en-US" sz="2800" dirty="0">
                <a:effectLst/>
                <a:latin typeface="Times New Roman" panose="02020603050405020304" pitchFamily="18" charset="0"/>
                <a:ea typeface="Times New Roman" panose="02020603050405020304" pitchFamily="18" charset="0"/>
                <a:cs typeface="Times New Roman" panose="02020603050405020304" pitchFamily="18" charset="0"/>
              </a:rPr>
              <a:t>Bayes'</a:t>
            </a:r>
            <a:r>
              <a:rPr lang="en-US" sz="2800" spc="5"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2800" dirty="0">
                <a:effectLst/>
                <a:latin typeface="Times New Roman" panose="02020603050405020304" pitchFamily="18" charset="0"/>
                <a:ea typeface="Times New Roman" panose="02020603050405020304" pitchFamily="18" charset="0"/>
                <a:cs typeface="Times New Roman" panose="02020603050405020304" pitchFamily="18" charset="0"/>
              </a:rPr>
              <a:t>theorem can</a:t>
            </a:r>
            <a:r>
              <a:rPr lang="en-US" sz="2800" spc="5"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2800" dirty="0">
                <a:effectLst/>
                <a:latin typeface="Times New Roman" panose="02020603050405020304" pitchFamily="18" charset="0"/>
                <a:ea typeface="Times New Roman" panose="02020603050405020304" pitchFamily="18" charset="0"/>
                <a:cs typeface="Times New Roman" panose="02020603050405020304" pitchFamily="18" charset="0"/>
              </a:rPr>
              <a:t>be</a:t>
            </a:r>
            <a:r>
              <a:rPr lang="en-US" sz="2800" spc="5"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2800" dirty="0">
                <a:effectLst/>
                <a:latin typeface="Times New Roman" panose="02020603050405020304" pitchFamily="18" charset="0"/>
                <a:ea typeface="Times New Roman" panose="02020603050405020304" pitchFamily="18" charset="0"/>
                <a:cs typeface="Times New Roman" panose="02020603050405020304" pitchFamily="18" charset="0"/>
              </a:rPr>
              <a:t>derived</a:t>
            </a:r>
            <a:r>
              <a:rPr lang="en-US" sz="2800" spc="5"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2800" dirty="0">
                <a:effectLst/>
                <a:latin typeface="Times New Roman" panose="02020603050405020304" pitchFamily="18" charset="0"/>
                <a:ea typeface="Times New Roman" panose="02020603050405020304" pitchFamily="18" charset="0"/>
                <a:cs typeface="Times New Roman" panose="02020603050405020304" pitchFamily="18" charset="0"/>
              </a:rPr>
              <a:t>using</a:t>
            </a:r>
            <a:r>
              <a:rPr lang="en-US" sz="2800" spc="5"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2800" dirty="0">
                <a:effectLst/>
                <a:latin typeface="Times New Roman" panose="02020603050405020304" pitchFamily="18" charset="0"/>
                <a:ea typeface="Times New Roman" panose="02020603050405020304" pitchFamily="18" charset="0"/>
                <a:cs typeface="Times New Roman" panose="02020603050405020304" pitchFamily="18" charset="0"/>
              </a:rPr>
              <a:t>product</a:t>
            </a:r>
            <a:r>
              <a:rPr lang="en-US" sz="2800" spc="5"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2800" dirty="0">
                <a:effectLst/>
                <a:latin typeface="Times New Roman" panose="02020603050405020304" pitchFamily="18" charset="0"/>
                <a:ea typeface="Times New Roman" panose="02020603050405020304" pitchFamily="18" charset="0"/>
                <a:cs typeface="Times New Roman" panose="02020603050405020304" pitchFamily="18" charset="0"/>
              </a:rPr>
              <a:t>rule</a:t>
            </a:r>
            <a:r>
              <a:rPr lang="en-US" sz="2800" spc="5"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2800" dirty="0">
                <a:effectLst/>
                <a:latin typeface="Times New Roman" panose="02020603050405020304" pitchFamily="18" charset="0"/>
                <a:ea typeface="Times New Roman" panose="02020603050405020304" pitchFamily="18" charset="0"/>
                <a:cs typeface="Times New Roman" panose="02020603050405020304" pitchFamily="18" charset="0"/>
              </a:rPr>
              <a:t>and</a:t>
            </a:r>
            <a:r>
              <a:rPr lang="en-US" sz="2800" spc="-635"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2800" dirty="0">
                <a:effectLst/>
                <a:latin typeface="Times New Roman" panose="02020603050405020304" pitchFamily="18" charset="0"/>
                <a:ea typeface="Times New Roman" panose="02020603050405020304" pitchFamily="18" charset="0"/>
                <a:cs typeface="Times New Roman" panose="02020603050405020304" pitchFamily="18" charset="0"/>
              </a:rPr>
              <a:t>conditional</a:t>
            </a:r>
            <a:r>
              <a:rPr lang="en-US" sz="2800" spc="24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2800" dirty="0">
                <a:effectLst/>
                <a:latin typeface="Times New Roman" panose="02020603050405020304" pitchFamily="18" charset="0"/>
                <a:ea typeface="Times New Roman" panose="02020603050405020304" pitchFamily="18" charset="0"/>
                <a:cs typeface="Times New Roman" panose="02020603050405020304" pitchFamily="18" charset="0"/>
              </a:rPr>
              <a:t>probability</a:t>
            </a:r>
            <a:r>
              <a:rPr lang="en-US" sz="2800" spc="26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2800" dirty="0">
                <a:effectLst/>
                <a:latin typeface="Times New Roman" panose="02020603050405020304" pitchFamily="18" charset="0"/>
                <a:ea typeface="Times New Roman" panose="02020603050405020304" pitchFamily="18" charset="0"/>
                <a:cs typeface="Times New Roman" panose="02020603050405020304" pitchFamily="18" charset="0"/>
              </a:rPr>
              <a:t>of</a:t>
            </a:r>
            <a:r>
              <a:rPr lang="en-US" sz="2800" spc="185"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2800" dirty="0">
                <a:effectLst/>
                <a:latin typeface="Times New Roman" panose="02020603050405020304" pitchFamily="18" charset="0"/>
                <a:ea typeface="Times New Roman" panose="02020603050405020304" pitchFamily="18" charset="0"/>
                <a:cs typeface="Times New Roman" panose="02020603050405020304" pitchFamily="18" charset="0"/>
              </a:rPr>
              <a:t>event</a:t>
            </a:r>
            <a:r>
              <a:rPr lang="en-US" sz="2800" spc="-15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2800" dirty="0">
                <a:effectLst/>
                <a:latin typeface="Times New Roman" panose="02020603050405020304" pitchFamily="18" charset="0"/>
                <a:ea typeface="Times New Roman" panose="02020603050405020304" pitchFamily="18" charset="0"/>
                <a:cs typeface="Times New Roman" panose="02020603050405020304" pitchFamily="18" charset="0"/>
              </a:rPr>
              <a:t>A</a:t>
            </a:r>
            <a:r>
              <a:rPr lang="en-US" sz="2800" spc="-15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2800" dirty="0">
                <a:effectLst/>
                <a:latin typeface="Times New Roman" panose="02020603050405020304" pitchFamily="18" charset="0"/>
                <a:ea typeface="Times New Roman" panose="02020603050405020304" pitchFamily="18" charset="0"/>
                <a:cs typeface="Times New Roman" panose="02020603050405020304" pitchFamily="18" charset="0"/>
              </a:rPr>
              <a:t>with</a:t>
            </a:r>
            <a:r>
              <a:rPr lang="en-US" sz="2800" spc="25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2800" dirty="0">
                <a:effectLst/>
                <a:latin typeface="Times New Roman" panose="02020603050405020304" pitchFamily="18" charset="0"/>
                <a:ea typeface="Times New Roman" panose="02020603050405020304" pitchFamily="18" charset="0"/>
                <a:cs typeface="Times New Roman" panose="02020603050405020304" pitchFamily="18" charset="0"/>
              </a:rPr>
              <a:t>known</a:t>
            </a:r>
            <a:r>
              <a:rPr lang="en-US" sz="2800" spc="225"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2800" dirty="0">
                <a:effectLst/>
                <a:latin typeface="Times New Roman" panose="02020603050405020304" pitchFamily="18" charset="0"/>
                <a:ea typeface="Times New Roman" panose="02020603050405020304" pitchFamily="18" charset="0"/>
                <a:cs typeface="Times New Roman" panose="02020603050405020304" pitchFamily="18" charset="0"/>
              </a:rPr>
              <a:t>event</a:t>
            </a:r>
            <a:r>
              <a:rPr lang="en-US" sz="2800" spc="21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2800" dirty="0">
                <a:effectLst/>
                <a:latin typeface="Times New Roman" panose="02020603050405020304" pitchFamily="18" charset="0"/>
                <a:ea typeface="Times New Roman" panose="02020603050405020304" pitchFamily="18" charset="0"/>
                <a:cs typeface="Times New Roman" panose="02020603050405020304" pitchFamily="18" charset="0"/>
              </a:rPr>
              <a:t>B:</a:t>
            </a:r>
            <a:endParaRPr lang="en-IN" sz="280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marL="742950" lvl="1" indent="-285750" algn="just">
              <a:spcBef>
                <a:spcPts val="615"/>
              </a:spcBef>
              <a:buFont typeface="Arial" panose="020B0604020202020204" pitchFamily="34" charset="0"/>
              <a:buChar char="•"/>
              <a:tabLst>
                <a:tab pos="868045" algn="l"/>
              </a:tabLst>
            </a:pPr>
            <a:r>
              <a:rPr lang="en-US" sz="2800" dirty="0">
                <a:effectLst/>
                <a:latin typeface="Times New Roman" panose="02020603050405020304" pitchFamily="18" charset="0"/>
                <a:ea typeface="Times New Roman" panose="02020603050405020304" pitchFamily="18" charset="0"/>
                <a:cs typeface="Times New Roman" panose="02020603050405020304" pitchFamily="18" charset="0"/>
              </a:rPr>
              <a:t>As</a:t>
            </a:r>
            <a:r>
              <a:rPr lang="en-US" sz="2800" spc="-15"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2800" dirty="0">
                <a:effectLst/>
                <a:latin typeface="Times New Roman" panose="02020603050405020304" pitchFamily="18" charset="0"/>
                <a:ea typeface="Times New Roman" panose="02020603050405020304" pitchFamily="18" charset="0"/>
                <a:cs typeface="Times New Roman" panose="02020603050405020304" pitchFamily="18" charset="0"/>
              </a:rPr>
              <a:t>from</a:t>
            </a:r>
            <a:r>
              <a:rPr lang="en-US" sz="2800" spc="-35"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2800" dirty="0">
                <a:effectLst/>
                <a:latin typeface="Times New Roman" panose="02020603050405020304" pitchFamily="18" charset="0"/>
                <a:ea typeface="Times New Roman" panose="02020603050405020304" pitchFamily="18" charset="0"/>
                <a:cs typeface="Times New Roman" panose="02020603050405020304" pitchFamily="18" charset="0"/>
              </a:rPr>
              <a:t>product</a:t>
            </a:r>
            <a:r>
              <a:rPr lang="en-US" sz="2800" spc="-2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2800" dirty="0">
                <a:effectLst/>
                <a:latin typeface="Times New Roman" panose="02020603050405020304" pitchFamily="18" charset="0"/>
                <a:ea typeface="Times New Roman" panose="02020603050405020304" pitchFamily="18" charset="0"/>
                <a:cs typeface="Times New Roman" panose="02020603050405020304" pitchFamily="18" charset="0"/>
              </a:rPr>
              <a:t>rule</a:t>
            </a:r>
            <a:r>
              <a:rPr lang="en-US" sz="2800" spc="-3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2800" dirty="0">
                <a:effectLst/>
                <a:latin typeface="Times New Roman" panose="02020603050405020304" pitchFamily="18" charset="0"/>
                <a:ea typeface="Times New Roman" panose="02020603050405020304" pitchFamily="18" charset="0"/>
                <a:cs typeface="Times New Roman" panose="02020603050405020304" pitchFamily="18" charset="0"/>
              </a:rPr>
              <a:t>we</a:t>
            </a:r>
            <a:r>
              <a:rPr lang="en-US" sz="2800" spc="-4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2800" dirty="0">
                <a:effectLst/>
                <a:latin typeface="Times New Roman" panose="02020603050405020304" pitchFamily="18" charset="0"/>
                <a:ea typeface="Times New Roman" panose="02020603050405020304" pitchFamily="18" charset="0"/>
                <a:cs typeface="Times New Roman" panose="02020603050405020304" pitchFamily="18" charset="0"/>
              </a:rPr>
              <a:t>can</a:t>
            </a:r>
            <a:r>
              <a:rPr lang="en-US" sz="2800" spc="-35"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2800" dirty="0">
                <a:effectLst/>
                <a:latin typeface="Times New Roman" panose="02020603050405020304" pitchFamily="18" charset="0"/>
                <a:ea typeface="Times New Roman" panose="02020603050405020304" pitchFamily="18" charset="0"/>
                <a:cs typeface="Times New Roman" panose="02020603050405020304" pitchFamily="18" charset="0"/>
              </a:rPr>
              <a:t>write:</a:t>
            </a:r>
            <a:endParaRPr lang="en-IN" sz="280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marL="1437640">
              <a:spcBef>
                <a:spcPts val="610"/>
              </a:spcBef>
              <a:spcAft>
                <a:spcPts val="0"/>
              </a:spcAft>
            </a:pPr>
            <a:r>
              <a:rPr lang="en-US" dirty="0">
                <a:solidFill>
                  <a:srgbClr val="FF0000"/>
                </a:solidFill>
                <a:effectLst/>
                <a:latin typeface="Times New Roman" panose="02020603050405020304" pitchFamily="18" charset="0"/>
                <a:ea typeface="Times New Roman" panose="02020603050405020304" pitchFamily="18" charset="0"/>
                <a:cs typeface="Times New Roman" panose="02020603050405020304" pitchFamily="18" charset="0"/>
              </a:rPr>
              <a:t>P(A ⋀</a:t>
            </a:r>
            <a:r>
              <a:rPr lang="en-US" spc="15" dirty="0">
                <a:solidFill>
                  <a:srgbClr val="FF0000"/>
                </a:solidFill>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dirty="0">
                <a:solidFill>
                  <a:srgbClr val="FF0000"/>
                </a:solidFill>
                <a:effectLst/>
                <a:latin typeface="Times New Roman" panose="02020603050405020304" pitchFamily="18" charset="0"/>
                <a:ea typeface="Times New Roman" panose="02020603050405020304" pitchFamily="18" charset="0"/>
                <a:cs typeface="Times New Roman" panose="02020603050405020304" pitchFamily="18" charset="0"/>
              </a:rPr>
              <a:t>B)=</a:t>
            </a:r>
            <a:r>
              <a:rPr lang="en-US" spc="-20" dirty="0">
                <a:solidFill>
                  <a:srgbClr val="FF0000"/>
                </a:solidFill>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dirty="0">
                <a:solidFill>
                  <a:srgbClr val="FF0000"/>
                </a:solidFill>
                <a:effectLst/>
                <a:latin typeface="Times New Roman" panose="02020603050405020304" pitchFamily="18" charset="0"/>
                <a:ea typeface="Times New Roman" panose="02020603050405020304" pitchFamily="18" charset="0"/>
                <a:cs typeface="Times New Roman" panose="02020603050405020304" pitchFamily="18" charset="0"/>
              </a:rPr>
              <a:t>P(A|B)</a:t>
            </a:r>
            <a:r>
              <a:rPr lang="en-US" spc="10" dirty="0">
                <a:solidFill>
                  <a:srgbClr val="FF0000"/>
                </a:solidFill>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dirty="0">
                <a:solidFill>
                  <a:srgbClr val="FF0000"/>
                </a:solidFill>
                <a:effectLst/>
                <a:latin typeface="Times New Roman" panose="02020603050405020304" pitchFamily="18" charset="0"/>
                <a:ea typeface="Times New Roman" panose="02020603050405020304" pitchFamily="18" charset="0"/>
                <a:cs typeface="Times New Roman" panose="02020603050405020304" pitchFamily="18" charset="0"/>
              </a:rPr>
              <a:t>P(B)</a:t>
            </a:r>
            <a:r>
              <a:rPr lang="en-US" spc="-1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cs typeface="Times New Roman" panose="02020603050405020304" pitchFamily="18" charset="0"/>
              </a:rPr>
              <a:t>or</a:t>
            </a:r>
            <a:endParaRPr lang="en-IN" dirty="0">
              <a:effectLst/>
              <a:latin typeface="Times New Roman" panose="02020603050405020304" pitchFamily="18" charset="0"/>
              <a:ea typeface="Times New Roman" panose="02020603050405020304" pitchFamily="18" charset="0"/>
              <a:cs typeface="Times New Roman" panose="02020603050405020304" pitchFamily="18" charset="0"/>
            </a:endParaRPr>
          </a:p>
          <a:p>
            <a:pPr marL="523240">
              <a:spcBef>
                <a:spcPts val="760"/>
              </a:spcBef>
              <a:spcAft>
                <a:spcPts val="0"/>
              </a:spcAft>
            </a:pPr>
            <a:r>
              <a:rPr lang="en-US" dirty="0">
                <a:effectLst/>
                <a:latin typeface="Times New Roman" panose="02020603050405020304" pitchFamily="18" charset="0"/>
                <a:ea typeface="Times New Roman" panose="02020603050405020304" pitchFamily="18" charset="0"/>
                <a:cs typeface="Times New Roman" panose="02020603050405020304" pitchFamily="18" charset="0"/>
              </a:rPr>
              <a:t>Similarly,</a:t>
            </a:r>
            <a:r>
              <a:rPr lang="en-US" spc="45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cs typeface="Times New Roman" panose="02020603050405020304" pitchFamily="18" charset="0"/>
              </a:rPr>
              <a:t>the</a:t>
            </a:r>
            <a:r>
              <a:rPr lang="en-US" spc="2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cs typeface="Times New Roman" panose="02020603050405020304" pitchFamily="18" charset="0"/>
              </a:rPr>
              <a:t>probability</a:t>
            </a:r>
            <a:r>
              <a:rPr lang="en-US" spc="3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cs typeface="Times New Roman" panose="02020603050405020304" pitchFamily="18" charset="0"/>
              </a:rPr>
              <a:t>of</a:t>
            </a:r>
            <a:r>
              <a:rPr lang="en-US" spc="2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cs typeface="Times New Roman" panose="02020603050405020304" pitchFamily="18" charset="0"/>
              </a:rPr>
              <a:t>event</a:t>
            </a:r>
            <a:r>
              <a:rPr lang="en-US" spc="225"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cs typeface="Times New Roman" panose="02020603050405020304" pitchFamily="18" charset="0"/>
              </a:rPr>
              <a:t>B</a:t>
            </a:r>
            <a:r>
              <a:rPr lang="en-US" spc="235"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cs typeface="Times New Roman" panose="02020603050405020304" pitchFamily="18" charset="0"/>
              </a:rPr>
              <a:t>with</a:t>
            </a:r>
            <a:r>
              <a:rPr lang="en-US" spc="265"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cs typeface="Times New Roman" panose="02020603050405020304" pitchFamily="18" charset="0"/>
              </a:rPr>
              <a:t>known</a:t>
            </a:r>
            <a:r>
              <a:rPr lang="en-US" spc="2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cs typeface="Times New Roman" panose="02020603050405020304" pitchFamily="18" charset="0"/>
              </a:rPr>
              <a:t>event</a:t>
            </a:r>
            <a:r>
              <a:rPr lang="en-US" spc="-17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cs typeface="Times New Roman" panose="02020603050405020304" pitchFamily="18" charset="0"/>
              </a:rPr>
              <a:t>A:</a:t>
            </a:r>
            <a:endParaRPr lang="en-IN" dirty="0">
              <a:effectLst/>
              <a:latin typeface="Times New Roman" panose="02020603050405020304" pitchFamily="18" charset="0"/>
              <a:ea typeface="Times New Roman" panose="02020603050405020304" pitchFamily="18" charset="0"/>
              <a:cs typeface="Times New Roman" panose="02020603050405020304" pitchFamily="18" charset="0"/>
            </a:endParaRPr>
          </a:p>
          <a:p>
            <a:pPr marL="1437640">
              <a:spcBef>
                <a:spcPts val="615"/>
              </a:spcBef>
              <a:spcAft>
                <a:spcPts val="0"/>
              </a:spcAft>
            </a:pPr>
            <a:r>
              <a:rPr lang="en-US" dirty="0">
                <a:solidFill>
                  <a:srgbClr val="FF0000"/>
                </a:solidFill>
                <a:effectLst/>
                <a:latin typeface="Times New Roman" panose="02020603050405020304" pitchFamily="18" charset="0"/>
                <a:ea typeface="Times New Roman" panose="02020603050405020304" pitchFamily="18" charset="0"/>
                <a:cs typeface="Times New Roman" panose="02020603050405020304" pitchFamily="18" charset="0"/>
              </a:rPr>
              <a:t>P(A</a:t>
            </a:r>
            <a:r>
              <a:rPr lang="en-US" spc="-5" dirty="0">
                <a:solidFill>
                  <a:srgbClr val="FF0000"/>
                </a:solidFill>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dirty="0">
                <a:solidFill>
                  <a:srgbClr val="FF0000"/>
                </a:solidFill>
                <a:effectLst/>
                <a:latin typeface="Times New Roman" panose="02020603050405020304" pitchFamily="18" charset="0"/>
                <a:ea typeface="Times New Roman" panose="02020603050405020304" pitchFamily="18" charset="0"/>
                <a:cs typeface="Times New Roman" panose="02020603050405020304" pitchFamily="18" charset="0"/>
              </a:rPr>
              <a:t>⋀</a:t>
            </a:r>
            <a:r>
              <a:rPr lang="en-US" spc="-15" dirty="0">
                <a:solidFill>
                  <a:srgbClr val="FF0000"/>
                </a:solidFill>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dirty="0">
                <a:solidFill>
                  <a:srgbClr val="FF0000"/>
                </a:solidFill>
                <a:effectLst/>
                <a:latin typeface="Times New Roman" panose="02020603050405020304" pitchFamily="18" charset="0"/>
                <a:ea typeface="Times New Roman" panose="02020603050405020304" pitchFamily="18" charset="0"/>
                <a:cs typeface="Times New Roman" panose="02020603050405020304" pitchFamily="18" charset="0"/>
              </a:rPr>
              <a:t>B)= P(B|A)</a:t>
            </a:r>
            <a:r>
              <a:rPr lang="en-US" spc="-15" dirty="0">
                <a:solidFill>
                  <a:srgbClr val="FF0000"/>
                </a:solidFill>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dirty="0">
                <a:solidFill>
                  <a:srgbClr val="FF0000"/>
                </a:solidFill>
                <a:effectLst/>
                <a:latin typeface="Times New Roman" panose="02020603050405020304" pitchFamily="18" charset="0"/>
                <a:ea typeface="Times New Roman" panose="02020603050405020304" pitchFamily="18" charset="0"/>
                <a:cs typeface="Times New Roman" panose="02020603050405020304" pitchFamily="18" charset="0"/>
              </a:rPr>
              <a:t>P(A)</a:t>
            </a:r>
            <a:endParaRPr lang="en-IN" dirty="0">
              <a:solidFill>
                <a:srgbClr val="FF0000"/>
              </a:solidFill>
              <a:effectLst/>
              <a:latin typeface="Times New Roman" panose="02020603050405020304" pitchFamily="18" charset="0"/>
              <a:ea typeface="Times New Roman" panose="02020603050405020304" pitchFamily="18" charset="0"/>
              <a:cs typeface="Times New Roman" panose="02020603050405020304" pitchFamily="18" charset="0"/>
            </a:endParaRPr>
          </a:p>
          <a:p>
            <a:endParaRPr lang="en-US"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49034602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C855A18-42C3-4CAC-A3BA-65032F1F9251}"/>
              </a:ext>
            </a:extLst>
          </p:cNvPr>
          <p:cNvGraphicFramePr>
            <a:graphicFrameLocks noChangeAspect="1"/>
          </p:cNvGraphicFramePr>
          <p:nvPr>
            <p:custDataLst>
              <p:tags r:id="rId1"/>
            </p:custDataLst>
            <p:extLst>
              <p:ext uri="{D42A27DB-BD31-4B8C-83A1-F6EECF244321}">
                <p14:modId xmlns:p14="http://schemas.microsoft.com/office/powerpoint/2010/main" val="2897682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think-cell data - do not delete" hidden="1">
                        <a:extLst>
                          <a:ext uri="{FF2B5EF4-FFF2-40B4-BE49-F238E27FC236}">
                            <a16:creationId xmlns:a16="http://schemas.microsoft.com/office/drawing/2014/main" id="{7C855A18-42C3-4CAC-A3BA-65032F1F925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40212CB-1DB5-E6A1-4DF7-AF83E7529571}"/>
              </a:ext>
            </a:extLst>
          </p:cNvPr>
          <p:cNvSpPr>
            <a:spLocks noGrp="1"/>
          </p:cNvSpPr>
          <p:nvPr>
            <p:ph type="title"/>
          </p:nvPr>
        </p:nvSpPr>
        <p:spPr>
          <a:xfrm>
            <a:off x="635000" y="169334"/>
            <a:ext cx="10718800" cy="829733"/>
          </a:xfrm>
        </p:spPr>
        <p:txBody>
          <a:bodyPr vert="horz"/>
          <a:lstStyle/>
          <a:p>
            <a:r>
              <a:rPr lang="en-US" dirty="0"/>
              <a:t>UTILITY BASED SYSTEM</a:t>
            </a:r>
          </a:p>
        </p:txBody>
      </p:sp>
      <p:sp>
        <p:nvSpPr>
          <p:cNvPr id="3" name="Content Placeholder 2">
            <a:extLst>
              <a:ext uri="{FF2B5EF4-FFF2-40B4-BE49-F238E27FC236}">
                <a16:creationId xmlns:a16="http://schemas.microsoft.com/office/drawing/2014/main" id="{AD6E1D2C-0F0E-5A33-EAA1-AD7E2A5A283E}"/>
              </a:ext>
            </a:extLst>
          </p:cNvPr>
          <p:cNvSpPr>
            <a:spLocks noGrp="1"/>
          </p:cNvSpPr>
          <p:nvPr>
            <p:ph idx="1"/>
          </p:nvPr>
        </p:nvSpPr>
        <p:spPr>
          <a:xfrm>
            <a:off x="465667" y="1371601"/>
            <a:ext cx="10888133" cy="4512732"/>
          </a:xfrm>
        </p:spPr>
        <p:txBody>
          <a:bodyPr>
            <a:normAutofit/>
          </a:bodyPr>
          <a:lstStyle/>
          <a:p>
            <a:pPr marL="742950" marR="135890" lvl="1" indent="-285750" algn="just">
              <a:lnSpc>
                <a:spcPct val="150000"/>
              </a:lnSpc>
              <a:spcBef>
                <a:spcPts val="175"/>
              </a:spcBef>
              <a:spcAft>
                <a:spcPts val="0"/>
              </a:spcAft>
              <a:buFont typeface="Arial" panose="020B0604020202020204" pitchFamily="34" charset="0"/>
              <a:buChar char="•"/>
              <a:tabLst>
                <a:tab pos="855980" algn="l"/>
              </a:tabLst>
            </a:pPr>
            <a:r>
              <a:rPr lang="en-IN" sz="1600" spc="5" dirty="0">
                <a:effectLst/>
                <a:latin typeface="Times New Roman" panose="02020603050405020304" pitchFamily="18" charset="0"/>
                <a:ea typeface="Calibri" panose="020F0502020204030204" pitchFamily="34" charset="0"/>
                <a:cs typeface="Times New Roman" panose="02020603050405020304" pitchFamily="18" charset="0"/>
              </a:rPr>
              <a:t>These agents are similar to the goal-based agent but provide an extra component of utility measurement which makes them different</a:t>
            </a:r>
            <a:r>
              <a:rPr lang="en-IN" sz="1600" spc="75" dirty="0">
                <a:effectLst/>
                <a:latin typeface="Times New Roman" panose="02020603050405020304" pitchFamily="18" charset="0"/>
                <a:ea typeface="Calibri" panose="020F0502020204030204" pitchFamily="34" charset="0"/>
                <a:cs typeface="Times New Roman" panose="02020603050405020304" pitchFamily="18" charset="0"/>
              </a:rPr>
              <a:t> </a:t>
            </a:r>
            <a:r>
              <a:rPr lang="en-IN" sz="1600" spc="5" dirty="0">
                <a:effectLst/>
                <a:latin typeface="Times New Roman" panose="02020603050405020304" pitchFamily="18" charset="0"/>
                <a:ea typeface="Calibri" panose="020F0502020204030204" pitchFamily="34" charset="0"/>
                <a:cs typeface="Times New Roman" panose="02020603050405020304" pitchFamily="18" charset="0"/>
              </a:rPr>
              <a:t>by</a:t>
            </a:r>
            <a:r>
              <a:rPr lang="en-IN" sz="1600" spc="-15" dirty="0">
                <a:effectLst/>
                <a:latin typeface="Times New Roman" panose="02020603050405020304" pitchFamily="18" charset="0"/>
                <a:ea typeface="Calibri" panose="020F0502020204030204" pitchFamily="34" charset="0"/>
                <a:cs typeface="Times New Roman" panose="02020603050405020304" pitchFamily="18" charset="0"/>
              </a:rPr>
              <a:t> </a:t>
            </a:r>
            <a:r>
              <a:rPr lang="en-IN" sz="1600" spc="5" dirty="0">
                <a:effectLst/>
                <a:latin typeface="Times New Roman" panose="02020603050405020304" pitchFamily="18" charset="0"/>
                <a:ea typeface="Calibri" panose="020F0502020204030204" pitchFamily="34" charset="0"/>
                <a:cs typeface="Times New Roman" panose="02020603050405020304" pitchFamily="18" charset="0"/>
              </a:rPr>
              <a:t>providing</a:t>
            </a:r>
            <a:r>
              <a:rPr lang="en-IN" sz="1600" spc="-40" dirty="0">
                <a:effectLst/>
                <a:latin typeface="Times New Roman" panose="02020603050405020304" pitchFamily="18" charset="0"/>
                <a:ea typeface="Calibri" panose="020F0502020204030204" pitchFamily="34" charset="0"/>
                <a:cs typeface="Times New Roman" panose="02020603050405020304" pitchFamily="18" charset="0"/>
              </a:rPr>
              <a:t> </a:t>
            </a:r>
            <a:r>
              <a:rPr lang="en-IN" sz="1600" spc="5" dirty="0">
                <a:effectLst/>
                <a:latin typeface="Times New Roman" panose="02020603050405020304" pitchFamily="18" charset="0"/>
                <a:ea typeface="Calibri" panose="020F0502020204030204" pitchFamily="34" charset="0"/>
                <a:cs typeface="Times New Roman" panose="02020603050405020304" pitchFamily="18" charset="0"/>
              </a:rPr>
              <a:t>a</a:t>
            </a:r>
            <a:r>
              <a:rPr lang="en-IN" sz="1600" spc="-5" dirty="0">
                <a:effectLst/>
                <a:latin typeface="Times New Roman" panose="02020603050405020304" pitchFamily="18" charset="0"/>
                <a:ea typeface="Calibri" panose="020F0502020204030204" pitchFamily="34" charset="0"/>
                <a:cs typeface="Times New Roman" panose="02020603050405020304" pitchFamily="18" charset="0"/>
              </a:rPr>
              <a:t> </a:t>
            </a:r>
            <a:r>
              <a:rPr lang="en-IN" sz="1600" spc="5" dirty="0">
                <a:effectLst/>
                <a:latin typeface="Times New Roman" panose="02020603050405020304" pitchFamily="18" charset="0"/>
                <a:ea typeface="Calibri" panose="020F0502020204030204" pitchFamily="34" charset="0"/>
                <a:cs typeface="Times New Roman" panose="02020603050405020304" pitchFamily="18" charset="0"/>
              </a:rPr>
              <a:t>measure</a:t>
            </a:r>
            <a:r>
              <a:rPr lang="en-IN" sz="1600" spc="-55" dirty="0">
                <a:effectLst/>
                <a:latin typeface="Times New Roman" panose="02020603050405020304" pitchFamily="18" charset="0"/>
                <a:ea typeface="Calibri" panose="020F0502020204030204" pitchFamily="34" charset="0"/>
                <a:cs typeface="Times New Roman" panose="02020603050405020304" pitchFamily="18" charset="0"/>
              </a:rPr>
              <a:t> </a:t>
            </a:r>
            <a:r>
              <a:rPr lang="en-IN" sz="1600" spc="5" dirty="0">
                <a:effectLst/>
                <a:latin typeface="Times New Roman" panose="02020603050405020304" pitchFamily="18" charset="0"/>
                <a:ea typeface="Calibri" panose="020F0502020204030204" pitchFamily="34" charset="0"/>
                <a:cs typeface="Times New Roman" panose="02020603050405020304" pitchFamily="18" charset="0"/>
              </a:rPr>
              <a:t>of</a:t>
            </a:r>
            <a:r>
              <a:rPr lang="en-IN" sz="1600" spc="-30" dirty="0">
                <a:effectLst/>
                <a:latin typeface="Times New Roman" panose="02020603050405020304" pitchFamily="18" charset="0"/>
                <a:ea typeface="Calibri" panose="020F0502020204030204" pitchFamily="34" charset="0"/>
                <a:cs typeface="Times New Roman" panose="02020603050405020304" pitchFamily="18" charset="0"/>
              </a:rPr>
              <a:t> </a:t>
            </a:r>
            <a:r>
              <a:rPr lang="en-IN" sz="1600" spc="5" dirty="0">
                <a:effectLst/>
                <a:latin typeface="Times New Roman" panose="02020603050405020304" pitchFamily="18" charset="0"/>
                <a:ea typeface="Calibri" panose="020F0502020204030204" pitchFamily="34" charset="0"/>
                <a:cs typeface="Times New Roman" panose="02020603050405020304" pitchFamily="18" charset="0"/>
              </a:rPr>
              <a:t>success</a:t>
            </a:r>
            <a:r>
              <a:rPr lang="en-IN" sz="1600" spc="10" dirty="0">
                <a:effectLst/>
                <a:latin typeface="Times New Roman" panose="02020603050405020304" pitchFamily="18" charset="0"/>
                <a:ea typeface="Calibri" panose="020F0502020204030204" pitchFamily="34" charset="0"/>
                <a:cs typeface="Times New Roman" panose="02020603050405020304" pitchFamily="18" charset="0"/>
              </a:rPr>
              <a:t> </a:t>
            </a:r>
            <a:r>
              <a:rPr lang="en-IN" sz="1600" spc="5" dirty="0">
                <a:effectLst/>
                <a:latin typeface="Times New Roman" panose="02020603050405020304" pitchFamily="18" charset="0"/>
                <a:ea typeface="Calibri" panose="020F0502020204030204" pitchFamily="34" charset="0"/>
                <a:cs typeface="Times New Roman" panose="02020603050405020304" pitchFamily="18" charset="0"/>
              </a:rPr>
              <a:t>at</a:t>
            </a:r>
            <a:r>
              <a:rPr lang="en-IN" sz="1600" spc="-10" dirty="0">
                <a:effectLst/>
                <a:latin typeface="Times New Roman" panose="02020603050405020304" pitchFamily="18" charset="0"/>
                <a:ea typeface="Calibri" panose="020F0502020204030204" pitchFamily="34" charset="0"/>
                <a:cs typeface="Times New Roman" panose="02020603050405020304" pitchFamily="18" charset="0"/>
              </a:rPr>
              <a:t> </a:t>
            </a:r>
            <a:r>
              <a:rPr lang="en-IN" sz="1600" spc="5" dirty="0">
                <a:effectLst/>
                <a:latin typeface="Times New Roman" panose="02020603050405020304" pitchFamily="18" charset="0"/>
                <a:ea typeface="Calibri" panose="020F0502020204030204" pitchFamily="34" charset="0"/>
                <a:cs typeface="Times New Roman" panose="02020603050405020304" pitchFamily="18" charset="0"/>
              </a:rPr>
              <a:t>a</a:t>
            </a:r>
            <a:r>
              <a:rPr lang="en-IN" sz="1600" spc="-30" dirty="0">
                <a:effectLst/>
                <a:latin typeface="Times New Roman" panose="02020603050405020304" pitchFamily="18" charset="0"/>
                <a:ea typeface="Calibri" panose="020F0502020204030204" pitchFamily="34" charset="0"/>
                <a:cs typeface="Times New Roman" panose="02020603050405020304" pitchFamily="18" charset="0"/>
              </a:rPr>
              <a:t> </a:t>
            </a:r>
            <a:r>
              <a:rPr lang="en-IN" sz="1600" spc="5" dirty="0">
                <a:effectLst/>
                <a:latin typeface="Times New Roman" panose="02020603050405020304" pitchFamily="18" charset="0"/>
                <a:ea typeface="Calibri" panose="020F0502020204030204" pitchFamily="34" charset="0"/>
                <a:cs typeface="Times New Roman" panose="02020603050405020304" pitchFamily="18" charset="0"/>
              </a:rPr>
              <a:t>given</a:t>
            </a:r>
            <a:r>
              <a:rPr lang="en-IN" sz="1600" spc="-20" dirty="0">
                <a:effectLst/>
                <a:latin typeface="Times New Roman" panose="02020603050405020304" pitchFamily="18" charset="0"/>
                <a:ea typeface="Calibri" panose="020F0502020204030204" pitchFamily="34" charset="0"/>
                <a:cs typeface="Times New Roman" panose="02020603050405020304" pitchFamily="18" charset="0"/>
              </a:rPr>
              <a:t> </a:t>
            </a:r>
            <a:r>
              <a:rPr lang="en-IN" sz="1600" spc="5" dirty="0">
                <a:effectLst/>
                <a:latin typeface="Times New Roman" panose="02020603050405020304" pitchFamily="18" charset="0"/>
                <a:ea typeface="Calibri" panose="020F0502020204030204" pitchFamily="34" charset="0"/>
                <a:cs typeface="Times New Roman" panose="02020603050405020304" pitchFamily="18" charset="0"/>
              </a:rPr>
              <a:t>state Utility-based</a:t>
            </a:r>
            <a:r>
              <a:rPr lang="en-IN" sz="1600" spc="405" dirty="0">
                <a:effectLst/>
                <a:latin typeface="Times New Roman" panose="02020603050405020304" pitchFamily="18" charset="0"/>
                <a:ea typeface="Calibri" panose="020F0502020204030204" pitchFamily="34" charset="0"/>
                <a:cs typeface="Times New Roman" panose="02020603050405020304" pitchFamily="18" charset="0"/>
              </a:rPr>
              <a:t> </a:t>
            </a:r>
            <a:r>
              <a:rPr lang="en-IN" sz="1600" spc="5" dirty="0">
                <a:effectLst/>
                <a:latin typeface="Times New Roman" panose="02020603050405020304" pitchFamily="18" charset="0"/>
                <a:ea typeface="Calibri" panose="020F0502020204030204" pitchFamily="34" charset="0"/>
                <a:cs typeface="Times New Roman" panose="02020603050405020304" pitchFamily="18" charset="0"/>
              </a:rPr>
              <a:t>agent</a:t>
            </a:r>
            <a:r>
              <a:rPr lang="en-IN" sz="1600" spc="460" dirty="0">
                <a:effectLst/>
                <a:latin typeface="Times New Roman" panose="02020603050405020304" pitchFamily="18" charset="0"/>
                <a:ea typeface="Calibri" panose="020F0502020204030204" pitchFamily="34" charset="0"/>
                <a:cs typeface="Times New Roman" panose="02020603050405020304" pitchFamily="18" charset="0"/>
              </a:rPr>
              <a:t> </a:t>
            </a:r>
            <a:r>
              <a:rPr lang="en-IN" sz="1600" spc="5" dirty="0">
                <a:effectLst/>
                <a:latin typeface="Times New Roman" panose="02020603050405020304" pitchFamily="18" charset="0"/>
                <a:ea typeface="Calibri" panose="020F0502020204030204" pitchFamily="34" charset="0"/>
                <a:cs typeface="Times New Roman" panose="02020603050405020304" pitchFamily="18" charset="0"/>
              </a:rPr>
              <a:t>act</a:t>
            </a:r>
            <a:r>
              <a:rPr lang="en-IN" sz="1600" spc="395" dirty="0">
                <a:effectLst/>
                <a:latin typeface="Times New Roman" panose="02020603050405020304" pitchFamily="18" charset="0"/>
                <a:ea typeface="Calibri" panose="020F0502020204030204" pitchFamily="34" charset="0"/>
                <a:cs typeface="Times New Roman" panose="02020603050405020304" pitchFamily="18" charset="0"/>
              </a:rPr>
              <a:t> </a:t>
            </a:r>
            <a:r>
              <a:rPr lang="en-IN" sz="1600" spc="5" dirty="0">
                <a:effectLst/>
                <a:latin typeface="Times New Roman" panose="02020603050405020304" pitchFamily="18" charset="0"/>
                <a:ea typeface="Calibri" panose="020F0502020204030204" pitchFamily="34" charset="0"/>
                <a:cs typeface="Times New Roman" panose="02020603050405020304" pitchFamily="18" charset="0"/>
              </a:rPr>
              <a:t>based</a:t>
            </a:r>
            <a:r>
              <a:rPr lang="en-IN" sz="1600" spc="435" dirty="0">
                <a:effectLst/>
                <a:latin typeface="Times New Roman" panose="02020603050405020304" pitchFamily="18" charset="0"/>
                <a:ea typeface="Calibri" panose="020F0502020204030204" pitchFamily="34" charset="0"/>
                <a:cs typeface="Times New Roman" panose="02020603050405020304" pitchFamily="18" charset="0"/>
              </a:rPr>
              <a:t> </a:t>
            </a:r>
            <a:r>
              <a:rPr lang="en-IN" sz="1600" spc="5" dirty="0">
                <a:effectLst/>
                <a:latin typeface="Times New Roman" panose="02020603050405020304" pitchFamily="18" charset="0"/>
                <a:ea typeface="Calibri" panose="020F0502020204030204" pitchFamily="34" charset="0"/>
                <a:cs typeface="Times New Roman" panose="02020603050405020304" pitchFamily="18" charset="0"/>
              </a:rPr>
              <a:t>not</a:t>
            </a:r>
            <a:r>
              <a:rPr lang="en-IN" sz="1600" spc="410" dirty="0">
                <a:effectLst/>
                <a:latin typeface="Times New Roman" panose="02020603050405020304" pitchFamily="18" charset="0"/>
                <a:ea typeface="Calibri" panose="020F0502020204030204" pitchFamily="34" charset="0"/>
                <a:cs typeface="Times New Roman" panose="02020603050405020304" pitchFamily="18" charset="0"/>
              </a:rPr>
              <a:t> </a:t>
            </a:r>
            <a:r>
              <a:rPr lang="en-IN" sz="1600" spc="5" dirty="0">
                <a:effectLst/>
                <a:latin typeface="Times New Roman" panose="02020603050405020304" pitchFamily="18" charset="0"/>
                <a:ea typeface="Calibri" panose="020F0502020204030204" pitchFamily="34" charset="0"/>
                <a:cs typeface="Times New Roman" panose="02020603050405020304" pitchFamily="18" charset="0"/>
              </a:rPr>
              <a:t>only</a:t>
            </a:r>
            <a:r>
              <a:rPr lang="en-IN" sz="1600" spc="390" dirty="0">
                <a:effectLst/>
                <a:latin typeface="Times New Roman" panose="02020603050405020304" pitchFamily="18" charset="0"/>
                <a:ea typeface="Calibri" panose="020F0502020204030204" pitchFamily="34" charset="0"/>
                <a:cs typeface="Times New Roman" panose="02020603050405020304" pitchFamily="18" charset="0"/>
              </a:rPr>
              <a:t> </a:t>
            </a:r>
            <a:r>
              <a:rPr lang="en-IN" sz="1600" spc="5" dirty="0">
                <a:effectLst/>
                <a:latin typeface="Times New Roman" panose="02020603050405020304" pitchFamily="18" charset="0"/>
                <a:ea typeface="Calibri" panose="020F0502020204030204" pitchFamily="34" charset="0"/>
                <a:cs typeface="Times New Roman" panose="02020603050405020304" pitchFamily="18" charset="0"/>
              </a:rPr>
              <a:t>goals</a:t>
            </a:r>
            <a:r>
              <a:rPr lang="en-IN" sz="1600" spc="420" dirty="0">
                <a:effectLst/>
                <a:latin typeface="Times New Roman" panose="02020603050405020304" pitchFamily="18" charset="0"/>
                <a:ea typeface="Calibri" panose="020F0502020204030204" pitchFamily="34" charset="0"/>
                <a:cs typeface="Times New Roman" panose="02020603050405020304" pitchFamily="18" charset="0"/>
              </a:rPr>
              <a:t> </a:t>
            </a:r>
            <a:r>
              <a:rPr lang="en-IN" sz="1600" spc="5" dirty="0">
                <a:effectLst/>
                <a:latin typeface="Times New Roman" panose="02020603050405020304" pitchFamily="18" charset="0"/>
                <a:ea typeface="Calibri" panose="020F0502020204030204" pitchFamily="34" charset="0"/>
                <a:cs typeface="Times New Roman" panose="02020603050405020304" pitchFamily="18" charset="0"/>
              </a:rPr>
              <a:t>but</a:t>
            </a:r>
            <a:r>
              <a:rPr lang="en-IN" sz="1600" spc="415" dirty="0">
                <a:effectLst/>
                <a:latin typeface="Times New Roman" panose="02020603050405020304" pitchFamily="18" charset="0"/>
                <a:ea typeface="Calibri" panose="020F0502020204030204" pitchFamily="34" charset="0"/>
                <a:cs typeface="Times New Roman" panose="02020603050405020304" pitchFamily="18" charset="0"/>
              </a:rPr>
              <a:t> </a:t>
            </a:r>
            <a:r>
              <a:rPr lang="en-IN" sz="1600" spc="5" dirty="0">
                <a:effectLst/>
                <a:latin typeface="Times New Roman" panose="02020603050405020304" pitchFamily="18" charset="0"/>
                <a:ea typeface="Calibri" panose="020F0502020204030204" pitchFamily="34" charset="0"/>
                <a:cs typeface="Times New Roman" panose="02020603050405020304" pitchFamily="18" charset="0"/>
              </a:rPr>
              <a:t>also</a:t>
            </a:r>
            <a:r>
              <a:rPr lang="en-IN" sz="1600" spc="405" dirty="0">
                <a:effectLst/>
                <a:latin typeface="Times New Roman" panose="02020603050405020304" pitchFamily="18" charset="0"/>
                <a:ea typeface="Calibri" panose="020F0502020204030204" pitchFamily="34" charset="0"/>
                <a:cs typeface="Times New Roman" panose="02020603050405020304" pitchFamily="18" charset="0"/>
              </a:rPr>
              <a:t> </a:t>
            </a:r>
            <a:r>
              <a:rPr lang="en-IN" sz="1600" spc="5" dirty="0">
                <a:effectLst/>
                <a:latin typeface="Times New Roman" panose="02020603050405020304" pitchFamily="18" charset="0"/>
                <a:ea typeface="Calibri" panose="020F0502020204030204" pitchFamily="34" charset="0"/>
                <a:cs typeface="Times New Roman" panose="02020603050405020304" pitchFamily="18" charset="0"/>
              </a:rPr>
              <a:t>the</a:t>
            </a:r>
            <a:r>
              <a:rPr lang="en-IN" sz="1600" spc="405" dirty="0">
                <a:effectLst/>
                <a:latin typeface="Times New Roman" panose="02020603050405020304" pitchFamily="18" charset="0"/>
                <a:ea typeface="Calibri" panose="020F0502020204030204" pitchFamily="34" charset="0"/>
                <a:cs typeface="Times New Roman" panose="02020603050405020304" pitchFamily="18" charset="0"/>
              </a:rPr>
              <a:t> </a:t>
            </a:r>
            <a:r>
              <a:rPr lang="en-IN" sz="1600" spc="5" dirty="0">
                <a:effectLst/>
                <a:latin typeface="Times New Roman" panose="02020603050405020304" pitchFamily="18" charset="0"/>
                <a:ea typeface="Calibri" panose="020F0502020204030204" pitchFamily="34" charset="0"/>
                <a:cs typeface="Times New Roman" panose="02020603050405020304" pitchFamily="18" charset="0"/>
              </a:rPr>
              <a:t>best </a:t>
            </a:r>
            <a:r>
              <a:rPr lang="en-IN" sz="1600" dirty="0">
                <a:effectLst/>
                <a:latin typeface="Times New Roman" panose="02020603050405020304" pitchFamily="18" charset="0"/>
                <a:ea typeface="Calibri" panose="020F0502020204030204" pitchFamily="34" charset="0"/>
                <a:cs typeface="Times New Roman" panose="02020603050405020304" pitchFamily="18" charset="0"/>
              </a:rPr>
              <a:t>way</a:t>
            </a:r>
            <a:r>
              <a:rPr lang="en-IN" sz="1600" spc="-15" dirty="0">
                <a:effectLst/>
                <a:latin typeface="Times New Roman" panose="02020603050405020304" pitchFamily="18" charset="0"/>
                <a:ea typeface="Calibri" panose="020F0502020204030204" pitchFamily="34" charset="0"/>
                <a:cs typeface="Times New Roman" panose="02020603050405020304" pitchFamily="18" charset="0"/>
              </a:rPr>
              <a:t> </a:t>
            </a:r>
            <a:r>
              <a:rPr lang="en-IN" sz="1600" dirty="0">
                <a:effectLst/>
                <a:latin typeface="Times New Roman" panose="02020603050405020304" pitchFamily="18" charset="0"/>
                <a:ea typeface="Calibri" panose="020F0502020204030204" pitchFamily="34" charset="0"/>
                <a:cs typeface="Times New Roman" panose="02020603050405020304" pitchFamily="18" charset="0"/>
              </a:rPr>
              <a:t>to</a:t>
            </a:r>
            <a:r>
              <a:rPr lang="en-IN" sz="1600" spc="-60" dirty="0">
                <a:effectLst/>
                <a:latin typeface="Times New Roman" panose="02020603050405020304" pitchFamily="18" charset="0"/>
                <a:ea typeface="Calibri" panose="020F0502020204030204" pitchFamily="34" charset="0"/>
                <a:cs typeface="Times New Roman" panose="02020603050405020304" pitchFamily="18" charset="0"/>
              </a:rPr>
              <a:t> </a:t>
            </a:r>
            <a:r>
              <a:rPr lang="en-IN" sz="1600" dirty="0">
                <a:effectLst/>
                <a:latin typeface="Times New Roman" panose="02020603050405020304" pitchFamily="18" charset="0"/>
                <a:ea typeface="Calibri" panose="020F0502020204030204" pitchFamily="34" charset="0"/>
                <a:cs typeface="Times New Roman" panose="02020603050405020304" pitchFamily="18" charset="0"/>
              </a:rPr>
              <a:t>achieve</a:t>
            </a:r>
            <a:r>
              <a:rPr lang="en-IN" sz="1600" spc="-45" dirty="0">
                <a:effectLst/>
                <a:latin typeface="Times New Roman" panose="02020603050405020304" pitchFamily="18" charset="0"/>
                <a:ea typeface="Calibri" panose="020F0502020204030204" pitchFamily="34" charset="0"/>
                <a:cs typeface="Times New Roman" panose="02020603050405020304" pitchFamily="18" charset="0"/>
              </a:rPr>
              <a:t> </a:t>
            </a:r>
            <a:r>
              <a:rPr lang="en-IN" sz="1600" dirty="0">
                <a:effectLst/>
                <a:latin typeface="Times New Roman" panose="02020603050405020304" pitchFamily="18" charset="0"/>
                <a:ea typeface="Calibri" panose="020F0502020204030204" pitchFamily="34" charset="0"/>
                <a:cs typeface="Times New Roman" panose="02020603050405020304" pitchFamily="18" charset="0"/>
              </a:rPr>
              <a:t>the</a:t>
            </a:r>
            <a:r>
              <a:rPr lang="en-IN" sz="1600" spc="-20" dirty="0">
                <a:effectLst/>
                <a:latin typeface="Times New Roman" panose="02020603050405020304" pitchFamily="18" charset="0"/>
                <a:ea typeface="Calibri" panose="020F0502020204030204" pitchFamily="34" charset="0"/>
                <a:cs typeface="Times New Roman" panose="02020603050405020304" pitchFamily="18" charset="0"/>
              </a:rPr>
              <a:t> </a:t>
            </a:r>
            <a:r>
              <a:rPr lang="en-IN" sz="1600" dirty="0">
                <a:effectLst/>
                <a:latin typeface="Times New Roman" panose="02020603050405020304" pitchFamily="18" charset="0"/>
                <a:ea typeface="Calibri" panose="020F0502020204030204" pitchFamily="34" charset="0"/>
                <a:cs typeface="Times New Roman" panose="02020603050405020304" pitchFamily="18" charset="0"/>
              </a:rPr>
              <a:t>goal.</a:t>
            </a:r>
            <a:endParaRPr lang="en-US" sz="1600" dirty="0">
              <a:effectLst/>
              <a:latin typeface="Times New Roman" panose="02020603050405020304" pitchFamily="18" charset="0"/>
              <a:ea typeface="Calibri" panose="020F0502020204030204" pitchFamily="34" charset="0"/>
              <a:cs typeface="Times New Roman" panose="02020603050405020304" pitchFamily="18" charset="0"/>
            </a:endParaRPr>
          </a:p>
          <a:p>
            <a:pPr marL="742950" marR="0" lvl="1" indent="-285750" algn="just">
              <a:lnSpc>
                <a:spcPct val="150000"/>
              </a:lnSpc>
              <a:spcBef>
                <a:spcPts val="255"/>
              </a:spcBef>
              <a:spcAft>
                <a:spcPts val="0"/>
              </a:spcAft>
              <a:buFont typeface="Arial" panose="020B0604020202020204" pitchFamily="34" charset="0"/>
              <a:buChar char="•"/>
              <a:tabLst>
                <a:tab pos="840740" algn="l"/>
              </a:tabLst>
            </a:pPr>
            <a:r>
              <a:rPr lang="en-IN" sz="1600" spc="5" dirty="0">
                <a:effectLst/>
                <a:latin typeface="Times New Roman" panose="02020603050405020304" pitchFamily="18" charset="0"/>
                <a:ea typeface="Calibri" panose="020F0502020204030204" pitchFamily="34" charset="0"/>
                <a:cs typeface="Times New Roman" panose="02020603050405020304" pitchFamily="18" charset="0"/>
              </a:rPr>
              <a:t> The</a:t>
            </a:r>
            <a:r>
              <a:rPr lang="en-IN" sz="1600" spc="600" dirty="0">
                <a:effectLst/>
                <a:latin typeface="Times New Roman" panose="02020603050405020304" pitchFamily="18" charset="0"/>
                <a:ea typeface="Calibri" panose="020F0502020204030204" pitchFamily="34" charset="0"/>
                <a:cs typeface="Times New Roman" panose="02020603050405020304" pitchFamily="18" charset="0"/>
              </a:rPr>
              <a:t> </a:t>
            </a:r>
            <a:r>
              <a:rPr lang="en-IN" sz="1600" spc="5" dirty="0">
                <a:effectLst/>
                <a:latin typeface="Times New Roman" panose="02020603050405020304" pitchFamily="18" charset="0"/>
                <a:ea typeface="Calibri" panose="020F0502020204030204" pitchFamily="34" charset="0"/>
                <a:cs typeface="Times New Roman" panose="02020603050405020304" pitchFamily="18" charset="0"/>
              </a:rPr>
              <a:t>Utility-based  </a:t>
            </a:r>
            <a:r>
              <a:rPr lang="en-IN" sz="1600" spc="30" dirty="0">
                <a:effectLst/>
                <a:latin typeface="Times New Roman" panose="02020603050405020304" pitchFamily="18" charset="0"/>
                <a:ea typeface="Calibri" panose="020F0502020204030204" pitchFamily="34" charset="0"/>
                <a:cs typeface="Times New Roman" panose="02020603050405020304" pitchFamily="18" charset="0"/>
              </a:rPr>
              <a:t> </a:t>
            </a:r>
            <a:r>
              <a:rPr lang="en-IN" sz="1600" spc="5" dirty="0">
                <a:effectLst/>
                <a:latin typeface="Times New Roman" panose="02020603050405020304" pitchFamily="18" charset="0"/>
                <a:ea typeface="Calibri" panose="020F0502020204030204" pitchFamily="34" charset="0"/>
                <a:cs typeface="Times New Roman" panose="02020603050405020304" pitchFamily="18" charset="0"/>
              </a:rPr>
              <a:t>agent  </a:t>
            </a:r>
            <a:r>
              <a:rPr lang="en-IN" sz="1600" spc="85" dirty="0">
                <a:effectLst/>
                <a:latin typeface="Times New Roman" panose="02020603050405020304" pitchFamily="18" charset="0"/>
                <a:ea typeface="Calibri" panose="020F0502020204030204" pitchFamily="34" charset="0"/>
                <a:cs typeface="Times New Roman" panose="02020603050405020304" pitchFamily="18" charset="0"/>
              </a:rPr>
              <a:t> </a:t>
            </a:r>
            <a:r>
              <a:rPr lang="en-IN" sz="1600" spc="5" dirty="0">
                <a:effectLst/>
                <a:latin typeface="Times New Roman" panose="02020603050405020304" pitchFamily="18" charset="0"/>
                <a:ea typeface="Calibri" panose="020F0502020204030204" pitchFamily="34" charset="0"/>
                <a:cs typeface="Times New Roman" panose="02020603050405020304" pitchFamily="18" charset="0"/>
              </a:rPr>
              <a:t>is  </a:t>
            </a:r>
            <a:r>
              <a:rPr lang="en-IN" sz="1600" spc="105" dirty="0">
                <a:effectLst/>
                <a:latin typeface="Times New Roman" panose="02020603050405020304" pitchFamily="18" charset="0"/>
                <a:ea typeface="Calibri" panose="020F0502020204030204" pitchFamily="34" charset="0"/>
                <a:cs typeface="Times New Roman" panose="02020603050405020304" pitchFamily="18" charset="0"/>
              </a:rPr>
              <a:t> </a:t>
            </a:r>
            <a:r>
              <a:rPr lang="en-IN" sz="1600" spc="5" dirty="0">
                <a:effectLst/>
                <a:latin typeface="Times New Roman" panose="02020603050405020304" pitchFamily="18" charset="0"/>
                <a:ea typeface="Calibri" panose="020F0502020204030204" pitchFamily="34" charset="0"/>
                <a:cs typeface="Times New Roman" panose="02020603050405020304" pitchFamily="18" charset="0"/>
              </a:rPr>
              <a:t>useful  </a:t>
            </a:r>
            <a:r>
              <a:rPr lang="en-IN" sz="1600" spc="115" dirty="0">
                <a:effectLst/>
                <a:latin typeface="Times New Roman" panose="02020603050405020304" pitchFamily="18" charset="0"/>
                <a:ea typeface="Calibri" panose="020F0502020204030204" pitchFamily="34" charset="0"/>
                <a:cs typeface="Times New Roman" panose="02020603050405020304" pitchFamily="18" charset="0"/>
              </a:rPr>
              <a:t> </a:t>
            </a:r>
            <a:r>
              <a:rPr lang="en-IN" sz="1600" spc="5" dirty="0">
                <a:effectLst/>
                <a:latin typeface="Times New Roman" panose="02020603050405020304" pitchFamily="18" charset="0"/>
                <a:ea typeface="Calibri" panose="020F0502020204030204" pitchFamily="34" charset="0"/>
                <a:cs typeface="Times New Roman" panose="02020603050405020304" pitchFamily="18" charset="0"/>
              </a:rPr>
              <a:t>when  </a:t>
            </a:r>
            <a:r>
              <a:rPr lang="en-IN" sz="1600" spc="150" dirty="0">
                <a:effectLst/>
                <a:latin typeface="Times New Roman" panose="02020603050405020304" pitchFamily="18" charset="0"/>
                <a:ea typeface="Calibri" panose="020F0502020204030204" pitchFamily="34" charset="0"/>
                <a:cs typeface="Times New Roman" panose="02020603050405020304" pitchFamily="18" charset="0"/>
              </a:rPr>
              <a:t> </a:t>
            </a:r>
            <a:r>
              <a:rPr lang="en-IN" sz="1600" spc="5" dirty="0">
                <a:effectLst/>
                <a:latin typeface="Times New Roman" panose="02020603050405020304" pitchFamily="18" charset="0"/>
                <a:ea typeface="Calibri" panose="020F0502020204030204" pitchFamily="34" charset="0"/>
                <a:cs typeface="Times New Roman" panose="02020603050405020304" pitchFamily="18" charset="0"/>
              </a:rPr>
              <a:t>there  </a:t>
            </a:r>
            <a:r>
              <a:rPr lang="en-IN" sz="1600" spc="75" dirty="0">
                <a:effectLst/>
                <a:latin typeface="Times New Roman" panose="02020603050405020304" pitchFamily="18" charset="0"/>
                <a:ea typeface="Calibri" panose="020F0502020204030204" pitchFamily="34" charset="0"/>
                <a:cs typeface="Times New Roman" panose="02020603050405020304" pitchFamily="18" charset="0"/>
              </a:rPr>
              <a:t> </a:t>
            </a:r>
            <a:r>
              <a:rPr lang="en-IN" sz="1600" spc="5" dirty="0">
                <a:effectLst/>
                <a:latin typeface="Times New Roman" panose="02020603050405020304" pitchFamily="18" charset="0"/>
                <a:ea typeface="Calibri" panose="020F0502020204030204" pitchFamily="34" charset="0"/>
                <a:cs typeface="Times New Roman" panose="02020603050405020304" pitchFamily="18" charset="0"/>
              </a:rPr>
              <a:t>are  </a:t>
            </a:r>
            <a:r>
              <a:rPr lang="en-IN" sz="1600" spc="70" dirty="0">
                <a:effectLst/>
                <a:latin typeface="Times New Roman" panose="02020603050405020304" pitchFamily="18" charset="0"/>
                <a:ea typeface="Calibri" panose="020F0502020204030204" pitchFamily="34" charset="0"/>
                <a:cs typeface="Times New Roman" panose="02020603050405020304" pitchFamily="18" charset="0"/>
              </a:rPr>
              <a:t> </a:t>
            </a:r>
            <a:r>
              <a:rPr lang="en-IN" sz="1600" spc="5" dirty="0">
                <a:effectLst/>
                <a:latin typeface="Times New Roman" panose="02020603050405020304" pitchFamily="18" charset="0"/>
                <a:ea typeface="Calibri" panose="020F0502020204030204" pitchFamily="34" charset="0"/>
                <a:cs typeface="Times New Roman" panose="02020603050405020304" pitchFamily="18" charset="0"/>
              </a:rPr>
              <a:t>multiple  </a:t>
            </a:r>
            <a:r>
              <a:rPr lang="en-IN" sz="1600" spc="75" dirty="0">
                <a:effectLst/>
                <a:latin typeface="Times New Roman" panose="02020603050405020304" pitchFamily="18" charset="0"/>
                <a:ea typeface="Calibri" panose="020F0502020204030204" pitchFamily="34" charset="0"/>
                <a:cs typeface="Times New Roman" panose="02020603050405020304" pitchFamily="18" charset="0"/>
              </a:rPr>
              <a:t> </a:t>
            </a:r>
            <a:r>
              <a:rPr lang="en-IN" sz="1600" spc="5" dirty="0">
                <a:effectLst/>
                <a:latin typeface="Times New Roman" panose="02020603050405020304" pitchFamily="18" charset="0"/>
                <a:ea typeface="Calibri" panose="020F0502020204030204" pitchFamily="34" charset="0"/>
                <a:cs typeface="Times New Roman" panose="02020603050405020304" pitchFamily="18" charset="0"/>
              </a:rPr>
              <a:t>possible</a:t>
            </a:r>
            <a:r>
              <a:rPr lang="en-US" sz="1600" spc="5" dirty="0">
                <a:latin typeface="Times New Roman" panose="02020603050405020304" pitchFamily="18" charset="0"/>
                <a:ea typeface="Calibri" panose="020F0502020204030204" pitchFamily="34" charset="0"/>
                <a:cs typeface="Times New Roman" panose="02020603050405020304" pitchFamily="18" charset="0"/>
              </a:rPr>
              <a:t> </a:t>
            </a:r>
            <a:r>
              <a:rPr lang="en-IN" sz="1600" dirty="0">
                <a:effectLst/>
                <a:latin typeface="Times New Roman" panose="02020603050405020304" pitchFamily="18" charset="0"/>
                <a:ea typeface="Calibri" panose="020F0502020204030204" pitchFamily="34" charset="0"/>
                <a:cs typeface="Times New Roman" panose="02020603050405020304" pitchFamily="18" charset="0"/>
              </a:rPr>
              <a:t>alternatives,</a:t>
            </a:r>
            <a:r>
              <a:rPr lang="en-IN" sz="1600" spc="-55" dirty="0">
                <a:effectLst/>
                <a:latin typeface="Times New Roman" panose="02020603050405020304" pitchFamily="18" charset="0"/>
                <a:ea typeface="Calibri" panose="020F0502020204030204" pitchFamily="34" charset="0"/>
                <a:cs typeface="Times New Roman" panose="02020603050405020304" pitchFamily="18" charset="0"/>
              </a:rPr>
              <a:t> </a:t>
            </a:r>
            <a:r>
              <a:rPr lang="en-IN" sz="1600" dirty="0">
                <a:effectLst/>
                <a:latin typeface="Times New Roman" panose="02020603050405020304" pitchFamily="18" charset="0"/>
                <a:ea typeface="Calibri" panose="020F0502020204030204" pitchFamily="34" charset="0"/>
                <a:cs typeface="Times New Roman" panose="02020603050405020304" pitchFamily="18" charset="0"/>
              </a:rPr>
              <a:t>and</a:t>
            </a:r>
            <a:r>
              <a:rPr lang="en-IN" sz="1600" spc="15" dirty="0">
                <a:effectLst/>
                <a:latin typeface="Times New Roman" panose="02020603050405020304" pitchFamily="18" charset="0"/>
                <a:ea typeface="Calibri" panose="020F0502020204030204" pitchFamily="34" charset="0"/>
                <a:cs typeface="Times New Roman" panose="02020603050405020304" pitchFamily="18" charset="0"/>
              </a:rPr>
              <a:t> </a:t>
            </a:r>
            <a:r>
              <a:rPr lang="en-IN" sz="1600" dirty="0">
                <a:effectLst/>
                <a:latin typeface="Times New Roman" panose="02020603050405020304" pitchFamily="18" charset="0"/>
                <a:ea typeface="Calibri" panose="020F0502020204030204" pitchFamily="34" charset="0"/>
                <a:cs typeface="Times New Roman" panose="02020603050405020304" pitchFamily="18" charset="0"/>
              </a:rPr>
              <a:t>an</a:t>
            </a:r>
            <a:r>
              <a:rPr lang="en-IN" sz="1600" spc="-25" dirty="0">
                <a:effectLst/>
                <a:latin typeface="Times New Roman" panose="02020603050405020304" pitchFamily="18" charset="0"/>
                <a:ea typeface="Calibri" panose="020F0502020204030204" pitchFamily="34" charset="0"/>
                <a:cs typeface="Times New Roman" panose="02020603050405020304" pitchFamily="18" charset="0"/>
              </a:rPr>
              <a:t> </a:t>
            </a:r>
            <a:r>
              <a:rPr lang="en-IN" sz="1600" dirty="0">
                <a:effectLst/>
                <a:latin typeface="Times New Roman" panose="02020603050405020304" pitchFamily="18" charset="0"/>
                <a:ea typeface="Calibri" panose="020F0502020204030204" pitchFamily="34" charset="0"/>
                <a:cs typeface="Times New Roman" panose="02020603050405020304" pitchFamily="18" charset="0"/>
              </a:rPr>
              <a:t>agent</a:t>
            </a:r>
            <a:r>
              <a:rPr lang="en-IN" sz="1600" spc="-20" dirty="0">
                <a:effectLst/>
                <a:latin typeface="Times New Roman" panose="02020603050405020304" pitchFamily="18" charset="0"/>
                <a:ea typeface="Calibri" panose="020F0502020204030204" pitchFamily="34" charset="0"/>
                <a:cs typeface="Times New Roman" panose="02020603050405020304" pitchFamily="18" charset="0"/>
              </a:rPr>
              <a:t> </a:t>
            </a:r>
            <a:r>
              <a:rPr lang="en-IN" sz="1600" dirty="0">
                <a:effectLst/>
                <a:latin typeface="Times New Roman" panose="02020603050405020304" pitchFamily="18" charset="0"/>
                <a:ea typeface="Calibri" panose="020F0502020204030204" pitchFamily="34" charset="0"/>
                <a:cs typeface="Times New Roman" panose="02020603050405020304" pitchFamily="18" charset="0"/>
              </a:rPr>
              <a:t>has</a:t>
            </a:r>
            <a:r>
              <a:rPr lang="en-IN" sz="1600" spc="-20" dirty="0">
                <a:effectLst/>
                <a:latin typeface="Times New Roman" panose="02020603050405020304" pitchFamily="18" charset="0"/>
                <a:ea typeface="Calibri" panose="020F0502020204030204" pitchFamily="34" charset="0"/>
                <a:cs typeface="Times New Roman" panose="02020603050405020304" pitchFamily="18" charset="0"/>
              </a:rPr>
              <a:t> </a:t>
            </a:r>
            <a:r>
              <a:rPr lang="en-IN" sz="1600" dirty="0">
                <a:effectLst/>
                <a:latin typeface="Times New Roman" panose="02020603050405020304" pitchFamily="18" charset="0"/>
                <a:ea typeface="Calibri" panose="020F0502020204030204" pitchFamily="34" charset="0"/>
                <a:cs typeface="Times New Roman" panose="02020603050405020304" pitchFamily="18" charset="0"/>
              </a:rPr>
              <a:t>to</a:t>
            </a:r>
            <a:r>
              <a:rPr lang="en-IN" sz="1600" spc="-50" dirty="0">
                <a:effectLst/>
                <a:latin typeface="Times New Roman" panose="02020603050405020304" pitchFamily="18" charset="0"/>
                <a:ea typeface="Calibri" panose="020F0502020204030204" pitchFamily="34" charset="0"/>
                <a:cs typeface="Times New Roman" panose="02020603050405020304" pitchFamily="18" charset="0"/>
              </a:rPr>
              <a:t> </a:t>
            </a:r>
            <a:r>
              <a:rPr lang="en-IN" sz="1600" dirty="0">
                <a:effectLst/>
                <a:latin typeface="Times New Roman" panose="02020603050405020304" pitchFamily="18" charset="0"/>
                <a:ea typeface="Calibri" panose="020F0502020204030204" pitchFamily="34" charset="0"/>
                <a:cs typeface="Times New Roman" panose="02020603050405020304" pitchFamily="18" charset="0"/>
              </a:rPr>
              <a:t>choose</a:t>
            </a:r>
            <a:r>
              <a:rPr lang="en-IN" sz="1600" spc="-10" dirty="0">
                <a:effectLst/>
                <a:latin typeface="Times New Roman" panose="02020603050405020304" pitchFamily="18" charset="0"/>
                <a:ea typeface="Calibri" panose="020F0502020204030204" pitchFamily="34" charset="0"/>
                <a:cs typeface="Times New Roman" panose="02020603050405020304" pitchFamily="18" charset="0"/>
              </a:rPr>
              <a:t> </a:t>
            </a:r>
            <a:r>
              <a:rPr lang="en-IN" sz="1600" dirty="0">
                <a:effectLst/>
                <a:latin typeface="Times New Roman" panose="02020603050405020304" pitchFamily="18" charset="0"/>
                <a:ea typeface="Calibri" panose="020F0502020204030204" pitchFamily="34" charset="0"/>
                <a:cs typeface="Times New Roman" panose="02020603050405020304" pitchFamily="18" charset="0"/>
              </a:rPr>
              <a:t>in</a:t>
            </a:r>
            <a:r>
              <a:rPr lang="en-IN" sz="1600" spc="-25" dirty="0">
                <a:effectLst/>
                <a:latin typeface="Times New Roman" panose="02020603050405020304" pitchFamily="18" charset="0"/>
                <a:ea typeface="Calibri" panose="020F0502020204030204" pitchFamily="34" charset="0"/>
                <a:cs typeface="Times New Roman" panose="02020603050405020304" pitchFamily="18" charset="0"/>
              </a:rPr>
              <a:t> </a:t>
            </a:r>
            <a:r>
              <a:rPr lang="en-IN" sz="1600" dirty="0">
                <a:effectLst/>
                <a:latin typeface="Times New Roman" panose="02020603050405020304" pitchFamily="18" charset="0"/>
                <a:ea typeface="Calibri" panose="020F0502020204030204" pitchFamily="34" charset="0"/>
                <a:cs typeface="Times New Roman" panose="02020603050405020304" pitchFamily="18" charset="0"/>
              </a:rPr>
              <a:t>order</a:t>
            </a:r>
            <a:r>
              <a:rPr lang="en-IN" sz="1600" spc="-70" dirty="0">
                <a:effectLst/>
                <a:latin typeface="Times New Roman" panose="02020603050405020304" pitchFamily="18" charset="0"/>
                <a:ea typeface="Calibri" panose="020F0502020204030204" pitchFamily="34" charset="0"/>
                <a:cs typeface="Times New Roman" panose="02020603050405020304" pitchFamily="18" charset="0"/>
              </a:rPr>
              <a:t> </a:t>
            </a:r>
            <a:r>
              <a:rPr lang="en-IN" sz="1600" dirty="0">
                <a:effectLst/>
                <a:latin typeface="Times New Roman" panose="02020603050405020304" pitchFamily="18" charset="0"/>
                <a:ea typeface="Calibri" panose="020F0502020204030204" pitchFamily="34" charset="0"/>
                <a:cs typeface="Times New Roman" panose="02020603050405020304" pitchFamily="18" charset="0"/>
              </a:rPr>
              <a:t>to perform</a:t>
            </a:r>
            <a:endParaRPr lang="en-US" sz="1600" dirty="0">
              <a:effectLst/>
              <a:latin typeface="Times New Roman" panose="02020603050405020304" pitchFamily="18" charset="0"/>
              <a:ea typeface="Calibri" panose="020F0502020204030204" pitchFamily="34" charset="0"/>
              <a:cs typeface="Times New Roman" panose="02020603050405020304" pitchFamily="18" charset="0"/>
            </a:endParaRPr>
          </a:p>
          <a:p>
            <a:pPr lvl="1" algn="just">
              <a:lnSpc>
                <a:spcPct val="150000"/>
              </a:lnSpc>
            </a:pPr>
            <a:r>
              <a:rPr lang="en-US" sz="1600" b="0" i="0" dirty="0">
                <a:effectLst/>
                <a:highlight>
                  <a:srgbClr val="FAFBFC"/>
                </a:highlight>
                <a:latin typeface="Times New Roman" panose="02020603050405020304" pitchFamily="18" charset="0"/>
                <a:cs typeface="Times New Roman" panose="02020603050405020304" pitchFamily="18" charset="0"/>
              </a:rPr>
              <a:t>Utility theory in artificial intelligence is a mathematical framework used to model decision-making under uncertainty. It allows one to assign subjective values or preferences to different outcomes and helps make optimal choices based on these values. Utility theory is widely used in various AI applications such as </a:t>
            </a:r>
            <a:r>
              <a:rPr lang="en-US" sz="1600" b="1" i="0" dirty="0">
                <a:effectLst/>
                <a:highlight>
                  <a:srgbClr val="FAFBFC"/>
                </a:highlight>
                <a:latin typeface="Times New Roman" panose="02020603050405020304" pitchFamily="18" charset="0"/>
                <a:cs typeface="Times New Roman" panose="02020603050405020304" pitchFamily="18" charset="0"/>
              </a:rPr>
              <a:t>game theory</a:t>
            </a:r>
            <a:r>
              <a:rPr lang="en-US" sz="1600" b="0" i="0" dirty="0">
                <a:effectLst/>
                <a:highlight>
                  <a:srgbClr val="FAFBFC"/>
                </a:highlight>
                <a:latin typeface="Times New Roman" panose="02020603050405020304" pitchFamily="18" charset="0"/>
                <a:cs typeface="Times New Roman" panose="02020603050405020304" pitchFamily="18" charset="0"/>
              </a:rPr>
              <a:t>, </a:t>
            </a:r>
            <a:r>
              <a:rPr lang="en-US" sz="1600" b="1" i="0" dirty="0">
                <a:effectLst/>
                <a:highlight>
                  <a:srgbClr val="FAFBFC"/>
                </a:highlight>
                <a:latin typeface="Times New Roman" panose="02020603050405020304" pitchFamily="18" charset="0"/>
                <a:cs typeface="Times New Roman" panose="02020603050405020304" pitchFamily="18" charset="0"/>
              </a:rPr>
              <a:t>economics</a:t>
            </a:r>
            <a:r>
              <a:rPr lang="en-US" sz="1600" b="0" i="0" dirty="0">
                <a:effectLst/>
                <a:highlight>
                  <a:srgbClr val="FAFBFC"/>
                </a:highlight>
                <a:latin typeface="Times New Roman" panose="02020603050405020304" pitchFamily="18" charset="0"/>
                <a:cs typeface="Times New Roman" panose="02020603050405020304" pitchFamily="18" charset="0"/>
              </a:rPr>
              <a:t>, </a:t>
            </a:r>
            <a:r>
              <a:rPr lang="en-US" sz="1600" b="1" i="0" dirty="0">
                <a:effectLst/>
                <a:highlight>
                  <a:srgbClr val="FAFBFC"/>
                </a:highlight>
                <a:latin typeface="Times New Roman" panose="02020603050405020304" pitchFamily="18" charset="0"/>
                <a:cs typeface="Times New Roman" panose="02020603050405020304" pitchFamily="18" charset="0"/>
              </a:rPr>
              <a:t>robotics</a:t>
            </a:r>
            <a:r>
              <a:rPr lang="en-US" sz="1600" b="0" i="0" dirty="0">
                <a:effectLst/>
                <a:highlight>
                  <a:srgbClr val="FAFBFC"/>
                </a:highlight>
                <a:latin typeface="Times New Roman" panose="02020603050405020304" pitchFamily="18" charset="0"/>
                <a:cs typeface="Times New Roman" panose="02020603050405020304" pitchFamily="18" charset="0"/>
              </a:rPr>
              <a:t>, and </a:t>
            </a:r>
            <a:r>
              <a:rPr lang="en-US" sz="1600" b="1" i="0" dirty="0">
                <a:effectLst/>
                <a:highlight>
                  <a:srgbClr val="FAFBFC"/>
                </a:highlight>
                <a:latin typeface="Times New Roman" panose="02020603050405020304" pitchFamily="18" charset="0"/>
                <a:cs typeface="Times New Roman" panose="02020603050405020304" pitchFamily="18" charset="0"/>
              </a:rPr>
              <a:t>recommendation systems</a:t>
            </a:r>
            <a:r>
              <a:rPr lang="en-US" sz="1600" b="0" i="0" dirty="0">
                <a:effectLst/>
                <a:highlight>
                  <a:srgbClr val="FAFBFC"/>
                </a:highlight>
                <a:latin typeface="Times New Roman" panose="02020603050405020304" pitchFamily="18" charset="0"/>
                <a:cs typeface="Times New Roman" panose="02020603050405020304" pitchFamily="18" charset="0"/>
              </a:rPr>
              <a:t>, among others.</a:t>
            </a:r>
            <a:endParaRPr lang="en-US" sz="16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6301607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D823E92-067B-A17C-2C95-FFAE26C3087F}"/>
              </a:ext>
            </a:extLst>
          </p:cNvPr>
          <p:cNvGraphicFramePr>
            <a:graphicFrameLocks noChangeAspect="1"/>
          </p:cNvGraphicFramePr>
          <p:nvPr>
            <p:custDataLst>
              <p:tags r:id="rId1"/>
            </p:custDataLst>
            <p:extLst>
              <p:ext uri="{D42A27DB-BD31-4B8C-83A1-F6EECF244321}">
                <p14:modId xmlns:p14="http://schemas.microsoft.com/office/powerpoint/2010/main" val="15819825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think-cell data - do not delete" hidden="1">
                        <a:extLst>
                          <a:ext uri="{FF2B5EF4-FFF2-40B4-BE49-F238E27FC236}">
                            <a16:creationId xmlns:a16="http://schemas.microsoft.com/office/drawing/2014/main" id="{FD823E92-067B-A17C-2C95-FFAE26C3087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64AFD224-7977-227F-D629-5DFFD7226BA2}"/>
              </a:ext>
            </a:extLst>
          </p:cNvPr>
          <p:cNvSpPr>
            <a:spLocks noGrp="1"/>
          </p:cNvSpPr>
          <p:nvPr>
            <p:ph idx="1"/>
          </p:nvPr>
        </p:nvSpPr>
        <p:spPr>
          <a:xfrm>
            <a:off x="262467" y="194733"/>
            <a:ext cx="11091333" cy="5982230"/>
          </a:xfrm>
        </p:spPr>
        <p:txBody>
          <a:bodyPr/>
          <a:lstStyle/>
          <a:p>
            <a:r>
              <a:rPr lang="en-US" b="0" i="0" dirty="0">
                <a:solidFill>
                  <a:srgbClr val="61738E"/>
                </a:solidFill>
                <a:effectLst/>
                <a:highlight>
                  <a:srgbClr val="FAFBFC"/>
                </a:highlight>
                <a:latin typeface="__Source_Sans_Pro_fa6df0"/>
              </a:rPr>
              <a:t>A </a:t>
            </a:r>
            <a:r>
              <a:rPr lang="en-US" b="1" i="0" dirty="0">
                <a:solidFill>
                  <a:srgbClr val="61738E"/>
                </a:solidFill>
                <a:effectLst/>
                <a:highlight>
                  <a:srgbClr val="FAFBFC"/>
                </a:highlight>
                <a:latin typeface="__Source_Sans_Pro_fa6df0"/>
              </a:rPr>
              <a:t>utility function</a:t>
            </a:r>
            <a:r>
              <a:rPr lang="en-US" b="0" i="0" dirty="0">
                <a:solidFill>
                  <a:srgbClr val="61738E"/>
                </a:solidFill>
                <a:effectLst/>
                <a:highlight>
                  <a:srgbClr val="FAFBFC"/>
                </a:highlight>
                <a:latin typeface="__Source_Sans_Pro_fa6df0"/>
              </a:rPr>
              <a:t> is a mathematical function used in Artificial Intelligence (AI) to represent a system's preferences or objectives. It assigns a numerical value, referred to as </a:t>
            </a:r>
            <a:r>
              <a:rPr lang="en-US" b="1" i="0" dirty="0">
                <a:solidFill>
                  <a:srgbClr val="61738E"/>
                </a:solidFill>
                <a:effectLst/>
                <a:highlight>
                  <a:srgbClr val="FAFBFC"/>
                </a:highlight>
                <a:latin typeface="__Source_Sans_Pro_fa6df0"/>
              </a:rPr>
              <a:t>utility</a:t>
            </a:r>
            <a:r>
              <a:rPr lang="en-US" b="0" i="0" dirty="0">
                <a:solidFill>
                  <a:srgbClr val="61738E"/>
                </a:solidFill>
                <a:effectLst/>
                <a:highlight>
                  <a:srgbClr val="FAFBFC"/>
                </a:highlight>
                <a:latin typeface="__Source_Sans_Pro_fa6df0"/>
              </a:rPr>
              <a:t>, to different outcomes based on their </a:t>
            </a:r>
            <a:r>
              <a:rPr lang="en-US" b="1" i="0" dirty="0">
                <a:solidFill>
                  <a:srgbClr val="61738E"/>
                </a:solidFill>
                <a:effectLst/>
                <a:highlight>
                  <a:srgbClr val="FAFBFC"/>
                </a:highlight>
                <a:latin typeface="__Source_Sans_Pro_fa6df0"/>
              </a:rPr>
              <a:t>satisfaction level</a:t>
            </a:r>
            <a:r>
              <a:rPr lang="en-US" b="0" i="0" dirty="0">
                <a:solidFill>
                  <a:srgbClr val="61738E"/>
                </a:solidFill>
                <a:effectLst/>
                <a:highlight>
                  <a:srgbClr val="FAFBFC"/>
                </a:highlight>
                <a:latin typeface="__Source_Sans_Pro_fa6df0"/>
              </a:rPr>
              <a:t>. It is used to guide decision-making in AI systems. An agent or system typically defines the utility function based on its </a:t>
            </a:r>
            <a:r>
              <a:rPr lang="en-US" b="1" i="0" dirty="0">
                <a:solidFill>
                  <a:srgbClr val="61738E"/>
                </a:solidFill>
                <a:effectLst/>
                <a:highlight>
                  <a:srgbClr val="FAFBFC"/>
                </a:highlight>
                <a:latin typeface="__Source_Sans_Pro_fa6df0"/>
              </a:rPr>
              <a:t>goals</a:t>
            </a:r>
            <a:r>
              <a:rPr lang="en-US" b="0" i="0" dirty="0">
                <a:solidFill>
                  <a:srgbClr val="61738E"/>
                </a:solidFill>
                <a:effectLst/>
                <a:highlight>
                  <a:srgbClr val="FAFBFC"/>
                </a:highlight>
                <a:latin typeface="__Source_Sans_Pro_fa6df0"/>
              </a:rPr>
              <a:t>, </a:t>
            </a:r>
            <a:r>
              <a:rPr lang="en-US" b="1" i="0" dirty="0">
                <a:solidFill>
                  <a:srgbClr val="61738E"/>
                </a:solidFill>
                <a:effectLst/>
                <a:highlight>
                  <a:srgbClr val="FAFBFC"/>
                </a:highlight>
                <a:latin typeface="__Source_Sans_Pro_fa6df0"/>
              </a:rPr>
              <a:t>objectives</a:t>
            </a:r>
            <a:r>
              <a:rPr lang="en-US" b="0" i="0" dirty="0">
                <a:solidFill>
                  <a:srgbClr val="61738E"/>
                </a:solidFill>
                <a:effectLst/>
                <a:highlight>
                  <a:srgbClr val="FAFBFC"/>
                </a:highlight>
                <a:latin typeface="__Source_Sans_Pro_fa6df0"/>
              </a:rPr>
              <a:t>, and </a:t>
            </a:r>
            <a:r>
              <a:rPr lang="en-US" b="1" i="0" dirty="0">
                <a:solidFill>
                  <a:srgbClr val="61738E"/>
                </a:solidFill>
                <a:effectLst/>
                <a:highlight>
                  <a:srgbClr val="FAFBFC"/>
                </a:highlight>
                <a:latin typeface="__Source_Sans_Pro_fa6df0"/>
              </a:rPr>
              <a:t>preferences</a:t>
            </a:r>
            <a:r>
              <a:rPr lang="en-US" b="0" i="0" dirty="0">
                <a:solidFill>
                  <a:srgbClr val="61738E"/>
                </a:solidFill>
                <a:effectLst/>
                <a:highlight>
                  <a:srgbClr val="FAFBFC"/>
                </a:highlight>
                <a:latin typeface="__Source_Sans_Pro_fa6df0"/>
              </a:rPr>
              <a:t>. It maps different outcomes to their corresponding utility values, where </a:t>
            </a:r>
            <a:r>
              <a:rPr lang="en-US" b="1" i="0" dirty="0">
                <a:solidFill>
                  <a:srgbClr val="61738E"/>
                </a:solidFill>
                <a:effectLst/>
                <a:highlight>
                  <a:srgbClr val="FAFBFC"/>
                </a:highlight>
                <a:latin typeface="__Source_Sans_Pro_fa6df0"/>
              </a:rPr>
              <a:t>higher utility values represent more desirable outcomes</a:t>
            </a:r>
            <a:r>
              <a:rPr lang="en-US" b="0" i="0" dirty="0">
                <a:solidFill>
                  <a:srgbClr val="61738E"/>
                </a:solidFill>
                <a:effectLst/>
                <a:highlight>
                  <a:srgbClr val="FAFBFC"/>
                </a:highlight>
                <a:latin typeface="__Source_Sans_Pro_fa6df0"/>
              </a:rPr>
              <a:t>. </a:t>
            </a:r>
          </a:p>
          <a:p>
            <a:r>
              <a:rPr lang="en-US" b="0" i="0" dirty="0">
                <a:solidFill>
                  <a:srgbClr val="61738E"/>
                </a:solidFill>
                <a:effectLst/>
                <a:highlight>
                  <a:srgbClr val="FAFBFC"/>
                </a:highlight>
                <a:latin typeface="__Source_Sans_Pro_fa6df0"/>
              </a:rPr>
              <a:t>The utility function is typically denoted as </a:t>
            </a:r>
            <a:r>
              <a:rPr lang="en-US" b="0" i="0" dirty="0">
                <a:solidFill>
                  <a:srgbClr val="61738E"/>
                </a:solidFill>
                <a:effectLst/>
                <a:highlight>
                  <a:srgbClr val="FAFBFC"/>
                </a:highlight>
                <a:latin typeface="KaTeX_Main"/>
              </a:rPr>
              <a:t>U</a:t>
            </a:r>
            <a:r>
              <a:rPr lang="en-US" b="0" i="1" dirty="0">
                <a:solidFill>
                  <a:srgbClr val="61738E"/>
                </a:solidFill>
                <a:effectLst/>
                <a:highlight>
                  <a:srgbClr val="FAFBFC"/>
                </a:highlight>
                <a:latin typeface="KaTeX_Main"/>
              </a:rPr>
              <a:t>U</a:t>
            </a:r>
            <a:r>
              <a:rPr lang="en-US" b="0" i="0" dirty="0">
                <a:solidFill>
                  <a:srgbClr val="61738E"/>
                </a:solidFill>
                <a:effectLst/>
                <a:highlight>
                  <a:srgbClr val="FAFBFC"/>
                </a:highlight>
                <a:latin typeface="__Source_Sans_Pro_fa6df0"/>
              </a:rPr>
              <a:t>. It is a mathematical function that takes as input the different features of an outcome and maps them to a real-valued utility value. We can represent the utility function mathematically as </a:t>
            </a:r>
            <a:r>
              <a:rPr lang="en-US" b="0" i="0" dirty="0">
                <a:solidFill>
                  <a:srgbClr val="61738E"/>
                </a:solidFill>
                <a:effectLst/>
                <a:highlight>
                  <a:srgbClr val="FAFBFC"/>
                </a:highlight>
                <a:latin typeface="KaTeX_Main"/>
              </a:rPr>
              <a:t>U(x)</a:t>
            </a:r>
            <a:r>
              <a:rPr lang="en-US" b="0" i="1" dirty="0">
                <a:solidFill>
                  <a:srgbClr val="61738E"/>
                </a:solidFill>
                <a:effectLst/>
                <a:highlight>
                  <a:srgbClr val="FAFBFC"/>
                </a:highlight>
                <a:latin typeface="KaTeX_Main"/>
              </a:rPr>
              <a:t>U</a:t>
            </a:r>
            <a:r>
              <a:rPr lang="en-US" b="0" i="0" dirty="0">
                <a:solidFill>
                  <a:srgbClr val="61738E"/>
                </a:solidFill>
                <a:effectLst/>
                <a:highlight>
                  <a:srgbClr val="FAFBFC"/>
                </a:highlight>
                <a:latin typeface="KaTeX_Main"/>
              </a:rPr>
              <a:t>(</a:t>
            </a:r>
            <a:r>
              <a:rPr lang="en-US" b="0" i="1" dirty="0">
                <a:solidFill>
                  <a:srgbClr val="61738E"/>
                </a:solidFill>
                <a:effectLst/>
                <a:highlight>
                  <a:srgbClr val="FAFBFC"/>
                </a:highlight>
                <a:latin typeface="KaTeX_Main"/>
              </a:rPr>
              <a:t>x</a:t>
            </a:r>
            <a:r>
              <a:rPr lang="en-US" b="0" i="0" dirty="0">
                <a:solidFill>
                  <a:srgbClr val="61738E"/>
                </a:solidFill>
                <a:effectLst/>
                <a:highlight>
                  <a:srgbClr val="FAFBFC"/>
                </a:highlight>
                <a:latin typeface="KaTeX_Main"/>
              </a:rPr>
              <a:t>)</a:t>
            </a:r>
            <a:r>
              <a:rPr lang="en-US" b="0" i="0" dirty="0">
                <a:solidFill>
                  <a:srgbClr val="61738E"/>
                </a:solidFill>
                <a:effectLst/>
                <a:highlight>
                  <a:srgbClr val="FAFBFC"/>
                </a:highlight>
                <a:latin typeface="__Source_Sans_Pro_fa6df0"/>
              </a:rPr>
              <a:t>, where </a:t>
            </a:r>
            <a:r>
              <a:rPr lang="en-US" b="0" i="0" dirty="0">
                <a:solidFill>
                  <a:srgbClr val="61738E"/>
                </a:solidFill>
                <a:effectLst/>
                <a:highlight>
                  <a:srgbClr val="FAFBFC"/>
                </a:highlight>
                <a:latin typeface="KaTeX_Main"/>
              </a:rPr>
              <a:t>x</a:t>
            </a:r>
            <a:r>
              <a:rPr lang="en-US" b="0" i="1" dirty="0">
                <a:solidFill>
                  <a:srgbClr val="61738E"/>
                </a:solidFill>
                <a:effectLst/>
                <a:highlight>
                  <a:srgbClr val="FAFBFC"/>
                </a:highlight>
                <a:latin typeface="KaTeX_Main"/>
              </a:rPr>
              <a:t>x</a:t>
            </a:r>
            <a:r>
              <a:rPr lang="en-US" b="0" i="0" dirty="0">
                <a:solidFill>
                  <a:srgbClr val="61738E"/>
                </a:solidFill>
                <a:effectLst/>
                <a:highlight>
                  <a:srgbClr val="FAFBFC"/>
                </a:highlight>
                <a:latin typeface="__Source_Sans_Pro_fa6df0"/>
              </a:rPr>
              <a:t> represents the attributes or features of an outcome.</a:t>
            </a:r>
            <a:endParaRPr lang="en-US" dirty="0"/>
          </a:p>
          <a:p>
            <a:endParaRPr lang="en-US" dirty="0"/>
          </a:p>
        </p:txBody>
      </p:sp>
    </p:spTree>
    <p:extLst>
      <p:ext uri="{BB962C8B-B14F-4D97-AF65-F5344CB8AC3E}">
        <p14:creationId xmlns:p14="http://schemas.microsoft.com/office/powerpoint/2010/main" val="117363021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5EEB4B0-F7B5-EFD7-74DF-5D00DCF7AD9C}"/>
              </a:ext>
            </a:extLst>
          </p:cNvPr>
          <p:cNvGraphicFramePr>
            <a:graphicFrameLocks noChangeAspect="1"/>
          </p:cNvGraphicFramePr>
          <p:nvPr>
            <p:custDataLst>
              <p:tags r:id="rId1"/>
            </p:custDataLst>
            <p:extLst>
              <p:ext uri="{D42A27DB-BD31-4B8C-83A1-F6EECF244321}">
                <p14:modId xmlns:p14="http://schemas.microsoft.com/office/powerpoint/2010/main" val="18297102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think-cell data - do not delete" hidden="1">
                        <a:extLst>
                          <a:ext uri="{FF2B5EF4-FFF2-40B4-BE49-F238E27FC236}">
                            <a16:creationId xmlns:a16="http://schemas.microsoft.com/office/drawing/2014/main" id="{E5EEB4B0-F7B5-EFD7-74DF-5D00DCF7AD9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37439235-541B-F468-6812-E4D510B33DFA}"/>
              </a:ext>
            </a:extLst>
          </p:cNvPr>
          <p:cNvSpPr>
            <a:spLocks noGrp="1"/>
          </p:cNvSpPr>
          <p:nvPr>
            <p:ph idx="1"/>
          </p:nvPr>
        </p:nvSpPr>
        <p:spPr>
          <a:xfrm>
            <a:off x="296333" y="211667"/>
            <a:ext cx="11057467" cy="5965296"/>
          </a:xfrm>
        </p:spPr>
        <p:txBody>
          <a:bodyPr/>
          <a:lstStyle/>
          <a:p>
            <a:endParaRPr lang="en-US" dirty="0"/>
          </a:p>
        </p:txBody>
      </p:sp>
    </p:spTree>
    <p:extLst>
      <p:ext uri="{BB962C8B-B14F-4D97-AF65-F5344CB8AC3E}">
        <p14:creationId xmlns:p14="http://schemas.microsoft.com/office/powerpoint/2010/main" val="28028637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BF4156F-FCCC-F793-066C-30B7A1C67445}"/>
              </a:ext>
            </a:extLst>
          </p:cNvPr>
          <p:cNvGraphicFramePr>
            <a:graphicFrameLocks noChangeAspect="1"/>
          </p:cNvGraphicFramePr>
          <p:nvPr>
            <p:custDataLst>
              <p:tags r:id="rId1"/>
            </p:custDataLst>
            <p:extLst>
              <p:ext uri="{D42A27DB-BD31-4B8C-83A1-F6EECF244321}">
                <p14:modId xmlns:p14="http://schemas.microsoft.com/office/powerpoint/2010/main" val="2820065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think-cell data - do not delete" hidden="1">
                        <a:extLst>
                          <a:ext uri="{FF2B5EF4-FFF2-40B4-BE49-F238E27FC236}">
                            <a16:creationId xmlns:a16="http://schemas.microsoft.com/office/drawing/2014/main" id="{4BF4156F-FCCC-F793-066C-30B7A1C674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3230C1BD-93B1-925E-DB07-68DC08F169FF}"/>
              </a:ext>
            </a:extLst>
          </p:cNvPr>
          <p:cNvSpPr>
            <a:spLocks noGrp="1"/>
          </p:cNvSpPr>
          <p:nvPr>
            <p:ph idx="1"/>
          </p:nvPr>
        </p:nvSpPr>
        <p:spPr>
          <a:xfrm>
            <a:off x="355600" y="338667"/>
            <a:ext cx="10998200" cy="5838296"/>
          </a:xfrm>
        </p:spPr>
        <p:txBody>
          <a:bodyPr>
            <a:normAutofit/>
          </a:bodyPr>
          <a:lstStyle/>
          <a:p>
            <a:pPr algn="l"/>
            <a:r>
              <a:rPr lang="en-US" b="1" i="0" dirty="0">
                <a:effectLst/>
                <a:highlight>
                  <a:srgbClr val="FAFBFC"/>
                </a:highlight>
                <a:latin typeface="__Source_Sans_Pro_fa6df0"/>
              </a:rPr>
              <a:t>Decision Making</a:t>
            </a:r>
          </a:p>
          <a:p>
            <a:pPr algn="l"/>
            <a:r>
              <a:rPr lang="en-US" b="0" i="0" dirty="0">
                <a:solidFill>
                  <a:srgbClr val="61738E"/>
                </a:solidFill>
                <a:effectLst/>
                <a:highlight>
                  <a:srgbClr val="FAFBFC"/>
                </a:highlight>
                <a:latin typeface="__Source_Sans_Pro_fa6df0"/>
              </a:rPr>
              <a:t>One common approach in AI decision-making is to </a:t>
            </a:r>
            <a:r>
              <a:rPr lang="en-US" b="1" i="0" dirty="0">
                <a:solidFill>
                  <a:srgbClr val="61738E"/>
                </a:solidFill>
                <a:effectLst/>
                <a:highlight>
                  <a:srgbClr val="FAFBFC"/>
                </a:highlight>
                <a:latin typeface="__Source_Sans_Pro_fa6df0"/>
              </a:rPr>
              <a:t>maximize the expected utility</a:t>
            </a:r>
            <a:r>
              <a:rPr lang="en-US" b="0" i="0" dirty="0">
                <a:solidFill>
                  <a:srgbClr val="61738E"/>
                </a:solidFill>
                <a:effectLst/>
                <a:highlight>
                  <a:srgbClr val="FAFBFC"/>
                </a:highlight>
                <a:latin typeface="__Source_Sans_Pro_fa6df0"/>
              </a:rPr>
              <a:t>, which considers the probability of different outcomes occurring.  The AI system chooses the </a:t>
            </a:r>
            <a:r>
              <a:rPr lang="en-US" b="1" i="0" dirty="0">
                <a:solidFill>
                  <a:srgbClr val="61738E"/>
                </a:solidFill>
                <a:effectLst/>
                <a:highlight>
                  <a:srgbClr val="FAFBFC"/>
                </a:highlight>
                <a:latin typeface="__Source_Sans_Pro_fa6df0"/>
              </a:rPr>
              <a:t>action with the highest expected utility</a:t>
            </a:r>
            <a:r>
              <a:rPr lang="en-US" b="0" i="0" dirty="0">
                <a:solidFill>
                  <a:srgbClr val="61738E"/>
                </a:solidFill>
                <a:effectLst/>
                <a:highlight>
                  <a:srgbClr val="FAFBFC"/>
                </a:highlight>
                <a:latin typeface="__Source_Sans_Pro_fa6df0"/>
              </a:rPr>
              <a:t> as the </a:t>
            </a:r>
            <a:r>
              <a:rPr lang="en-US" b="1" i="0" dirty="0">
                <a:solidFill>
                  <a:srgbClr val="61738E"/>
                </a:solidFill>
                <a:effectLst/>
                <a:highlight>
                  <a:srgbClr val="FAFBFC"/>
                </a:highlight>
                <a:latin typeface="__Source_Sans_Pro_fa6df0"/>
              </a:rPr>
              <a:t>optimal choice</a:t>
            </a:r>
            <a:r>
              <a:rPr lang="en-US" b="0" i="0" dirty="0">
                <a:solidFill>
                  <a:srgbClr val="61738E"/>
                </a:solidFill>
                <a:effectLst/>
                <a:highlight>
                  <a:srgbClr val="FAFBFC"/>
                </a:highlight>
                <a:latin typeface="__Source_Sans_Pro_fa6df0"/>
              </a:rPr>
              <a:t>.</a:t>
            </a:r>
          </a:p>
          <a:p>
            <a:pPr algn="l"/>
            <a:r>
              <a:rPr lang="en-US" b="1" i="0" dirty="0">
                <a:solidFill>
                  <a:srgbClr val="61738E"/>
                </a:solidFill>
                <a:effectLst/>
                <a:highlight>
                  <a:srgbClr val="FAFBFC"/>
                </a:highlight>
                <a:latin typeface="__Source_Sans_Pro_fa6df0"/>
              </a:rPr>
              <a:t>Examples:</a:t>
            </a:r>
            <a:endParaRPr lang="en-US" b="0" i="0" dirty="0">
              <a:solidFill>
                <a:srgbClr val="61738E"/>
              </a:solidFill>
              <a:effectLst/>
              <a:highlight>
                <a:srgbClr val="FAFBFC"/>
              </a:highlight>
              <a:latin typeface="__Source_Sans_Pro_fa6df0"/>
            </a:endParaRPr>
          </a:p>
          <a:p>
            <a:pPr algn="l">
              <a:buFont typeface="+mj-lt"/>
              <a:buAutoNum type="arabicPeriod"/>
            </a:pPr>
            <a:r>
              <a:rPr lang="en-US" b="1" i="0" dirty="0">
                <a:solidFill>
                  <a:srgbClr val="61738E"/>
                </a:solidFill>
                <a:effectLst/>
                <a:highlight>
                  <a:srgbClr val="FAFBFC"/>
                </a:highlight>
                <a:latin typeface="__Source_Sans_Pro_fa6df0"/>
              </a:rPr>
              <a:t>Self-Driving Cars:</a:t>
            </a:r>
            <a:r>
              <a:rPr lang="en-US" b="0" i="0" dirty="0">
                <a:solidFill>
                  <a:srgbClr val="61738E"/>
                </a:solidFill>
                <a:effectLst/>
                <a:highlight>
                  <a:srgbClr val="FAFBFC"/>
                </a:highlight>
                <a:latin typeface="__Source_Sans_Pro_fa6df0"/>
              </a:rPr>
              <a:t> In the </a:t>
            </a:r>
            <a:r>
              <a:rPr lang="en-US" b="1" i="0" dirty="0">
                <a:solidFill>
                  <a:srgbClr val="61738E"/>
                </a:solidFill>
                <a:effectLst/>
                <a:highlight>
                  <a:srgbClr val="FAFBFC"/>
                </a:highlight>
                <a:latin typeface="__Source_Sans_Pro_fa6df0"/>
              </a:rPr>
              <a:t>self-driving cars</a:t>
            </a:r>
            <a:r>
              <a:rPr lang="en-US" b="0" i="0" dirty="0">
                <a:solidFill>
                  <a:srgbClr val="61738E"/>
                </a:solidFill>
                <a:effectLst/>
                <a:highlight>
                  <a:srgbClr val="FAFBFC"/>
                </a:highlight>
                <a:latin typeface="__Source_Sans_Pro_fa6df0"/>
              </a:rPr>
              <a:t> application, the utility function may consider factors such as </a:t>
            </a:r>
            <a:r>
              <a:rPr lang="en-US" b="1" i="0" dirty="0">
                <a:solidFill>
                  <a:srgbClr val="61738E"/>
                </a:solidFill>
                <a:effectLst/>
                <a:highlight>
                  <a:srgbClr val="FAFBFC"/>
                </a:highlight>
                <a:latin typeface="__Source_Sans_Pro_fa6df0"/>
              </a:rPr>
              <a:t>time taken</a:t>
            </a:r>
            <a:r>
              <a:rPr lang="en-US" b="0" i="0" dirty="0">
                <a:solidFill>
                  <a:srgbClr val="61738E"/>
                </a:solidFill>
                <a:effectLst/>
                <a:highlight>
                  <a:srgbClr val="FAFBFC"/>
                </a:highlight>
                <a:latin typeface="__Source_Sans_Pro_fa6df0"/>
              </a:rPr>
              <a:t>, </a:t>
            </a:r>
            <a:r>
              <a:rPr lang="en-US" b="1" i="0" dirty="0">
                <a:solidFill>
                  <a:srgbClr val="61738E"/>
                </a:solidFill>
                <a:effectLst/>
                <a:highlight>
                  <a:srgbClr val="FAFBFC"/>
                </a:highlight>
                <a:latin typeface="__Source_Sans_Pro_fa6df0"/>
              </a:rPr>
              <a:t>fuel consumption</a:t>
            </a:r>
            <a:r>
              <a:rPr lang="en-US" b="0" i="0" dirty="0">
                <a:solidFill>
                  <a:srgbClr val="61738E"/>
                </a:solidFill>
                <a:effectLst/>
                <a:highlight>
                  <a:srgbClr val="FAFBFC"/>
                </a:highlight>
                <a:latin typeface="__Source_Sans_Pro_fa6df0"/>
              </a:rPr>
              <a:t>, </a:t>
            </a:r>
            <a:r>
              <a:rPr lang="en-US" b="1" i="0" dirty="0">
                <a:solidFill>
                  <a:srgbClr val="61738E"/>
                </a:solidFill>
                <a:effectLst/>
                <a:highlight>
                  <a:srgbClr val="FAFBFC"/>
                </a:highlight>
                <a:latin typeface="__Source_Sans_Pro_fa6df0"/>
              </a:rPr>
              <a:t>safety</a:t>
            </a:r>
            <a:r>
              <a:rPr lang="en-US" b="0" i="0" dirty="0">
                <a:solidFill>
                  <a:srgbClr val="61738E"/>
                </a:solidFill>
                <a:effectLst/>
                <a:highlight>
                  <a:srgbClr val="FAFBFC"/>
                </a:highlight>
                <a:latin typeface="__Source_Sans_Pro_fa6df0"/>
              </a:rPr>
              <a:t>, and </a:t>
            </a:r>
            <a:r>
              <a:rPr lang="en-US" b="1" i="0" dirty="0">
                <a:solidFill>
                  <a:srgbClr val="61738E"/>
                </a:solidFill>
                <a:effectLst/>
                <a:highlight>
                  <a:srgbClr val="FAFBFC"/>
                </a:highlight>
                <a:latin typeface="__Source_Sans_Pro_fa6df0"/>
              </a:rPr>
              <a:t>comfort</a:t>
            </a:r>
            <a:r>
              <a:rPr lang="en-US" b="0" i="0" dirty="0">
                <a:solidFill>
                  <a:srgbClr val="61738E"/>
                </a:solidFill>
                <a:effectLst/>
                <a:highlight>
                  <a:srgbClr val="FAFBFC"/>
                </a:highlight>
                <a:latin typeface="__Source_Sans_Pro_fa6df0"/>
              </a:rPr>
              <a:t>, and assign utility values to different routes based on these factors.</a:t>
            </a:r>
          </a:p>
          <a:p>
            <a:pPr algn="l">
              <a:buFont typeface="+mj-lt"/>
              <a:buAutoNum type="arabicPeriod"/>
            </a:pPr>
            <a:r>
              <a:rPr lang="en-US" b="1" i="0" dirty="0">
                <a:solidFill>
                  <a:srgbClr val="61738E"/>
                </a:solidFill>
                <a:effectLst/>
                <a:highlight>
                  <a:srgbClr val="FAFBFC"/>
                </a:highlight>
                <a:latin typeface="__Source_Sans_Pro_fa6df0"/>
              </a:rPr>
              <a:t>Recommendation Systems:</a:t>
            </a:r>
            <a:r>
              <a:rPr lang="en-US" b="0" i="0" dirty="0">
                <a:solidFill>
                  <a:srgbClr val="61738E"/>
                </a:solidFill>
                <a:effectLst/>
                <a:highlight>
                  <a:srgbClr val="FAFBFC"/>
                </a:highlight>
                <a:latin typeface="__Source_Sans_Pro_fa6df0"/>
              </a:rPr>
              <a:t> Consider a </a:t>
            </a:r>
            <a:r>
              <a:rPr lang="en-US" b="1" i="0" dirty="0">
                <a:solidFill>
                  <a:srgbClr val="61738E"/>
                </a:solidFill>
                <a:effectLst/>
                <a:highlight>
                  <a:srgbClr val="FAFBFC"/>
                </a:highlight>
                <a:latin typeface="__Source_Sans_Pro_fa6df0"/>
              </a:rPr>
              <a:t>recommendation system</a:t>
            </a:r>
            <a:r>
              <a:rPr lang="en-US" b="0" i="0" dirty="0">
                <a:solidFill>
                  <a:srgbClr val="61738E"/>
                </a:solidFill>
                <a:effectLst/>
                <a:highlight>
                  <a:srgbClr val="FAFBFC"/>
                </a:highlight>
                <a:latin typeface="__Source_Sans_Pro_fa6df0"/>
              </a:rPr>
              <a:t> that suggests movies to users based on their preferences.</a:t>
            </a:r>
          </a:p>
          <a:p>
            <a:endParaRPr lang="en-US" dirty="0"/>
          </a:p>
        </p:txBody>
      </p:sp>
    </p:spTree>
    <p:extLst>
      <p:ext uri="{BB962C8B-B14F-4D97-AF65-F5344CB8AC3E}">
        <p14:creationId xmlns:p14="http://schemas.microsoft.com/office/powerpoint/2010/main" val="267298189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6729B0-199C-2FD7-A996-0D7954CE110D}"/>
              </a:ext>
            </a:extLst>
          </p:cNvPr>
          <p:cNvGraphicFramePr>
            <a:graphicFrameLocks noChangeAspect="1"/>
          </p:cNvGraphicFramePr>
          <p:nvPr>
            <p:custDataLst>
              <p:tags r:id="rId1"/>
            </p:custDataLst>
            <p:extLst>
              <p:ext uri="{D42A27DB-BD31-4B8C-83A1-F6EECF244321}">
                <p14:modId xmlns:p14="http://schemas.microsoft.com/office/powerpoint/2010/main" val="37511160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think-cell data - do not delete" hidden="1">
                        <a:extLst>
                          <a:ext uri="{FF2B5EF4-FFF2-40B4-BE49-F238E27FC236}">
                            <a16:creationId xmlns:a16="http://schemas.microsoft.com/office/drawing/2014/main" id="{BC6729B0-199C-2FD7-A996-0D7954CE110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image15.png">
            <a:extLst>
              <a:ext uri="{FF2B5EF4-FFF2-40B4-BE49-F238E27FC236}">
                <a16:creationId xmlns:a16="http://schemas.microsoft.com/office/drawing/2014/main" id="{44622224-E970-3766-A9BE-FBBDC62EC8CE}"/>
              </a:ext>
            </a:extLst>
          </p:cNvPr>
          <p:cNvPicPr>
            <a:picLocks noGrp="1" noChangeAspect="1"/>
          </p:cNvPicPr>
          <p:nvPr>
            <p:ph idx="1"/>
          </p:nvPr>
        </p:nvPicPr>
        <p:blipFill>
          <a:blip r:embed="rId5" cstate="print"/>
          <a:stretch>
            <a:fillRect/>
          </a:stretch>
        </p:blipFill>
        <p:spPr>
          <a:xfrm>
            <a:off x="1295399" y="639547"/>
            <a:ext cx="8433041" cy="5066986"/>
          </a:xfrm>
          <a:prstGeom prst="rect">
            <a:avLst/>
          </a:prstGeom>
        </p:spPr>
      </p:pic>
    </p:spTree>
    <p:extLst>
      <p:ext uri="{BB962C8B-B14F-4D97-AF65-F5344CB8AC3E}">
        <p14:creationId xmlns:p14="http://schemas.microsoft.com/office/powerpoint/2010/main" val="280319918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2601A44-85D2-EC6D-D361-022AB6AED602}"/>
              </a:ext>
            </a:extLst>
          </p:cNvPr>
          <p:cNvGraphicFramePr>
            <a:graphicFrameLocks noChangeAspect="1"/>
          </p:cNvGraphicFramePr>
          <p:nvPr>
            <p:custDataLst>
              <p:tags r:id="rId1"/>
            </p:custDataLst>
            <p:extLst>
              <p:ext uri="{D42A27DB-BD31-4B8C-83A1-F6EECF244321}">
                <p14:modId xmlns:p14="http://schemas.microsoft.com/office/powerpoint/2010/main" val="16894023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think-cell data - do not delete" hidden="1">
                        <a:extLst>
                          <a:ext uri="{FF2B5EF4-FFF2-40B4-BE49-F238E27FC236}">
                            <a16:creationId xmlns:a16="http://schemas.microsoft.com/office/drawing/2014/main" id="{72601A44-85D2-EC6D-D361-022AB6AED6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8586EF54-6CB9-62CC-0FE2-22E59DAAC458}"/>
              </a:ext>
            </a:extLst>
          </p:cNvPr>
          <p:cNvSpPr>
            <a:spLocks noGrp="1"/>
          </p:cNvSpPr>
          <p:nvPr>
            <p:ph idx="1"/>
          </p:nvPr>
        </p:nvSpPr>
        <p:spPr>
          <a:xfrm>
            <a:off x="76201" y="270933"/>
            <a:ext cx="11201400" cy="6033030"/>
          </a:xfrm>
        </p:spPr>
        <p:txBody>
          <a:bodyPr>
            <a:normAutofit fontScale="40000" lnSpcReduction="20000"/>
          </a:bodyPr>
          <a:lstStyle/>
          <a:p>
            <a:pPr marL="0" indent="0">
              <a:buNone/>
            </a:pPr>
            <a:r>
              <a:rPr lang="en-US" dirty="0"/>
              <a:t>Components of Utility-Based Agents </a:t>
            </a:r>
          </a:p>
          <a:p>
            <a:pPr marL="0" indent="0">
              <a:buNone/>
            </a:pPr>
            <a:r>
              <a:rPr lang="en-US" dirty="0"/>
              <a:t>1. Utility Function </a:t>
            </a:r>
          </a:p>
          <a:p>
            <a:pPr marL="0" indent="0">
              <a:buNone/>
            </a:pPr>
            <a:r>
              <a:rPr lang="en-US" dirty="0"/>
              <a:t>A mathematical representation of the agent’s preferences, </a:t>
            </a:r>
          </a:p>
          <a:p>
            <a:r>
              <a:rPr lang="en-US" dirty="0"/>
              <a:t>assigning a utility value to each possible outcome. </a:t>
            </a:r>
          </a:p>
          <a:p>
            <a:r>
              <a:rPr lang="en-US" dirty="0"/>
              <a:t>o Purpose: Quantifies preferences, allowing the agent to compare states and </a:t>
            </a:r>
          </a:p>
          <a:p>
            <a:r>
              <a:rPr lang="en-US" dirty="0"/>
              <a:t>choose actions that maximize utility. For example, in an autonomous vehicle, </a:t>
            </a:r>
          </a:p>
          <a:p>
            <a:r>
              <a:rPr lang="en-US" dirty="0"/>
              <a:t>the utility function might consider safety, speed, fuel efficiency, and passenger </a:t>
            </a:r>
          </a:p>
          <a:p>
            <a:r>
              <a:rPr lang="en-US" dirty="0"/>
              <a:t>comfort. </a:t>
            </a:r>
          </a:p>
          <a:p>
            <a:r>
              <a:rPr lang="en-US" dirty="0"/>
              <a:t>2. State Space </a:t>
            </a:r>
          </a:p>
          <a:p>
            <a:r>
              <a:rPr lang="en-US" dirty="0"/>
              <a:t>o Definition: The set of all possible states the agent can be in. </a:t>
            </a:r>
          </a:p>
          <a:p>
            <a:r>
              <a:rPr lang="en-US" dirty="0"/>
              <a:t>o Purpose: Defines the environment in which the agent operates. Understanding </a:t>
            </a:r>
          </a:p>
          <a:p>
            <a:r>
              <a:rPr lang="en-US" dirty="0"/>
              <a:t>all possible states helps the agent predict the consequences of its actions and </a:t>
            </a:r>
          </a:p>
          <a:p>
            <a:r>
              <a:rPr lang="en-US" dirty="0"/>
              <a:t>plan accordingly. </a:t>
            </a:r>
          </a:p>
          <a:p>
            <a:r>
              <a:rPr lang="en-US" dirty="0"/>
              <a:t>3. Actions </a:t>
            </a:r>
          </a:p>
          <a:p>
            <a:r>
              <a:rPr lang="en-US" dirty="0"/>
              <a:t>o Definition: The set of all possible operations or maneuvers the agent can take </a:t>
            </a:r>
          </a:p>
          <a:p>
            <a:r>
              <a:rPr lang="en-US" dirty="0"/>
              <a:t>to transition between states. </a:t>
            </a:r>
          </a:p>
          <a:p>
            <a:r>
              <a:rPr lang="en-US" dirty="0"/>
              <a:t>o Purpose: Allows the agent to interact with the environment and move toward </a:t>
            </a:r>
          </a:p>
          <a:p>
            <a:r>
              <a:rPr lang="en-US" dirty="0"/>
              <a:t>states with higher utility. </a:t>
            </a:r>
          </a:p>
          <a:p>
            <a:r>
              <a:rPr lang="en-US" dirty="0"/>
              <a:t>4. Transition Model </a:t>
            </a:r>
          </a:p>
          <a:p>
            <a:r>
              <a:rPr lang="en-US" dirty="0"/>
              <a:t>o Definition: A function that defines the probability of transitioning from one </a:t>
            </a:r>
          </a:p>
          <a:p>
            <a:r>
              <a:rPr lang="en-US" dirty="0"/>
              <a:t>state to another after an action. </a:t>
            </a:r>
          </a:p>
          <a:p>
            <a:r>
              <a:rPr lang="en-US" dirty="0"/>
              <a:t>o Purpose: Helps the agent predict the outcomes of its actions, allowing for </a:t>
            </a:r>
          </a:p>
          <a:p>
            <a:r>
              <a:rPr lang="en-US" dirty="0"/>
              <a:t>more informed decisions to maximize utility. </a:t>
            </a:r>
          </a:p>
        </p:txBody>
      </p:sp>
    </p:spTree>
    <p:extLst>
      <p:ext uri="{BB962C8B-B14F-4D97-AF65-F5344CB8AC3E}">
        <p14:creationId xmlns:p14="http://schemas.microsoft.com/office/powerpoint/2010/main" val="279238372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0CD1452-7540-FC16-BB6B-C469B399984F}"/>
              </a:ext>
            </a:extLst>
          </p:cNvPr>
          <p:cNvGraphicFramePr>
            <a:graphicFrameLocks noChangeAspect="1"/>
          </p:cNvGraphicFramePr>
          <p:nvPr>
            <p:custDataLst>
              <p:tags r:id="rId1"/>
            </p:custDataLst>
            <p:extLst>
              <p:ext uri="{D42A27DB-BD31-4B8C-83A1-F6EECF244321}">
                <p14:modId xmlns:p14="http://schemas.microsoft.com/office/powerpoint/2010/main" val="8214093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think-cell data - do not delete" hidden="1">
                        <a:extLst>
                          <a:ext uri="{FF2B5EF4-FFF2-40B4-BE49-F238E27FC236}">
                            <a16:creationId xmlns:a16="http://schemas.microsoft.com/office/drawing/2014/main" id="{C0CD1452-7540-FC16-BB6B-C469B399984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BF8AA04D-A4E7-B077-6B24-AA5771018E0D}"/>
              </a:ext>
            </a:extLst>
          </p:cNvPr>
          <p:cNvSpPr>
            <a:spLocks noGrp="1"/>
          </p:cNvSpPr>
          <p:nvPr>
            <p:ph idx="1"/>
          </p:nvPr>
        </p:nvSpPr>
        <p:spPr>
          <a:xfrm>
            <a:off x="254000" y="254000"/>
            <a:ext cx="11099800" cy="5922963"/>
          </a:xfrm>
        </p:spPr>
        <p:txBody>
          <a:bodyPr/>
          <a:lstStyle/>
          <a:p>
            <a:endParaRPr lang="en-US" dirty="0"/>
          </a:p>
        </p:txBody>
      </p:sp>
    </p:spTree>
    <p:extLst>
      <p:ext uri="{BB962C8B-B14F-4D97-AF65-F5344CB8AC3E}">
        <p14:creationId xmlns:p14="http://schemas.microsoft.com/office/powerpoint/2010/main" val="38987941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FE1D4A5-32FE-4A54-4549-D455A19A40D9}"/>
              </a:ext>
            </a:extLst>
          </p:cNvPr>
          <p:cNvSpPr>
            <a:spLocks noGrp="1"/>
          </p:cNvSpPr>
          <p:nvPr>
            <p:ph idx="1"/>
          </p:nvPr>
        </p:nvSpPr>
        <p:spPr>
          <a:xfrm>
            <a:off x="288099" y="475990"/>
            <a:ext cx="11065701" cy="5700974"/>
          </a:xfrm>
        </p:spPr>
        <p:txBody>
          <a:bodyPr/>
          <a:lstStyle/>
          <a:p>
            <a:pPr marL="294640" indent="0" algn="just">
              <a:spcBef>
                <a:spcPts val="265"/>
              </a:spcBef>
              <a:buNone/>
            </a:pPr>
            <a:r>
              <a:rPr lang="en-US" sz="3200" b="1" dirty="0">
                <a:effectLst/>
                <a:latin typeface="Times New Roman" panose="02020603050405020304" pitchFamily="18" charset="0"/>
                <a:ea typeface="Times New Roman" panose="02020603050405020304" pitchFamily="18" charset="0"/>
              </a:rPr>
              <a:t>What</a:t>
            </a:r>
            <a:r>
              <a:rPr lang="en-US" sz="3200" b="1" spc="-55" dirty="0">
                <a:effectLst/>
                <a:latin typeface="Times New Roman" panose="02020603050405020304" pitchFamily="18" charset="0"/>
                <a:ea typeface="Times New Roman" panose="02020603050405020304" pitchFamily="18" charset="0"/>
              </a:rPr>
              <a:t> </a:t>
            </a:r>
            <a:r>
              <a:rPr lang="en-US" sz="3200" b="1" dirty="0">
                <a:effectLst/>
                <a:latin typeface="Times New Roman" panose="02020603050405020304" pitchFamily="18" charset="0"/>
                <a:ea typeface="Times New Roman" panose="02020603050405020304" pitchFamily="18" charset="0"/>
              </a:rPr>
              <a:t>are</a:t>
            </a:r>
            <a:r>
              <a:rPr lang="en-US" sz="3200" b="1" spc="-80" dirty="0">
                <a:effectLst/>
                <a:latin typeface="Times New Roman" panose="02020603050405020304" pitchFamily="18" charset="0"/>
                <a:ea typeface="Times New Roman" panose="02020603050405020304" pitchFamily="18" charset="0"/>
              </a:rPr>
              <a:t> </a:t>
            </a:r>
            <a:r>
              <a:rPr lang="en-US" sz="3200" b="1" dirty="0">
                <a:effectLst/>
                <a:latin typeface="Times New Roman" panose="02020603050405020304" pitchFamily="18" charset="0"/>
                <a:ea typeface="Times New Roman" panose="02020603050405020304" pitchFamily="18" charset="0"/>
              </a:rPr>
              <a:t>the</a:t>
            </a:r>
            <a:r>
              <a:rPr lang="en-US" sz="3200" b="1" spc="-65" dirty="0">
                <a:effectLst/>
                <a:latin typeface="Times New Roman" panose="02020603050405020304" pitchFamily="18" charset="0"/>
                <a:ea typeface="Times New Roman" panose="02020603050405020304" pitchFamily="18" charset="0"/>
              </a:rPr>
              <a:t> </a:t>
            </a:r>
            <a:r>
              <a:rPr lang="en-US" sz="3200" b="1" dirty="0">
                <a:effectLst/>
                <a:latin typeface="Times New Roman" panose="02020603050405020304" pitchFamily="18" charset="0"/>
                <a:ea typeface="Times New Roman" panose="02020603050405020304" pitchFamily="18" charset="0"/>
              </a:rPr>
              <a:t>3</a:t>
            </a:r>
            <a:r>
              <a:rPr lang="en-US" sz="3200" b="1" spc="-45" dirty="0">
                <a:effectLst/>
                <a:latin typeface="Times New Roman" panose="02020603050405020304" pitchFamily="18" charset="0"/>
                <a:ea typeface="Times New Roman" panose="02020603050405020304" pitchFamily="18" charset="0"/>
              </a:rPr>
              <a:t> </a:t>
            </a:r>
            <a:r>
              <a:rPr lang="en-US" sz="3200" b="1" dirty="0">
                <a:effectLst/>
                <a:latin typeface="Times New Roman" panose="02020603050405020304" pitchFamily="18" charset="0"/>
                <a:ea typeface="Times New Roman" panose="02020603050405020304" pitchFamily="18" charset="0"/>
              </a:rPr>
              <a:t>axioms</a:t>
            </a:r>
            <a:r>
              <a:rPr lang="en-US" sz="3200" b="1" spc="-60" dirty="0">
                <a:effectLst/>
                <a:latin typeface="Times New Roman" panose="02020603050405020304" pitchFamily="18" charset="0"/>
                <a:ea typeface="Times New Roman" panose="02020603050405020304" pitchFamily="18" charset="0"/>
              </a:rPr>
              <a:t> </a:t>
            </a:r>
            <a:r>
              <a:rPr lang="en-US" sz="3200" b="1" dirty="0">
                <a:effectLst/>
                <a:latin typeface="Times New Roman" panose="02020603050405020304" pitchFamily="18" charset="0"/>
                <a:ea typeface="Times New Roman" panose="02020603050405020304" pitchFamily="18" charset="0"/>
              </a:rPr>
              <a:t>of</a:t>
            </a:r>
            <a:r>
              <a:rPr lang="en-US" sz="3200" b="1" spc="-65" dirty="0">
                <a:effectLst/>
                <a:latin typeface="Times New Roman" panose="02020603050405020304" pitchFamily="18" charset="0"/>
                <a:ea typeface="Times New Roman" panose="02020603050405020304" pitchFamily="18" charset="0"/>
              </a:rPr>
              <a:t> </a:t>
            </a:r>
            <a:r>
              <a:rPr lang="en-US" sz="3200" b="1" dirty="0">
                <a:effectLst/>
                <a:latin typeface="Times New Roman" panose="02020603050405020304" pitchFamily="18" charset="0"/>
                <a:ea typeface="Times New Roman" panose="02020603050405020304" pitchFamily="18" charset="0"/>
              </a:rPr>
              <a:t>probability?</a:t>
            </a:r>
            <a:endParaRPr lang="en-IN" sz="3200" b="1" dirty="0">
              <a:effectLst/>
              <a:latin typeface="Times New Roman" panose="02020603050405020304" pitchFamily="18" charset="0"/>
              <a:ea typeface="Times New Roman" panose="02020603050405020304" pitchFamily="18" charset="0"/>
            </a:endParaRPr>
          </a:p>
          <a:p>
            <a:pPr marL="342900" marR="365760" lvl="0" indent="-342900" algn="just">
              <a:lnSpc>
                <a:spcPct val="103000"/>
              </a:lnSpc>
              <a:spcBef>
                <a:spcPts val="940"/>
              </a:spcBef>
              <a:spcAft>
                <a:spcPts val="0"/>
              </a:spcAft>
              <a:buFont typeface="Arial" panose="020B0604020202020204" pitchFamily="34" charset="0"/>
              <a:buChar char="•"/>
              <a:tabLst>
                <a:tab pos="868045" algn="l"/>
              </a:tabLst>
            </a:pPr>
            <a:endParaRPr lang="en-US" sz="1800" dirty="0">
              <a:effectLst/>
              <a:latin typeface="Times New Roman" panose="02020603050405020304" pitchFamily="18" charset="0"/>
              <a:ea typeface="Times New Roman" panose="02020603050405020304" pitchFamily="18" charset="0"/>
            </a:endParaRPr>
          </a:p>
          <a:p>
            <a:pPr marL="342900" marR="365760" lvl="0" indent="-342900" algn="just">
              <a:lnSpc>
                <a:spcPct val="103000"/>
              </a:lnSpc>
              <a:spcBef>
                <a:spcPts val="940"/>
              </a:spcBef>
              <a:spcAft>
                <a:spcPts val="0"/>
              </a:spcAft>
              <a:buFont typeface="Arial" panose="020B0604020202020204" pitchFamily="34" charset="0"/>
              <a:buChar char="•"/>
              <a:tabLst>
                <a:tab pos="868045" algn="l"/>
              </a:tabLst>
            </a:pPr>
            <a:r>
              <a:rPr lang="en-US" sz="3600" dirty="0">
                <a:effectLst/>
                <a:latin typeface="Times New Roman" panose="02020603050405020304" pitchFamily="18" charset="0"/>
                <a:ea typeface="Times New Roman" panose="02020603050405020304" pitchFamily="18" charset="0"/>
              </a:rPr>
              <a:t>For any event A, P(A) ≥ 0. In English, that's</a:t>
            </a:r>
            <a:r>
              <a:rPr lang="en-US" sz="3600" spc="5" dirty="0">
                <a:effectLst/>
                <a:latin typeface="Times New Roman" panose="02020603050405020304" pitchFamily="18" charset="0"/>
                <a:ea typeface="Times New Roman" panose="02020603050405020304" pitchFamily="18" charset="0"/>
              </a:rPr>
              <a:t> </a:t>
            </a:r>
            <a:r>
              <a:rPr lang="en-US" sz="3600" dirty="0">
                <a:effectLst/>
                <a:latin typeface="Times New Roman" panose="02020603050405020304" pitchFamily="18" charset="0"/>
                <a:ea typeface="Times New Roman" panose="02020603050405020304" pitchFamily="18" charset="0"/>
              </a:rPr>
              <a:t>“For</a:t>
            </a:r>
            <a:r>
              <a:rPr lang="en-US" sz="3600" spc="5" dirty="0">
                <a:effectLst/>
                <a:latin typeface="Times New Roman" panose="02020603050405020304" pitchFamily="18" charset="0"/>
                <a:ea typeface="Times New Roman" panose="02020603050405020304" pitchFamily="18" charset="0"/>
              </a:rPr>
              <a:t> </a:t>
            </a:r>
            <a:r>
              <a:rPr lang="en-US" sz="3600" dirty="0">
                <a:effectLst/>
                <a:latin typeface="Times New Roman" panose="02020603050405020304" pitchFamily="18" charset="0"/>
                <a:ea typeface="Times New Roman" panose="02020603050405020304" pitchFamily="18" charset="0"/>
              </a:rPr>
              <a:t>any</a:t>
            </a:r>
            <a:r>
              <a:rPr lang="en-US" sz="3600" spc="5" dirty="0">
                <a:effectLst/>
                <a:latin typeface="Times New Roman" panose="02020603050405020304" pitchFamily="18" charset="0"/>
                <a:ea typeface="Times New Roman" panose="02020603050405020304" pitchFamily="18" charset="0"/>
              </a:rPr>
              <a:t> </a:t>
            </a:r>
            <a:r>
              <a:rPr lang="en-US" sz="3600" dirty="0">
                <a:effectLst/>
                <a:latin typeface="Times New Roman" panose="02020603050405020304" pitchFamily="18" charset="0"/>
                <a:ea typeface="Times New Roman" panose="02020603050405020304" pitchFamily="18" charset="0"/>
              </a:rPr>
              <a:t>event</a:t>
            </a:r>
            <a:r>
              <a:rPr lang="en-US" sz="3600" spc="5" dirty="0">
                <a:effectLst/>
                <a:latin typeface="Times New Roman" panose="02020603050405020304" pitchFamily="18" charset="0"/>
                <a:ea typeface="Times New Roman" panose="02020603050405020304" pitchFamily="18" charset="0"/>
              </a:rPr>
              <a:t> </a:t>
            </a:r>
            <a:r>
              <a:rPr lang="en-US" sz="3600" dirty="0">
                <a:effectLst/>
                <a:latin typeface="Times New Roman" panose="02020603050405020304" pitchFamily="18" charset="0"/>
                <a:ea typeface="Times New Roman" panose="02020603050405020304" pitchFamily="18" charset="0"/>
              </a:rPr>
              <a:t>A,</a:t>
            </a:r>
            <a:r>
              <a:rPr lang="en-US" sz="3600" spc="5" dirty="0">
                <a:effectLst/>
                <a:latin typeface="Times New Roman" panose="02020603050405020304" pitchFamily="18" charset="0"/>
                <a:ea typeface="Times New Roman" panose="02020603050405020304" pitchFamily="18" charset="0"/>
              </a:rPr>
              <a:t> </a:t>
            </a:r>
            <a:r>
              <a:rPr lang="en-US" sz="3600" dirty="0">
                <a:effectLst/>
                <a:latin typeface="Times New Roman" panose="02020603050405020304" pitchFamily="18" charset="0"/>
                <a:ea typeface="Times New Roman" panose="02020603050405020304" pitchFamily="18" charset="0"/>
              </a:rPr>
              <a:t>the</a:t>
            </a:r>
            <a:r>
              <a:rPr lang="en-US" sz="3600" spc="5" dirty="0">
                <a:effectLst/>
                <a:latin typeface="Times New Roman" panose="02020603050405020304" pitchFamily="18" charset="0"/>
                <a:ea typeface="Times New Roman" panose="02020603050405020304" pitchFamily="18" charset="0"/>
              </a:rPr>
              <a:t> </a:t>
            </a:r>
            <a:r>
              <a:rPr lang="en-US" sz="3600" b="1" dirty="0">
                <a:effectLst/>
                <a:latin typeface="Times New Roman" panose="02020603050405020304" pitchFamily="18" charset="0"/>
                <a:ea typeface="Times New Roman" panose="02020603050405020304" pitchFamily="18" charset="0"/>
              </a:rPr>
              <a:t>probability</a:t>
            </a:r>
            <a:r>
              <a:rPr lang="en-US" sz="3600" b="1" spc="5" dirty="0">
                <a:effectLst/>
                <a:latin typeface="Times New Roman" panose="02020603050405020304" pitchFamily="18" charset="0"/>
                <a:ea typeface="Times New Roman" panose="02020603050405020304" pitchFamily="18" charset="0"/>
              </a:rPr>
              <a:t> </a:t>
            </a:r>
            <a:r>
              <a:rPr lang="en-US" sz="3600" dirty="0">
                <a:effectLst/>
                <a:latin typeface="Times New Roman" panose="02020603050405020304" pitchFamily="18" charset="0"/>
                <a:ea typeface="Times New Roman" panose="02020603050405020304" pitchFamily="18" charset="0"/>
              </a:rPr>
              <a:t>of</a:t>
            </a:r>
            <a:r>
              <a:rPr lang="en-US" sz="3600" spc="5" dirty="0">
                <a:effectLst/>
                <a:latin typeface="Times New Roman" panose="02020603050405020304" pitchFamily="18" charset="0"/>
                <a:ea typeface="Times New Roman" panose="02020603050405020304" pitchFamily="18" charset="0"/>
              </a:rPr>
              <a:t> </a:t>
            </a:r>
            <a:r>
              <a:rPr lang="en-US" sz="3600" dirty="0">
                <a:effectLst/>
                <a:latin typeface="Times New Roman" panose="02020603050405020304" pitchFamily="18" charset="0"/>
                <a:ea typeface="Times New Roman" panose="02020603050405020304" pitchFamily="18" charset="0"/>
              </a:rPr>
              <a:t>A</a:t>
            </a:r>
            <a:r>
              <a:rPr lang="en-US" sz="3600" spc="5" dirty="0">
                <a:effectLst/>
                <a:latin typeface="Times New Roman" panose="02020603050405020304" pitchFamily="18" charset="0"/>
                <a:ea typeface="Times New Roman" panose="02020603050405020304" pitchFamily="18" charset="0"/>
              </a:rPr>
              <a:t> </a:t>
            </a:r>
            <a:r>
              <a:rPr lang="en-US" sz="3600" dirty="0">
                <a:effectLst/>
                <a:latin typeface="Times New Roman" panose="02020603050405020304" pitchFamily="18" charset="0"/>
                <a:ea typeface="Times New Roman" panose="02020603050405020304" pitchFamily="18" charset="0"/>
              </a:rPr>
              <a:t>is</a:t>
            </a:r>
            <a:r>
              <a:rPr lang="en-US" sz="3600" spc="5" dirty="0">
                <a:effectLst/>
                <a:latin typeface="Times New Roman" panose="02020603050405020304" pitchFamily="18" charset="0"/>
                <a:ea typeface="Times New Roman" panose="02020603050405020304" pitchFamily="18" charset="0"/>
              </a:rPr>
              <a:t> </a:t>
            </a:r>
            <a:r>
              <a:rPr lang="en-US" sz="3600" dirty="0">
                <a:effectLst/>
                <a:latin typeface="Times New Roman" panose="02020603050405020304" pitchFamily="18" charset="0"/>
                <a:ea typeface="Times New Roman" panose="02020603050405020304" pitchFamily="18" charset="0"/>
              </a:rPr>
              <a:t>greater</a:t>
            </a:r>
            <a:r>
              <a:rPr lang="en-US" sz="3600" spc="-5" dirty="0">
                <a:effectLst/>
                <a:latin typeface="Times New Roman" panose="02020603050405020304" pitchFamily="18" charset="0"/>
                <a:ea typeface="Times New Roman" panose="02020603050405020304" pitchFamily="18" charset="0"/>
              </a:rPr>
              <a:t> </a:t>
            </a:r>
            <a:r>
              <a:rPr lang="en-US" sz="3600" dirty="0">
                <a:effectLst/>
                <a:latin typeface="Times New Roman" panose="02020603050405020304" pitchFamily="18" charset="0"/>
                <a:ea typeface="Times New Roman" panose="02020603050405020304" pitchFamily="18" charset="0"/>
              </a:rPr>
              <a:t>or</a:t>
            </a:r>
            <a:r>
              <a:rPr lang="en-US" sz="3600" spc="-20" dirty="0">
                <a:effectLst/>
                <a:latin typeface="Times New Roman" panose="02020603050405020304" pitchFamily="18" charset="0"/>
                <a:ea typeface="Times New Roman" panose="02020603050405020304" pitchFamily="18" charset="0"/>
              </a:rPr>
              <a:t> </a:t>
            </a:r>
            <a:r>
              <a:rPr lang="en-US" sz="3600" dirty="0">
                <a:effectLst/>
                <a:latin typeface="Times New Roman" panose="02020603050405020304" pitchFamily="18" charset="0"/>
                <a:ea typeface="Times New Roman" panose="02020603050405020304" pitchFamily="18" charset="0"/>
              </a:rPr>
              <a:t>equal</a:t>
            </a:r>
            <a:r>
              <a:rPr lang="en-US" sz="3600" spc="-30" dirty="0">
                <a:effectLst/>
                <a:latin typeface="Times New Roman" panose="02020603050405020304" pitchFamily="18" charset="0"/>
                <a:ea typeface="Times New Roman" panose="02020603050405020304" pitchFamily="18" charset="0"/>
              </a:rPr>
              <a:t> </a:t>
            </a:r>
            <a:r>
              <a:rPr lang="en-US" sz="3600" dirty="0">
                <a:effectLst/>
                <a:latin typeface="Times New Roman" panose="02020603050405020304" pitchFamily="18" charset="0"/>
                <a:ea typeface="Times New Roman" panose="02020603050405020304" pitchFamily="18" charset="0"/>
              </a:rPr>
              <a:t>to</a:t>
            </a:r>
            <a:r>
              <a:rPr lang="en-US" sz="3600" spc="5" dirty="0">
                <a:effectLst/>
                <a:latin typeface="Times New Roman" panose="02020603050405020304" pitchFamily="18" charset="0"/>
                <a:ea typeface="Times New Roman" panose="02020603050405020304" pitchFamily="18" charset="0"/>
              </a:rPr>
              <a:t> </a:t>
            </a:r>
            <a:r>
              <a:rPr lang="en-US" sz="3600" dirty="0">
                <a:effectLst/>
                <a:latin typeface="Times New Roman" panose="02020603050405020304" pitchFamily="18" charset="0"/>
                <a:ea typeface="Times New Roman" panose="02020603050405020304" pitchFamily="18" charset="0"/>
              </a:rPr>
              <a:t>0”.</a:t>
            </a:r>
            <a:endParaRPr lang="en-IN" sz="3600" dirty="0">
              <a:effectLst/>
              <a:latin typeface="Times New Roman" panose="02020603050405020304" pitchFamily="18" charset="0"/>
              <a:ea typeface="Times New Roman" panose="02020603050405020304" pitchFamily="18" charset="0"/>
            </a:endParaRPr>
          </a:p>
          <a:p>
            <a:pPr marL="342900" marR="373380" lvl="0" indent="-342900" algn="just">
              <a:lnSpc>
                <a:spcPct val="103000"/>
              </a:lnSpc>
              <a:spcBef>
                <a:spcPts val="825"/>
              </a:spcBef>
              <a:spcAft>
                <a:spcPts val="0"/>
              </a:spcAft>
              <a:buFont typeface="Arial" panose="020B0604020202020204" pitchFamily="34" charset="0"/>
              <a:buChar char="•"/>
              <a:tabLst>
                <a:tab pos="868045" algn="l"/>
              </a:tabLst>
            </a:pPr>
            <a:r>
              <a:rPr lang="en-US" sz="3600" dirty="0">
                <a:effectLst/>
                <a:latin typeface="Times New Roman" panose="02020603050405020304" pitchFamily="18" charset="0"/>
                <a:ea typeface="Times New Roman" panose="02020603050405020304" pitchFamily="18" charset="0"/>
              </a:rPr>
              <a:t>When S is the sample space of an experiment;</a:t>
            </a:r>
            <a:r>
              <a:rPr lang="en-US" sz="3600" spc="5" dirty="0">
                <a:effectLst/>
                <a:latin typeface="Times New Roman" panose="02020603050405020304" pitchFamily="18" charset="0"/>
                <a:ea typeface="Times New Roman" panose="02020603050405020304" pitchFamily="18" charset="0"/>
              </a:rPr>
              <a:t> </a:t>
            </a:r>
            <a:r>
              <a:rPr lang="en-US" sz="3600" dirty="0">
                <a:effectLst/>
                <a:latin typeface="Times New Roman" panose="02020603050405020304" pitchFamily="18" charset="0"/>
                <a:ea typeface="Times New Roman" panose="02020603050405020304" pitchFamily="18" charset="0"/>
              </a:rPr>
              <a:t>i.e.,</a:t>
            </a:r>
            <a:r>
              <a:rPr lang="en-US" sz="3600" spc="-10" dirty="0">
                <a:effectLst/>
                <a:latin typeface="Times New Roman" panose="02020603050405020304" pitchFamily="18" charset="0"/>
                <a:ea typeface="Times New Roman" panose="02020603050405020304" pitchFamily="18" charset="0"/>
              </a:rPr>
              <a:t> </a:t>
            </a:r>
            <a:r>
              <a:rPr lang="en-US" sz="3600" dirty="0">
                <a:effectLst/>
                <a:latin typeface="Times New Roman" panose="02020603050405020304" pitchFamily="18" charset="0"/>
                <a:ea typeface="Times New Roman" panose="02020603050405020304" pitchFamily="18" charset="0"/>
              </a:rPr>
              <a:t>the</a:t>
            </a:r>
            <a:r>
              <a:rPr lang="en-US" sz="3600" spc="-35" dirty="0">
                <a:effectLst/>
                <a:latin typeface="Times New Roman" panose="02020603050405020304" pitchFamily="18" charset="0"/>
                <a:ea typeface="Times New Roman" panose="02020603050405020304" pitchFamily="18" charset="0"/>
              </a:rPr>
              <a:t> </a:t>
            </a:r>
            <a:r>
              <a:rPr lang="en-US" sz="3600" dirty="0">
                <a:effectLst/>
                <a:latin typeface="Times New Roman" panose="02020603050405020304" pitchFamily="18" charset="0"/>
                <a:ea typeface="Times New Roman" panose="02020603050405020304" pitchFamily="18" charset="0"/>
              </a:rPr>
              <a:t>set</a:t>
            </a:r>
            <a:r>
              <a:rPr lang="en-US" sz="3600" spc="5" dirty="0">
                <a:effectLst/>
                <a:latin typeface="Times New Roman" panose="02020603050405020304" pitchFamily="18" charset="0"/>
                <a:ea typeface="Times New Roman" panose="02020603050405020304" pitchFamily="18" charset="0"/>
              </a:rPr>
              <a:t> </a:t>
            </a:r>
            <a:r>
              <a:rPr lang="en-US" sz="3600" dirty="0">
                <a:effectLst/>
                <a:latin typeface="Times New Roman" panose="02020603050405020304" pitchFamily="18" charset="0"/>
                <a:ea typeface="Times New Roman" panose="02020603050405020304" pitchFamily="18" charset="0"/>
              </a:rPr>
              <a:t>of</a:t>
            </a:r>
            <a:r>
              <a:rPr lang="en-US" sz="3600" spc="-30" dirty="0">
                <a:effectLst/>
                <a:latin typeface="Times New Roman" panose="02020603050405020304" pitchFamily="18" charset="0"/>
                <a:ea typeface="Times New Roman" panose="02020603050405020304" pitchFamily="18" charset="0"/>
              </a:rPr>
              <a:t> </a:t>
            </a:r>
            <a:r>
              <a:rPr lang="en-US" sz="3600" dirty="0">
                <a:effectLst/>
                <a:latin typeface="Times New Roman" panose="02020603050405020304" pitchFamily="18" charset="0"/>
                <a:ea typeface="Times New Roman" panose="02020603050405020304" pitchFamily="18" charset="0"/>
              </a:rPr>
              <a:t>all</a:t>
            </a:r>
            <a:r>
              <a:rPr lang="en-US" sz="3600" spc="-20" dirty="0">
                <a:effectLst/>
                <a:latin typeface="Times New Roman" panose="02020603050405020304" pitchFamily="18" charset="0"/>
                <a:ea typeface="Times New Roman" panose="02020603050405020304" pitchFamily="18" charset="0"/>
              </a:rPr>
              <a:t> </a:t>
            </a:r>
            <a:r>
              <a:rPr lang="en-US" sz="3600" dirty="0">
                <a:effectLst/>
                <a:latin typeface="Times New Roman" panose="02020603050405020304" pitchFamily="18" charset="0"/>
                <a:ea typeface="Times New Roman" panose="02020603050405020304" pitchFamily="18" charset="0"/>
              </a:rPr>
              <a:t>possible</a:t>
            </a:r>
            <a:r>
              <a:rPr lang="en-US" sz="3600" spc="20" dirty="0">
                <a:effectLst/>
                <a:latin typeface="Times New Roman" panose="02020603050405020304" pitchFamily="18" charset="0"/>
                <a:ea typeface="Times New Roman" panose="02020603050405020304" pitchFamily="18" charset="0"/>
              </a:rPr>
              <a:t> </a:t>
            </a:r>
            <a:r>
              <a:rPr lang="en-US" sz="3600" dirty="0">
                <a:effectLst/>
                <a:latin typeface="Times New Roman" panose="02020603050405020304" pitchFamily="18" charset="0"/>
                <a:ea typeface="Times New Roman" panose="02020603050405020304" pitchFamily="18" charset="0"/>
              </a:rPr>
              <a:t>outcomes,</a:t>
            </a:r>
            <a:r>
              <a:rPr lang="en-US" sz="3600" spc="35" dirty="0">
                <a:effectLst/>
                <a:latin typeface="Times New Roman" panose="02020603050405020304" pitchFamily="18" charset="0"/>
                <a:ea typeface="Times New Roman" panose="02020603050405020304" pitchFamily="18" charset="0"/>
              </a:rPr>
              <a:t> </a:t>
            </a:r>
            <a:r>
              <a:rPr lang="en-US" sz="3600" dirty="0">
                <a:effectLst/>
                <a:latin typeface="Times New Roman" panose="02020603050405020304" pitchFamily="18" charset="0"/>
                <a:ea typeface="Times New Roman" panose="02020603050405020304" pitchFamily="18" charset="0"/>
              </a:rPr>
              <a:t>P(S)</a:t>
            </a:r>
            <a:r>
              <a:rPr lang="en-US" sz="3600" spc="-35" dirty="0">
                <a:effectLst/>
                <a:latin typeface="Times New Roman" panose="02020603050405020304" pitchFamily="18" charset="0"/>
                <a:ea typeface="Times New Roman" panose="02020603050405020304" pitchFamily="18" charset="0"/>
              </a:rPr>
              <a:t> </a:t>
            </a:r>
            <a:r>
              <a:rPr lang="en-US" sz="3600" dirty="0">
                <a:effectLst/>
                <a:latin typeface="Times New Roman" panose="02020603050405020304" pitchFamily="18" charset="0"/>
                <a:ea typeface="Times New Roman" panose="02020603050405020304" pitchFamily="18" charset="0"/>
              </a:rPr>
              <a:t>=</a:t>
            </a:r>
            <a:r>
              <a:rPr lang="en-US" sz="3600" spc="-20" dirty="0">
                <a:effectLst/>
                <a:latin typeface="Times New Roman" panose="02020603050405020304" pitchFamily="18" charset="0"/>
                <a:ea typeface="Times New Roman" panose="02020603050405020304" pitchFamily="18" charset="0"/>
              </a:rPr>
              <a:t> </a:t>
            </a:r>
            <a:r>
              <a:rPr lang="en-US" sz="3600" dirty="0">
                <a:effectLst/>
                <a:latin typeface="Times New Roman" panose="02020603050405020304" pitchFamily="18" charset="0"/>
                <a:ea typeface="Times New Roman" panose="02020603050405020304" pitchFamily="18" charset="0"/>
              </a:rPr>
              <a:t>1.</a:t>
            </a:r>
            <a:endParaRPr lang="en-IN" sz="3600" dirty="0">
              <a:effectLst/>
              <a:latin typeface="Times New Roman" panose="02020603050405020304" pitchFamily="18" charset="0"/>
              <a:ea typeface="Times New Roman" panose="02020603050405020304" pitchFamily="18" charset="0"/>
            </a:endParaRPr>
          </a:p>
          <a:p>
            <a:pPr marL="342900" marR="374015" lvl="0" indent="-342900" algn="just">
              <a:lnSpc>
                <a:spcPct val="102000"/>
              </a:lnSpc>
              <a:spcBef>
                <a:spcPts val="830"/>
              </a:spcBef>
              <a:spcAft>
                <a:spcPts val="0"/>
              </a:spcAft>
              <a:buFont typeface="Arial" panose="020B0604020202020204" pitchFamily="34" charset="0"/>
              <a:buChar char="•"/>
              <a:tabLst>
                <a:tab pos="868045" algn="l"/>
              </a:tabLst>
            </a:pPr>
            <a:r>
              <a:rPr lang="en-US" sz="3600" dirty="0">
                <a:effectLst/>
                <a:latin typeface="Times New Roman" panose="02020603050405020304" pitchFamily="18" charset="0"/>
                <a:ea typeface="Times New Roman" panose="02020603050405020304" pitchFamily="18" charset="0"/>
              </a:rPr>
              <a:t>If A and B are mutually exclusive outcomes,</a:t>
            </a:r>
            <a:r>
              <a:rPr lang="en-US" sz="3600" spc="5" dirty="0">
                <a:effectLst/>
                <a:latin typeface="Times New Roman" panose="02020603050405020304" pitchFamily="18" charset="0"/>
                <a:ea typeface="Times New Roman" panose="02020603050405020304" pitchFamily="18" charset="0"/>
              </a:rPr>
              <a:t> </a:t>
            </a:r>
            <a:r>
              <a:rPr lang="en-US" sz="3600" dirty="0">
                <a:effectLst/>
                <a:latin typeface="Times New Roman" panose="02020603050405020304" pitchFamily="18" charset="0"/>
                <a:ea typeface="Times New Roman" panose="02020603050405020304" pitchFamily="18" charset="0"/>
              </a:rPr>
              <a:t>P(A</a:t>
            </a:r>
            <a:r>
              <a:rPr lang="en-US" sz="3600" spc="-295" dirty="0">
                <a:effectLst/>
                <a:latin typeface="Times New Roman" panose="02020603050405020304" pitchFamily="18" charset="0"/>
                <a:ea typeface="Times New Roman" panose="02020603050405020304" pitchFamily="18" charset="0"/>
              </a:rPr>
              <a:t> </a:t>
            </a:r>
            <a:r>
              <a:rPr lang="en-US" sz="3600" dirty="0">
                <a:effectLst/>
                <a:latin typeface="Cambria Math" panose="02040503050406030204" pitchFamily="18" charset="0"/>
                <a:ea typeface="Cambria Math" panose="02040503050406030204" pitchFamily="18" charset="0"/>
              </a:rPr>
              <a:t>𝖴</a:t>
            </a:r>
            <a:r>
              <a:rPr lang="en-US" sz="3600" spc="310" dirty="0">
                <a:effectLst/>
                <a:latin typeface="Times New Roman" panose="02020603050405020304" pitchFamily="18" charset="0"/>
                <a:ea typeface="Cambria Math" panose="02040503050406030204" pitchFamily="18" charset="0"/>
              </a:rPr>
              <a:t> </a:t>
            </a:r>
            <a:r>
              <a:rPr lang="en-US" sz="3600" dirty="0">
                <a:effectLst/>
                <a:latin typeface="Times New Roman" panose="02020603050405020304" pitchFamily="18" charset="0"/>
                <a:ea typeface="Times New Roman" panose="02020603050405020304" pitchFamily="18" charset="0"/>
              </a:rPr>
              <a:t>B</a:t>
            </a:r>
            <a:r>
              <a:rPr lang="en-US" sz="3600" spc="65" dirty="0">
                <a:effectLst/>
                <a:latin typeface="Times New Roman" panose="02020603050405020304" pitchFamily="18" charset="0"/>
                <a:ea typeface="Times New Roman" panose="02020603050405020304" pitchFamily="18" charset="0"/>
              </a:rPr>
              <a:t> </a:t>
            </a:r>
            <a:r>
              <a:rPr lang="en-US" sz="3600" dirty="0">
                <a:effectLst/>
                <a:latin typeface="Times New Roman" panose="02020603050405020304" pitchFamily="18" charset="0"/>
                <a:ea typeface="Times New Roman" panose="02020603050405020304" pitchFamily="18" charset="0"/>
              </a:rPr>
              <a:t>)</a:t>
            </a:r>
            <a:r>
              <a:rPr lang="en-US" sz="3600" spc="55" dirty="0">
                <a:effectLst/>
                <a:latin typeface="Times New Roman" panose="02020603050405020304" pitchFamily="18" charset="0"/>
                <a:ea typeface="Times New Roman" panose="02020603050405020304" pitchFamily="18" charset="0"/>
              </a:rPr>
              <a:t> </a:t>
            </a:r>
            <a:r>
              <a:rPr lang="en-US" sz="3600" dirty="0">
                <a:effectLst/>
                <a:latin typeface="Times New Roman" panose="02020603050405020304" pitchFamily="18" charset="0"/>
                <a:ea typeface="Times New Roman" panose="02020603050405020304" pitchFamily="18" charset="0"/>
              </a:rPr>
              <a:t>=</a:t>
            </a:r>
            <a:r>
              <a:rPr lang="en-US" sz="3600" spc="60" dirty="0">
                <a:effectLst/>
                <a:latin typeface="Times New Roman" panose="02020603050405020304" pitchFamily="18" charset="0"/>
                <a:ea typeface="Times New Roman" panose="02020603050405020304" pitchFamily="18" charset="0"/>
              </a:rPr>
              <a:t> </a:t>
            </a:r>
            <a:r>
              <a:rPr lang="en-US" sz="3600" dirty="0">
                <a:effectLst/>
                <a:latin typeface="Times New Roman" panose="02020603050405020304" pitchFamily="18" charset="0"/>
                <a:ea typeface="Times New Roman" panose="02020603050405020304" pitchFamily="18" charset="0"/>
              </a:rPr>
              <a:t>P(A)</a:t>
            </a:r>
            <a:r>
              <a:rPr lang="en-US" sz="3600" spc="50" dirty="0">
                <a:effectLst/>
                <a:latin typeface="Times New Roman" panose="02020603050405020304" pitchFamily="18" charset="0"/>
                <a:ea typeface="Times New Roman" panose="02020603050405020304" pitchFamily="18" charset="0"/>
              </a:rPr>
              <a:t> </a:t>
            </a:r>
            <a:r>
              <a:rPr lang="en-US" sz="3600" dirty="0">
                <a:effectLst/>
                <a:latin typeface="Times New Roman" panose="02020603050405020304" pitchFamily="18" charset="0"/>
                <a:ea typeface="Times New Roman" panose="02020603050405020304" pitchFamily="18" charset="0"/>
              </a:rPr>
              <a:t>+</a:t>
            </a:r>
            <a:r>
              <a:rPr lang="en-US" sz="3600" spc="60" dirty="0">
                <a:effectLst/>
                <a:latin typeface="Times New Roman" panose="02020603050405020304" pitchFamily="18" charset="0"/>
                <a:ea typeface="Times New Roman" panose="02020603050405020304" pitchFamily="18" charset="0"/>
              </a:rPr>
              <a:t> </a:t>
            </a:r>
            <a:r>
              <a:rPr lang="en-US" sz="3600" dirty="0">
                <a:effectLst/>
                <a:latin typeface="Times New Roman" panose="02020603050405020304" pitchFamily="18" charset="0"/>
                <a:ea typeface="Times New Roman" panose="02020603050405020304" pitchFamily="18" charset="0"/>
              </a:rPr>
              <a:t>P(B).</a:t>
            </a:r>
            <a:endParaRPr lang="en-IN" sz="3600" dirty="0">
              <a:effectLst/>
              <a:latin typeface="Times New Roman" panose="02020603050405020304" pitchFamily="18" charset="0"/>
              <a:ea typeface="Times New Roman" panose="02020603050405020304" pitchFamily="18" charset="0"/>
            </a:endParaRPr>
          </a:p>
          <a:p>
            <a:pPr marL="0" indent="0">
              <a:buNone/>
            </a:pPr>
            <a:endParaRPr lang="en-US" sz="3600" dirty="0"/>
          </a:p>
          <a:p>
            <a:pPr marL="0" indent="0">
              <a:buNone/>
            </a:pPr>
            <a:endParaRPr lang="en-US" dirty="0"/>
          </a:p>
        </p:txBody>
      </p:sp>
    </p:spTree>
    <p:extLst>
      <p:ext uri="{BB962C8B-B14F-4D97-AF65-F5344CB8AC3E}">
        <p14:creationId xmlns:p14="http://schemas.microsoft.com/office/powerpoint/2010/main" val="30757498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6F897BF-9723-642B-ED21-B504C8DA33E9}"/>
              </a:ext>
            </a:extLst>
          </p:cNvPr>
          <p:cNvSpPr>
            <a:spLocks noGrp="1"/>
          </p:cNvSpPr>
          <p:nvPr>
            <p:ph idx="1"/>
          </p:nvPr>
        </p:nvSpPr>
        <p:spPr>
          <a:xfrm>
            <a:off x="385763" y="314325"/>
            <a:ext cx="11301412" cy="5862638"/>
          </a:xfrm>
        </p:spPr>
        <p:txBody>
          <a:bodyPr/>
          <a:lstStyle/>
          <a:p>
            <a:pPr marL="2490470" algn="just">
              <a:spcBef>
                <a:spcPts val="270"/>
              </a:spcBef>
            </a:pPr>
            <a:r>
              <a:rPr lang="en-US" b="1" dirty="0">
                <a:solidFill>
                  <a:srgbClr val="FF0000"/>
                </a:solidFill>
                <a:effectLst/>
                <a:latin typeface="Times New Roman" panose="02020603050405020304" pitchFamily="18" charset="0"/>
                <a:ea typeface="Times New Roman" panose="02020603050405020304" pitchFamily="18" charset="0"/>
                <a:cs typeface="Times New Roman" panose="02020603050405020304" pitchFamily="18" charset="0"/>
              </a:rPr>
              <a:t>Conditional</a:t>
            </a:r>
            <a:r>
              <a:rPr lang="en-US" b="1" spc="-150" dirty="0">
                <a:solidFill>
                  <a:srgbClr val="FF0000"/>
                </a:solidFill>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b="1" dirty="0">
                <a:solidFill>
                  <a:srgbClr val="FF0000"/>
                </a:solidFill>
                <a:effectLst/>
                <a:latin typeface="Times New Roman" panose="02020603050405020304" pitchFamily="18" charset="0"/>
                <a:ea typeface="Times New Roman" panose="02020603050405020304" pitchFamily="18" charset="0"/>
                <a:cs typeface="Times New Roman" panose="02020603050405020304" pitchFamily="18" charset="0"/>
              </a:rPr>
              <a:t>Probability</a:t>
            </a:r>
            <a:endParaRPr lang="en-IN" b="1" dirty="0">
              <a:effectLst/>
              <a:latin typeface="Times New Roman" panose="02020603050405020304" pitchFamily="18" charset="0"/>
              <a:ea typeface="Times New Roman" panose="02020603050405020304" pitchFamily="18" charset="0"/>
              <a:cs typeface="Times New Roman" panose="02020603050405020304" pitchFamily="18" charset="0"/>
            </a:endParaRPr>
          </a:p>
          <a:p>
            <a:pPr marL="342900" marR="366395" lvl="0" indent="-342900" algn="just">
              <a:lnSpc>
                <a:spcPct val="103000"/>
              </a:lnSpc>
              <a:spcBef>
                <a:spcPts val="830"/>
              </a:spcBef>
              <a:spcAft>
                <a:spcPts val="0"/>
              </a:spcAft>
              <a:buFont typeface="Arial" panose="020B0604020202020204" pitchFamily="34" charset="0"/>
              <a:buChar char="•"/>
              <a:tabLst>
                <a:tab pos="868045" algn="l"/>
              </a:tabLst>
            </a:pPr>
            <a:r>
              <a:rPr lang="en-US" sz="2400" dirty="0">
                <a:effectLst/>
                <a:latin typeface="Times New Roman" panose="02020603050405020304" pitchFamily="18" charset="0"/>
                <a:ea typeface="Times New Roman" panose="02020603050405020304" pitchFamily="18" charset="0"/>
                <a:cs typeface="Times New Roman" panose="02020603050405020304" pitchFamily="18" charset="0"/>
              </a:rPr>
              <a:t>Conditional probability is a probability of occurring</a:t>
            </a:r>
            <a:r>
              <a:rPr lang="en-US" sz="2400" spc="5"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2400" dirty="0">
                <a:effectLst/>
                <a:latin typeface="Times New Roman" panose="02020603050405020304" pitchFamily="18" charset="0"/>
                <a:ea typeface="Times New Roman" panose="02020603050405020304" pitchFamily="18" charset="0"/>
                <a:cs typeface="Times New Roman" panose="02020603050405020304" pitchFamily="18" charset="0"/>
              </a:rPr>
              <a:t>an</a:t>
            </a:r>
            <a:r>
              <a:rPr lang="en-US" sz="2400" spc="-25"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2400" dirty="0">
                <a:effectLst/>
                <a:latin typeface="Times New Roman" panose="02020603050405020304" pitchFamily="18" charset="0"/>
                <a:ea typeface="Times New Roman" panose="02020603050405020304" pitchFamily="18" charset="0"/>
                <a:cs typeface="Times New Roman" panose="02020603050405020304" pitchFamily="18" charset="0"/>
              </a:rPr>
              <a:t>event</a:t>
            </a:r>
            <a:r>
              <a:rPr lang="en-US" sz="2400" spc="-6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2400" dirty="0">
                <a:effectLst/>
                <a:latin typeface="Times New Roman" panose="02020603050405020304" pitchFamily="18" charset="0"/>
                <a:ea typeface="Times New Roman" panose="02020603050405020304" pitchFamily="18" charset="0"/>
                <a:cs typeface="Times New Roman" panose="02020603050405020304" pitchFamily="18" charset="0"/>
              </a:rPr>
              <a:t>when</a:t>
            </a:r>
            <a:r>
              <a:rPr lang="en-US" sz="2400" spc="-2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2400" dirty="0">
                <a:effectLst/>
                <a:latin typeface="Times New Roman" panose="02020603050405020304" pitchFamily="18" charset="0"/>
                <a:ea typeface="Times New Roman" panose="02020603050405020304" pitchFamily="18" charset="0"/>
                <a:cs typeface="Times New Roman" panose="02020603050405020304" pitchFamily="18" charset="0"/>
              </a:rPr>
              <a:t>another</a:t>
            </a:r>
            <a:r>
              <a:rPr lang="en-US" sz="2400" spc="-9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2400" dirty="0">
                <a:effectLst/>
                <a:latin typeface="Times New Roman" panose="02020603050405020304" pitchFamily="18" charset="0"/>
                <a:ea typeface="Times New Roman" panose="02020603050405020304" pitchFamily="18" charset="0"/>
                <a:cs typeface="Times New Roman" panose="02020603050405020304" pitchFamily="18" charset="0"/>
              </a:rPr>
              <a:t>event</a:t>
            </a:r>
            <a:r>
              <a:rPr lang="en-US" sz="2400" spc="-65"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2400" dirty="0">
                <a:effectLst/>
                <a:latin typeface="Times New Roman" panose="02020603050405020304" pitchFamily="18" charset="0"/>
                <a:ea typeface="Times New Roman" panose="02020603050405020304" pitchFamily="18" charset="0"/>
                <a:cs typeface="Times New Roman" panose="02020603050405020304" pitchFamily="18" charset="0"/>
              </a:rPr>
              <a:t>has</a:t>
            </a:r>
            <a:r>
              <a:rPr lang="en-US" sz="2400" spc="-4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2400" dirty="0">
                <a:effectLst/>
                <a:latin typeface="Times New Roman" panose="02020603050405020304" pitchFamily="18" charset="0"/>
                <a:ea typeface="Times New Roman" panose="02020603050405020304" pitchFamily="18" charset="0"/>
                <a:cs typeface="Times New Roman" panose="02020603050405020304" pitchFamily="18" charset="0"/>
              </a:rPr>
              <a:t>already</a:t>
            </a:r>
            <a:r>
              <a:rPr lang="en-US" sz="2400" spc="-6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2400" dirty="0">
                <a:effectLst/>
                <a:latin typeface="Times New Roman" panose="02020603050405020304" pitchFamily="18" charset="0"/>
                <a:ea typeface="Times New Roman" panose="02020603050405020304" pitchFamily="18" charset="0"/>
                <a:cs typeface="Times New Roman" panose="02020603050405020304" pitchFamily="18" charset="0"/>
              </a:rPr>
              <a:t>happened.</a:t>
            </a:r>
            <a:endParaRPr lang="en-IN" sz="240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marL="342900" marR="328930" lvl="0" indent="-342900" algn="just">
              <a:lnSpc>
                <a:spcPct val="103000"/>
              </a:lnSpc>
              <a:spcBef>
                <a:spcPts val="710"/>
              </a:spcBef>
              <a:spcAft>
                <a:spcPts val="0"/>
              </a:spcAft>
              <a:buFont typeface="Arial" panose="020B0604020202020204" pitchFamily="34" charset="0"/>
              <a:buChar char="•"/>
              <a:tabLst>
                <a:tab pos="868045" algn="l"/>
              </a:tabLst>
            </a:pPr>
            <a:r>
              <a:rPr lang="en-US" sz="2400" dirty="0">
                <a:effectLst/>
                <a:latin typeface="Times New Roman" panose="02020603050405020304" pitchFamily="18" charset="0"/>
                <a:ea typeface="Times New Roman" panose="02020603050405020304" pitchFamily="18" charset="0"/>
                <a:cs typeface="Times New Roman" panose="02020603050405020304" pitchFamily="18" charset="0"/>
              </a:rPr>
              <a:t>Let's suppose, we want to calculate the event A when</a:t>
            </a:r>
            <a:r>
              <a:rPr lang="en-US" sz="2400" spc="5"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2400" dirty="0">
                <a:effectLst/>
                <a:latin typeface="Times New Roman" panose="02020603050405020304" pitchFamily="18" charset="0"/>
                <a:ea typeface="Times New Roman" panose="02020603050405020304" pitchFamily="18" charset="0"/>
                <a:cs typeface="Times New Roman" panose="02020603050405020304" pitchFamily="18" charset="0"/>
              </a:rPr>
              <a:t>event B has already occurred, "the probability of A</a:t>
            </a:r>
            <a:r>
              <a:rPr lang="en-US" sz="2400" spc="5"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2400" dirty="0">
                <a:effectLst/>
                <a:latin typeface="Times New Roman" panose="02020603050405020304" pitchFamily="18" charset="0"/>
                <a:ea typeface="Times New Roman" panose="02020603050405020304" pitchFamily="18" charset="0"/>
                <a:cs typeface="Times New Roman" panose="02020603050405020304" pitchFamily="18" charset="0"/>
              </a:rPr>
              <a:t>under</a:t>
            </a:r>
            <a:r>
              <a:rPr lang="en-US" sz="2400" spc="-65"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2400" dirty="0">
                <a:effectLst/>
                <a:latin typeface="Times New Roman" panose="02020603050405020304" pitchFamily="18" charset="0"/>
                <a:ea typeface="Times New Roman" panose="02020603050405020304" pitchFamily="18" charset="0"/>
                <a:cs typeface="Times New Roman" panose="02020603050405020304" pitchFamily="18" charset="0"/>
              </a:rPr>
              <a:t>the</a:t>
            </a:r>
            <a:r>
              <a:rPr lang="en-US" sz="2400" spc="-7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2400" dirty="0">
                <a:effectLst/>
                <a:latin typeface="Times New Roman" panose="02020603050405020304" pitchFamily="18" charset="0"/>
                <a:ea typeface="Times New Roman" panose="02020603050405020304" pitchFamily="18" charset="0"/>
                <a:cs typeface="Times New Roman" panose="02020603050405020304" pitchFamily="18" charset="0"/>
              </a:rPr>
              <a:t>conditions</a:t>
            </a:r>
            <a:r>
              <a:rPr lang="en-US" sz="2400" spc="-11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2400" dirty="0">
                <a:effectLst/>
                <a:latin typeface="Times New Roman" panose="02020603050405020304" pitchFamily="18" charset="0"/>
                <a:ea typeface="Times New Roman" panose="02020603050405020304" pitchFamily="18" charset="0"/>
                <a:cs typeface="Times New Roman" panose="02020603050405020304" pitchFamily="18" charset="0"/>
              </a:rPr>
              <a:t>of</a:t>
            </a:r>
            <a:r>
              <a:rPr lang="en-US" sz="2400" spc="-15"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2400" dirty="0">
                <a:effectLst/>
                <a:latin typeface="Times New Roman" panose="02020603050405020304" pitchFamily="18" charset="0"/>
                <a:ea typeface="Times New Roman" panose="02020603050405020304" pitchFamily="18" charset="0"/>
                <a:cs typeface="Times New Roman" panose="02020603050405020304" pitchFamily="18" charset="0"/>
              </a:rPr>
              <a:t>B",</a:t>
            </a:r>
            <a:r>
              <a:rPr lang="en-US" sz="2400" spc="-2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2400" dirty="0">
                <a:effectLst/>
                <a:latin typeface="Times New Roman" panose="02020603050405020304" pitchFamily="18" charset="0"/>
                <a:ea typeface="Times New Roman" panose="02020603050405020304" pitchFamily="18" charset="0"/>
                <a:cs typeface="Times New Roman" panose="02020603050405020304" pitchFamily="18" charset="0"/>
              </a:rPr>
              <a:t>it</a:t>
            </a:r>
            <a:r>
              <a:rPr lang="en-US" sz="2400" spc="-55"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2400" dirty="0">
                <a:effectLst/>
                <a:latin typeface="Times New Roman" panose="02020603050405020304" pitchFamily="18" charset="0"/>
                <a:ea typeface="Times New Roman" panose="02020603050405020304" pitchFamily="18" charset="0"/>
                <a:cs typeface="Times New Roman" panose="02020603050405020304" pitchFamily="18" charset="0"/>
              </a:rPr>
              <a:t>can</a:t>
            </a:r>
            <a:r>
              <a:rPr lang="en-US" sz="2400" spc="-25"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2400" dirty="0">
                <a:effectLst/>
                <a:latin typeface="Times New Roman" panose="02020603050405020304" pitchFamily="18" charset="0"/>
                <a:ea typeface="Times New Roman" panose="02020603050405020304" pitchFamily="18" charset="0"/>
                <a:cs typeface="Times New Roman" panose="02020603050405020304" pitchFamily="18" charset="0"/>
              </a:rPr>
              <a:t>be</a:t>
            </a:r>
            <a:r>
              <a:rPr lang="en-US" sz="2400" spc="-45"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2400" dirty="0">
                <a:effectLst/>
                <a:latin typeface="Times New Roman" panose="02020603050405020304" pitchFamily="18" charset="0"/>
                <a:ea typeface="Times New Roman" panose="02020603050405020304" pitchFamily="18" charset="0"/>
                <a:cs typeface="Times New Roman" panose="02020603050405020304" pitchFamily="18" charset="0"/>
              </a:rPr>
              <a:t>written</a:t>
            </a:r>
            <a:r>
              <a:rPr lang="en-US" sz="2400" spc="-95"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2400" dirty="0">
                <a:effectLst/>
                <a:latin typeface="Times New Roman" panose="02020603050405020304" pitchFamily="18" charset="0"/>
                <a:ea typeface="Times New Roman" panose="02020603050405020304" pitchFamily="18" charset="0"/>
                <a:cs typeface="Times New Roman" panose="02020603050405020304" pitchFamily="18" charset="0"/>
              </a:rPr>
              <a:t>as:</a:t>
            </a:r>
            <a:endParaRPr lang="en-IN" sz="240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marL="0" indent="0">
              <a:buNone/>
            </a:pPr>
            <a:endParaRPr lang="en-US" sz="2400" dirty="0">
              <a:latin typeface="Times New Roman" panose="02020603050405020304" pitchFamily="18" charset="0"/>
              <a:cs typeface="Times New Roman" panose="02020603050405020304" pitchFamily="18" charset="0"/>
            </a:endParaRPr>
          </a:p>
          <a:p>
            <a:pPr marL="0" indent="0">
              <a:buNone/>
            </a:pPr>
            <a:endParaRPr lang="en-US" dirty="0">
              <a:latin typeface="Times New Roman" panose="02020603050405020304" pitchFamily="18" charset="0"/>
              <a:cs typeface="Times New Roman" panose="02020603050405020304" pitchFamily="18" charset="0"/>
            </a:endParaRPr>
          </a:p>
          <a:p>
            <a:pPr marL="0" indent="0">
              <a:buNone/>
            </a:pPr>
            <a:endParaRPr lang="en-US" dirty="0">
              <a:latin typeface="Times New Roman" panose="02020603050405020304" pitchFamily="18" charset="0"/>
              <a:cs typeface="Times New Roman" panose="02020603050405020304" pitchFamily="18" charset="0"/>
            </a:endParaRPr>
          </a:p>
          <a:p>
            <a:pPr marL="1056640" marR="1563370">
              <a:lnSpc>
                <a:spcPct val="103000"/>
              </a:lnSpc>
              <a:spcBef>
                <a:spcPts val="345"/>
              </a:spcBef>
              <a:spcAft>
                <a:spcPts val="0"/>
              </a:spcAft>
            </a:pPr>
            <a:r>
              <a:rPr lang="en-US" dirty="0">
                <a:effectLst/>
                <a:latin typeface="Times New Roman" panose="02020603050405020304" pitchFamily="18" charset="0"/>
                <a:ea typeface="Times New Roman" panose="02020603050405020304" pitchFamily="18" charset="0"/>
                <a:cs typeface="Times New Roman" panose="02020603050405020304" pitchFamily="18" charset="0"/>
              </a:rPr>
              <a:t>Where</a:t>
            </a:r>
            <a:r>
              <a:rPr lang="en-US" spc="1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cs typeface="Times New Roman" panose="02020603050405020304" pitchFamily="18" charset="0"/>
              </a:rPr>
              <a:t>P(</a:t>
            </a:r>
            <a:r>
              <a:rPr lang="en-US" i="1" dirty="0">
                <a:effectLst/>
                <a:latin typeface="Times New Roman" panose="02020603050405020304" pitchFamily="18" charset="0"/>
                <a:ea typeface="Times New Roman" panose="02020603050405020304" pitchFamily="18" charset="0"/>
                <a:cs typeface="Times New Roman" panose="02020603050405020304" pitchFamily="18" charset="0"/>
              </a:rPr>
              <a:t>A</a:t>
            </a:r>
            <a:r>
              <a:rPr lang="en-US" dirty="0">
                <a:effectLst/>
                <a:latin typeface="Times New Roman" panose="02020603050405020304" pitchFamily="18" charset="0"/>
                <a:ea typeface="Times New Roman" panose="02020603050405020304" pitchFamily="18" charset="0"/>
                <a:cs typeface="Times New Roman" panose="02020603050405020304" pitchFamily="18" charset="0"/>
              </a:rPr>
              <a:t>⋀</a:t>
            </a:r>
            <a:r>
              <a:rPr lang="en-US" i="1" dirty="0">
                <a:effectLst/>
                <a:latin typeface="Times New Roman" panose="02020603050405020304" pitchFamily="18" charset="0"/>
                <a:ea typeface="Times New Roman" panose="02020603050405020304" pitchFamily="18" charset="0"/>
                <a:cs typeface="Times New Roman" panose="02020603050405020304" pitchFamily="18" charset="0"/>
              </a:rPr>
              <a:t>B</a:t>
            </a:r>
            <a:r>
              <a:rPr lang="en-US" dirty="0">
                <a:effectLst/>
                <a:latin typeface="Times New Roman" panose="02020603050405020304" pitchFamily="18" charset="0"/>
                <a:ea typeface="Times New Roman" panose="02020603050405020304" pitchFamily="18" charset="0"/>
                <a:cs typeface="Times New Roman" panose="02020603050405020304" pitchFamily="18" charset="0"/>
              </a:rPr>
              <a:t>)=</a:t>
            </a:r>
            <a:r>
              <a:rPr lang="en-US" spc="-15"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cs typeface="Times New Roman" panose="02020603050405020304" pitchFamily="18" charset="0"/>
              </a:rPr>
              <a:t>Joint</a:t>
            </a:r>
            <a:r>
              <a:rPr lang="en-US" spc="-55"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cs typeface="Times New Roman" panose="02020603050405020304" pitchFamily="18" charset="0"/>
              </a:rPr>
              <a:t>probability</a:t>
            </a:r>
            <a:r>
              <a:rPr lang="en-US" spc="-15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cs typeface="Times New Roman" panose="02020603050405020304" pitchFamily="18" charset="0"/>
              </a:rPr>
              <a:t>of</a:t>
            </a:r>
            <a:r>
              <a:rPr lang="en-US" spc="-315"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cs typeface="Times New Roman" panose="02020603050405020304" pitchFamily="18" charset="0"/>
              </a:rPr>
              <a:t>A</a:t>
            </a:r>
            <a:r>
              <a:rPr lang="en-US" spc="-295"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cs typeface="Times New Roman" panose="02020603050405020304" pitchFamily="18" charset="0"/>
              </a:rPr>
              <a:t>and</a:t>
            </a:r>
            <a:r>
              <a:rPr lang="en-US" spc="-55"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cs typeface="Times New Roman" panose="02020603050405020304" pitchFamily="18" charset="0"/>
              </a:rPr>
              <a:t>B</a:t>
            </a:r>
            <a:r>
              <a:rPr lang="en-US" spc="-685" dirty="0">
                <a:effectLst/>
                <a:latin typeface="Times New Roman" panose="02020603050405020304" pitchFamily="18" charset="0"/>
                <a:ea typeface="Times New Roman" panose="02020603050405020304" pitchFamily="18" charset="0"/>
                <a:cs typeface="Times New Roman" panose="02020603050405020304" pitchFamily="18" charset="0"/>
              </a:rPr>
              <a:t> </a:t>
            </a:r>
            <a:endParaRPr lang="en-IN" dirty="0">
              <a:effectLst/>
              <a:latin typeface="Times New Roman" panose="02020603050405020304" pitchFamily="18" charset="0"/>
              <a:ea typeface="Times New Roman" panose="02020603050405020304" pitchFamily="18" charset="0"/>
              <a:cs typeface="Times New Roman" panose="02020603050405020304" pitchFamily="18" charset="0"/>
            </a:endParaRPr>
          </a:p>
          <a:p>
            <a:pPr marL="1056640" marR="1563370">
              <a:lnSpc>
                <a:spcPct val="103000"/>
              </a:lnSpc>
              <a:spcBef>
                <a:spcPts val="345"/>
              </a:spcBef>
              <a:spcAft>
                <a:spcPts val="0"/>
              </a:spcAft>
            </a:pPr>
            <a:r>
              <a:rPr lang="en-US" dirty="0">
                <a:effectLst/>
                <a:latin typeface="Times New Roman" panose="02020603050405020304" pitchFamily="18" charset="0"/>
                <a:ea typeface="Times New Roman" panose="02020603050405020304" pitchFamily="18" charset="0"/>
                <a:cs typeface="Times New Roman" panose="02020603050405020304" pitchFamily="18" charset="0"/>
              </a:rPr>
              <a:t>P(B)=</a:t>
            </a:r>
            <a:r>
              <a:rPr lang="en-US" spc="-1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cs typeface="Times New Roman" panose="02020603050405020304" pitchFamily="18" charset="0"/>
              </a:rPr>
              <a:t>Marginal</a:t>
            </a:r>
            <a:r>
              <a:rPr lang="en-US" spc="-155"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cs typeface="Times New Roman" panose="02020603050405020304" pitchFamily="18" charset="0"/>
              </a:rPr>
              <a:t>probability</a:t>
            </a:r>
            <a:r>
              <a:rPr lang="en-US" spc="-14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cs typeface="Times New Roman" panose="02020603050405020304" pitchFamily="18" charset="0"/>
              </a:rPr>
              <a:t>of</a:t>
            </a:r>
            <a:r>
              <a:rPr lang="en-US" spc="-5"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cs typeface="Times New Roman" panose="02020603050405020304" pitchFamily="18" charset="0"/>
              </a:rPr>
              <a:t>B.</a:t>
            </a:r>
            <a:endParaRPr lang="en-IN" dirty="0">
              <a:effectLst/>
              <a:latin typeface="Times New Roman" panose="02020603050405020304" pitchFamily="18" charset="0"/>
              <a:ea typeface="Times New Roman" panose="02020603050405020304" pitchFamily="18" charset="0"/>
              <a:cs typeface="Times New Roman" panose="02020603050405020304" pitchFamily="18" charset="0"/>
            </a:endParaRPr>
          </a:p>
          <a:p>
            <a:pPr marL="0" indent="0">
              <a:buNone/>
            </a:pPr>
            <a:endParaRPr lang="en-US" dirty="0">
              <a:latin typeface="Times New Roman" panose="02020603050405020304" pitchFamily="18" charset="0"/>
              <a:cs typeface="Times New Roman" panose="02020603050405020304" pitchFamily="18" charset="0"/>
            </a:endParaRPr>
          </a:p>
        </p:txBody>
      </p:sp>
      <p:pic>
        <p:nvPicPr>
          <p:cNvPr id="2" name="image70.png">
            <a:extLst>
              <a:ext uri="{FF2B5EF4-FFF2-40B4-BE49-F238E27FC236}">
                <a16:creationId xmlns:a16="http://schemas.microsoft.com/office/drawing/2014/main" id="{DBCC0AB3-1172-4C71-0C78-47BFA9B3F871}"/>
              </a:ext>
            </a:extLst>
          </p:cNvPr>
          <p:cNvPicPr>
            <a:picLocks noChangeAspect="1"/>
          </p:cNvPicPr>
          <p:nvPr/>
        </p:nvPicPr>
        <p:blipFill>
          <a:blip r:embed="rId2" cstate="print"/>
          <a:stretch>
            <a:fillRect/>
          </a:stretch>
        </p:blipFill>
        <p:spPr>
          <a:xfrm>
            <a:off x="3359308" y="2743200"/>
            <a:ext cx="4093677" cy="1022350"/>
          </a:xfrm>
          <a:prstGeom prst="rect">
            <a:avLst/>
          </a:prstGeom>
        </p:spPr>
      </p:pic>
    </p:spTree>
    <p:extLst>
      <p:ext uri="{BB962C8B-B14F-4D97-AF65-F5344CB8AC3E}">
        <p14:creationId xmlns:p14="http://schemas.microsoft.com/office/powerpoint/2010/main" val="1997746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1B9FE0-729E-4C85-E17C-6AED22C9E8A2}"/>
              </a:ext>
            </a:extLst>
          </p:cNvPr>
          <p:cNvSpPr>
            <a:spLocks noGrp="1"/>
          </p:cNvSpPr>
          <p:nvPr>
            <p:ph type="title"/>
          </p:nvPr>
        </p:nvSpPr>
        <p:spPr/>
        <p:txBody>
          <a:bodyPr>
            <a:normAutofit/>
          </a:bodyPr>
          <a:lstStyle/>
          <a:p>
            <a:r>
              <a:rPr lang="en-US" sz="3200" b="1" dirty="0">
                <a:effectLst/>
                <a:latin typeface="Times New Roman" panose="02020603050405020304" pitchFamily="18" charset="0"/>
                <a:ea typeface="Times New Roman" panose="02020603050405020304" pitchFamily="18" charset="0"/>
              </a:rPr>
              <a:t>INDEPENDENT</a:t>
            </a:r>
            <a:r>
              <a:rPr lang="en-US" sz="3200" b="1" spc="-55" dirty="0">
                <a:effectLst/>
                <a:latin typeface="Times New Roman" panose="02020603050405020304" pitchFamily="18" charset="0"/>
                <a:ea typeface="Times New Roman" panose="02020603050405020304" pitchFamily="18" charset="0"/>
              </a:rPr>
              <a:t> </a:t>
            </a:r>
            <a:r>
              <a:rPr lang="en-US" sz="3200" b="1" dirty="0">
                <a:effectLst/>
                <a:latin typeface="Times New Roman" panose="02020603050405020304" pitchFamily="18" charset="0"/>
                <a:ea typeface="Times New Roman" panose="02020603050405020304" pitchFamily="18" charset="0"/>
              </a:rPr>
              <a:t>EVENTS &amp; DEPENDENT EVENTS</a:t>
            </a:r>
            <a:br>
              <a:rPr lang="en-IN" sz="3200" b="1" dirty="0">
                <a:effectLst/>
                <a:latin typeface="Times New Roman" panose="02020603050405020304" pitchFamily="18" charset="0"/>
                <a:ea typeface="Times New Roman" panose="02020603050405020304" pitchFamily="18" charset="0"/>
              </a:rPr>
            </a:br>
            <a:endParaRPr lang="en-US" sz="3200" dirty="0"/>
          </a:p>
        </p:txBody>
      </p:sp>
      <p:sp>
        <p:nvSpPr>
          <p:cNvPr id="3" name="Content Placeholder 2">
            <a:extLst>
              <a:ext uri="{FF2B5EF4-FFF2-40B4-BE49-F238E27FC236}">
                <a16:creationId xmlns:a16="http://schemas.microsoft.com/office/drawing/2014/main" id="{FE76F3DD-E42C-C467-04D8-C88B9C9BC5C0}"/>
              </a:ext>
            </a:extLst>
          </p:cNvPr>
          <p:cNvSpPr>
            <a:spLocks noGrp="1"/>
          </p:cNvSpPr>
          <p:nvPr>
            <p:ph idx="1"/>
          </p:nvPr>
        </p:nvSpPr>
        <p:spPr/>
        <p:txBody>
          <a:bodyPr>
            <a:normAutofit/>
          </a:bodyPr>
          <a:lstStyle/>
          <a:p>
            <a:pPr marL="742950" marR="377825" lvl="1" indent="-285750">
              <a:lnSpc>
                <a:spcPct val="103000"/>
              </a:lnSpc>
              <a:spcBef>
                <a:spcPts val="940"/>
              </a:spcBef>
              <a:spcAft>
                <a:spcPts val="0"/>
              </a:spcAft>
              <a:buFont typeface="Arial" panose="020B0604020202020204" pitchFamily="34" charset="0"/>
              <a:buChar char="•"/>
              <a:tabLst>
                <a:tab pos="868045" algn="l"/>
              </a:tabLst>
            </a:pPr>
            <a:r>
              <a:rPr lang="en-US" sz="2800" dirty="0">
                <a:effectLst/>
                <a:latin typeface="Times New Roman" panose="02020603050405020304" pitchFamily="18" charset="0"/>
                <a:ea typeface="Times New Roman" panose="02020603050405020304" pitchFamily="18" charset="0"/>
                <a:cs typeface="Times New Roman" panose="02020603050405020304" pitchFamily="18" charset="0"/>
              </a:rPr>
              <a:t>Events</a:t>
            </a:r>
            <a:r>
              <a:rPr lang="en-US" sz="2800" spc="53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2800" dirty="0">
                <a:effectLst/>
                <a:latin typeface="Times New Roman" panose="02020603050405020304" pitchFamily="18" charset="0"/>
                <a:ea typeface="Times New Roman" panose="02020603050405020304" pitchFamily="18" charset="0"/>
                <a:cs typeface="Times New Roman" panose="02020603050405020304" pitchFamily="18" charset="0"/>
              </a:rPr>
              <a:t>can</a:t>
            </a:r>
            <a:r>
              <a:rPr lang="en-US" sz="2800" spc="54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2800" dirty="0">
                <a:effectLst/>
                <a:latin typeface="Times New Roman" panose="02020603050405020304" pitchFamily="18" charset="0"/>
                <a:ea typeface="Times New Roman" panose="02020603050405020304" pitchFamily="18" charset="0"/>
                <a:cs typeface="Times New Roman" panose="02020603050405020304" pitchFamily="18" charset="0"/>
              </a:rPr>
              <a:t>be</a:t>
            </a:r>
            <a:r>
              <a:rPr lang="en-US" sz="2800" spc="575"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2800" dirty="0">
                <a:effectLst/>
                <a:latin typeface="Times New Roman" panose="02020603050405020304" pitchFamily="18" charset="0"/>
                <a:ea typeface="Times New Roman" panose="02020603050405020304" pitchFamily="18" charset="0"/>
                <a:cs typeface="Times New Roman" panose="02020603050405020304" pitchFamily="18" charset="0"/>
              </a:rPr>
              <a:t>"</a:t>
            </a:r>
            <a:r>
              <a:rPr lang="en-US" sz="2800" b="1" u="heavy" dirty="0">
                <a:solidFill>
                  <a:srgbClr val="0000FF"/>
                </a:solidFill>
                <a:effectLst/>
                <a:uFill>
                  <a:solidFill>
                    <a:srgbClr val="0000FF"/>
                  </a:solidFill>
                </a:uFill>
                <a:latin typeface="Times New Roman" panose="02020603050405020304" pitchFamily="18" charset="0"/>
                <a:ea typeface="Times New Roman" panose="02020603050405020304" pitchFamily="18" charset="0"/>
                <a:cs typeface="Times New Roman" panose="02020603050405020304" pitchFamily="18" charset="0"/>
                <a:hlinkClick r:id="rId2"/>
              </a:rPr>
              <a:t>Independent</a:t>
            </a:r>
            <a:r>
              <a:rPr lang="en-US" sz="2800" dirty="0">
                <a:effectLst/>
                <a:latin typeface="Times New Roman" panose="02020603050405020304" pitchFamily="18" charset="0"/>
                <a:ea typeface="Times New Roman" panose="02020603050405020304" pitchFamily="18" charset="0"/>
                <a:cs typeface="Times New Roman" panose="02020603050405020304" pitchFamily="18" charset="0"/>
              </a:rPr>
              <a:t>",</a:t>
            </a:r>
            <a:r>
              <a:rPr lang="en-US" sz="2800" spc="64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2800" dirty="0">
                <a:effectLst/>
                <a:latin typeface="Times New Roman" panose="02020603050405020304" pitchFamily="18" charset="0"/>
                <a:ea typeface="Times New Roman" panose="02020603050405020304" pitchFamily="18" charset="0"/>
                <a:cs typeface="Times New Roman" panose="02020603050405020304" pitchFamily="18" charset="0"/>
              </a:rPr>
              <a:t>meaning</a:t>
            </a:r>
            <a:r>
              <a:rPr lang="en-US" sz="2800" spc="63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2800" dirty="0">
                <a:effectLst/>
                <a:latin typeface="Times New Roman" panose="02020603050405020304" pitchFamily="18" charset="0"/>
                <a:ea typeface="Times New Roman" panose="02020603050405020304" pitchFamily="18" charset="0"/>
                <a:cs typeface="Times New Roman" panose="02020603050405020304" pitchFamily="18" charset="0"/>
              </a:rPr>
              <a:t>each</a:t>
            </a:r>
            <a:r>
              <a:rPr lang="en-US" sz="2800" spc="-785"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2800" dirty="0">
                <a:effectLst/>
                <a:latin typeface="Times New Roman" panose="02020603050405020304" pitchFamily="18" charset="0"/>
                <a:ea typeface="Times New Roman" panose="02020603050405020304" pitchFamily="18" charset="0"/>
                <a:cs typeface="Times New Roman" panose="02020603050405020304" pitchFamily="18" charset="0"/>
              </a:rPr>
              <a:t>event</a:t>
            </a:r>
            <a:r>
              <a:rPr lang="en-US" sz="2800" spc="-4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2800" dirty="0">
                <a:effectLst/>
                <a:latin typeface="Times New Roman" panose="02020603050405020304" pitchFamily="18" charset="0"/>
                <a:ea typeface="Times New Roman" panose="02020603050405020304" pitchFamily="18" charset="0"/>
                <a:cs typeface="Times New Roman" panose="02020603050405020304" pitchFamily="18" charset="0"/>
              </a:rPr>
              <a:t>is</a:t>
            </a:r>
            <a:r>
              <a:rPr lang="en-US" sz="2800" spc="2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2800" b="1" dirty="0">
                <a:effectLst/>
                <a:latin typeface="Times New Roman" panose="02020603050405020304" pitchFamily="18" charset="0"/>
                <a:ea typeface="Times New Roman" panose="02020603050405020304" pitchFamily="18" charset="0"/>
                <a:cs typeface="Times New Roman" panose="02020603050405020304" pitchFamily="18" charset="0"/>
              </a:rPr>
              <a:t>not</a:t>
            </a:r>
            <a:r>
              <a:rPr lang="en-US" sz="2800" b="1" spc="-4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2800" b="1" dirty="0">
                <a:effectLst/>
                <a:latin typeface="Times New Roman" panose="02020603050405020304" pitchFamily="18" charset="0"/>
                <a:ea typeface="Times New Roman" panose="02020603050405020304" pitchFamily="18" charset="0"/>
                <a:cs typeface="Times New Roman" panose="02020603050405020304" pitchFamily="18" charset="0"/>
              </a:rPr>
              <a:t>affected</a:t>
            </a:r>
            <a:r>
              <a:rPr lang="en-US" sz="2800" b="1" spc="15"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2800" dirty="0">
                <a:effectLst/>
                <a:latin typeface="Times New Roman" panose="02020603050405020304" pitchFamily="18" charset="0"/>
                <a:ea typeface="Times New Roman" panose="02020603050405020304" pitchFamily="18" charset="0"/>
                <a:cs typeface="Times New Roman" panose="02020603050405020304" pitchFamily="18" charset="0"/>
              </a:rPr>
              <a:t>by</a:t>
            </a:r>
            <a:r>
              <a:rPr lang="en-US" sz="2800" spc="-5"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2800" dirty="0">
                <a:effectLst/>
                <a:latin typeface="Times New Roman" panose="02020603050405020304" pitchFamily="18" charset="0"/>
                <a:ea typeface="Times New Roman" panose="02020603050405020304" pitchFamily="18" charset="0"/>
                <a:cs typeface="Times New Roman" panose="02020603050405020304" pitchFamily="18" charset="0"/>
              </a:rPr>
              <a:t>any</a:t>
            </a:r>
            <a:r>
              <a:rPr lang="en-US" sz="2800" spc="-2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2800" dirty="0">
                <a:effectLst/>
                <a:latin typeface="Times New Roman" panose="02020603050405020304" pitchFamily="18" charset="0"/>
                <a:ea typeface="Times New Roman" panose="02020603050405020304" pitchFamily="18" charset="0"/>
                <a:cs typeface="Times New Roman" panose="02020603050405020304" pitchFamily="18" charset="0"/>
              </a:rPr>
              <a:t>other</a:t>
            </a:r>
            <a:r>
              <a:rPr lang="en-US" sz="2800" spc="-1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2800" dirty="0">
                <a:effectLst/>
                <a:latin typeface="Times New Roman" panose="02020603050405020304" pitchFamily="18" charset="0"/>
                <a:ea typeface="Times New Roman" panose="02020603050405020304" pitchFamily="18" charset="0"/>
                <a:cs typeface="Times New Roman" panose="02020603050405020304" pitchFamily="18" charset="0"/>
              </a:rPr>
              <a:t>events.</a:t>
            </a:r>
          </a:p>
          <a:p>
            <a:pPr marL="457200" marR="377825" lvl="1" indent="0">
              <a:lnSpc>
                <a:spcPct val="103000"/>
              </a:lnSpc>
              <a:spcBef>
                <a:spcPts val="940"/>
              </a:spcBef>
              <a:spcAft>
                <a:spcPts val="0"/>
              </a:spcAft>
              <a:buNone/>
              <a:tabLst>
                <a:tab pos="868045" algn="l"/>
              </a:tabLst>
            </a:pPr>
            <a:endParaRPr lang="en-US" sz="2800" dirty="0">
              <a:latin typeface="Times New Roman" panose="02020603050405020304" pitchFamily="18" charset="0"/>
              <a:ea typeface="Times New Roman" panose="02020603050405020304" pitchFamily="18" charset="0"/>
              <a:cs typeface="Times New Roman" panose="02020603050405020304" pitchFamily="18" charset="0"/>
            </a:endParaRPr>
          </a:p>
          <a:p>
            <a:pPr marL="742950" marR="377825" lvl="1" indent="-285750">
              <a:lnSpc>
                <a:spcPct val="103000"/>
              </a:lnSpc>
              <a:spcBef>
                <a:spcPts val="940"/>
              </a:spcBef>
              <a:spcAft>
                <a:spcPts val="0"/>
              </a:spcAft>
              <a:buFont typeface="Arial" panose="020B0604020202020204" pitchFamily="34" charset="0"/>
              <a:buChar char="•"/>
              <a:tabLst>
                <a:tab pos="868045" algn="l"/>
              </a:tabLst>
            </a:pPr>
            <a:endParaRPr lang="en-US" sz="280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marL="742950" marR="377825" lvl="1" indent="-285750">
              <a:lnSpc>
                <a:spcPct val="103000"/>
              </a:lnSpc>
              <a:spcBef>
                <a:spcPts val="940"/>
              </a:spcBef>
              <a:spcAft>
                <a:spcPts val="0"/>
              </a:spcAft>
              <a:buFont typeface="Arial" panose="020B0604020202020204" pitchFamily="34" charset="0"/>
              <a:buChar char="•"/>
              <a:tabLst>
                <a:tab pos="868045" algn="l"/>
              </a:tabLst>
            </a:pPr>
            <a:r>
              <a:rPr lang="en-US" sz="2800" dirty="0">
                <a:effectLst/>
                <a:latin typeface="Times New Roman" panose="02020603050405020304" pitchFamily="18" charset="0"/>
                <a:ea typeface="Times New Roman" panose="02020603050405020304" pitchFamily="18" charset="0"/>
                <a:cs typeface="Times New Roman" panose="02020603050405020304" pitchFamily="18" charset="0"/>
              </a:rPr>
              <a:t>But</a:t>
            </a:r>
            <a:r>
              <a:rPr lang="en-US" sz="2800" spc="37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2800" dirty="0">
                <a:effectLst/>
                <a:latin typeface="Times New Roman" panose="02020603050405020304" pitchFamily="18" charset="0"/>
                <a:ea typeface="Times New Roman" panose="02020603050405020304" pitchFamily="18" charset="0"/>
                <a:cs typeface="Times New Roman" panose="02020603050405020304" pitchFamily="18" charset="0"/>
              </a:rPr>
              <a:t>events</a:t>
            </a:r>
            <a:r>
              <a:rPr lang="en-US" sz="2800" spc="345"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2800" dirty="0">
                <a:effectLst/>
                <a:latin typeface="Times New Roman" panose="02020603050405020304" pitchFamily="18" charset="0"/>
                <a:ea typeface="Times New Roman" panose="02020603050405020304" pitchFamily="18" charset="0"/>
                <a:cs typeface="Times New Roman" panose="02020603050405020304" pitchFamily="18" charset="0"/>
              </a:rPr>
              <a:t>can</a:t>
            </a:r>
            <a:r>
              <a:rPr lang="en-US" sz="2800" spc="345"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2800" dirty="0">
                <a:effectLst/>
                <a:latin typeface="Times New Roman" panose="02020603050405020304" pitchFamily="18" charset="0"/>
                <a:ea typeface="Times New Roman" panose="02020603050405020304" pitchFamily="18" charset="0"/>
                <a:cs typeface="Times New Roman" panose="02020603050405020304" pitchFamily="18" charset="0"/>
              </a:rPr>
              <a:t>also</a:t>
            </a:r>
            <a:r>
              <a:rPr lang="en-US" sz="2800" spc="345"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2800" dirty="0">
                <a:effectLst/>
                <a:latin typeface="Times New Roman" panose="02020603050405020304" pitchFamily="18" charset="0"/>
                <a:ea typeface="Times New Roman" panose="02020603050405020304" pitchFamily="18" charset="0"/>
                <a:cs typeface="Times New Roman" panose="02020603050405020304" pitchFamily="18" charset="0"/>
              </a:rPr>
              <a:t>be</a:t>
            </a:r>
            <a:r>
              <a:rPr lang="en-US" sz="2800" spc="34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2800" dirty="0">
                <a:effectLst/>
                <a:latin typeface="Times New Roman" panose="02020603050405020304" pitchFamily="18" charset="0"/>
                <a:ea typeface="Times New Roman" panose="02020603050405020304" pitchFamily="18" charset="0"/>
                <a:cs typeface="Times New Roman" panose="02020603050405020304" pitchFamily="18" charset="0"/>
              </a:rPr>
              <a:t>"dependent"</a:t>
            </a:r>
            <a:r>
              <a:rPr lang="en-US" sz="2800" spc="41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2800" dirty="0">
                <a:effectLst/>
                <a:latin typeface="Times New Roman" panose="02020603050405020304" pitchFamily="18" charset="0"/>
                <a:ea typeface="Times New Roman" panose="02020603050405020304" pitchFamily="18" charset="0"/>
                <a:cs typeface="Times New Roman" panose="02020603050405020304" pitchFamily="18" charset="0"/>
              </a:rPr>
              <a:t>...</a:t>
            </a:r>
            <a:r>
              <a:rPr lang="en-US" sz="2800" spc="35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2800" dirty="0">
                <a:effectLst/>
                <a:latin typeface="Times New Roman" panose="02020603050405020304" pitchFamily="18" charset="0"/>
                <a:ea typeface="Times New Roman" panose="02020603050405020304" pitchFamily="18" charset="0"/>
                <a:cs typeface="Times New Roman" panose="02020603050405020304" pitchFamily="18" charset="0"/>
              </a:rPr>
              <a:t>which</a:t>
            </a:r>
            <a:r>
              <a:rPr lang="en-US" sz="2800" spc="345"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2800" dirty="0">
                <a:effectLst/>
                <a:latin typeface="Times New Roman" panose="02020603050405020304" pitchFamily="18" charset="0"/>
                <a:ea typeface="Times New Roman" panose="02020603050405020304" pitchFamily="18" charset="0"/>
                <a:cs typeface="Times New Roman" panose="02020603050405020304" pitchFamily="18" charset="0"/>
              </a:rPr>
              <a:t>means</a:t>
            </a:r>
            <a:r>
              <a:rPr lang="en-US" sz="2800" spc="-685"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2800" dirty="0">
                <a:effectLst/>
                <a:latin typeface="Times New Roman" panose="02020603050405020304" pitchFamily="18" charset="0"/>
                <a:ea typeface="Times New Roman" panose="02020603050405020304" pitchFamily="18" charset="0"/>
                <a:cs typeface="Times New Roman" panose="02020603050405020304" pitchFamily="18" charset="0"/>
              </a:rPr>
              <a:t>they</a:t>
            </a:r>
            <a:r>
              <a:rPr lang="en-US" sz="2800" spc="-6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2800" b="1" dirty="0">
                <a:effectLst/>
                <a:latin typeface="Times New Roman" panose="02020603050405020304" pitchFamily="18" charset="0"/>
                <a:ea typeface="Times New Roman" panose="02020603050405020304" pitchFamily="18" charset="0"/>
                <a:cs typeface="Times New Roman" panose="02020603050405020304" pitchFamily="18" charset="0"/>
              </a:rPr>
              <a:t>can</a:t>
            </a:r>
            <a:r>
              <a:rPr lang="en-US" sz="2800" b="1" spc="-2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2800" b="1" dirty="0">
                <a:effectLst/>
                <a:latin typeface="Times New Roman" panose="02020603050405020304" pitchFamily="18" charset="0"/>
                <a:ea typeface="Times New Roman" panose="02020603050405020304" pitchFamily="18" charset="0"/>
                <a:cs typeface="Times New Roman" panose="02020603050405020304" pitchFamily="18" charset="0"/>
              </a:rPr>
              <a:t>be</a:t>
            </a:r>
            <a:r>
              <a:rPr lang="en-US" sz="2800" b="1" spc="-25"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2800" b="1" dirty="0">
                <a:effectLst/>
                <a:latin typeface="Times New Roman" panose="02020603050405020304" pitchFamily="18" charset="0"/>
                <a:ea typeface="Times New Roman" panose="02020603050405020304" pitchFamily="18" charset="0"/>
                <a:cs typeface="Times New Roman" panose="02020603050405020304" pitchFamily="18" charset="0"/>
              </a:rPr>
              <a:t>affected</a:t>
            </a:r>
            <a:r>
              <a:rPr lang="en-US" sz="2800" b="1" spc="-65"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2800" b="1" dirty="0">
                <a:effectLst/>
                <a:latin typeface="Times New Roman" panose="02020603050405020304" pitchFamily="18" charset="0"/>
                <a:ea typeface="Times New Roman" panose="02020603050405020304" pitchFamily="18" charset="0"/>
                <a:cs typeface="Times New Roman" panose="02020603050405020304" pitchFamily="18" charset="0"/>
              </a:rPr>
              <a:t>by</a:t>
            </a:r>
            <a:r>
              <a:rPr lang="en-US" sz="2800" b="1" spc="1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2800" b="1" dirty="0">
                <a:effectLst/>
                <a:latin typeface="Times New Roman" panose="02020603050405020304" pitchFamily="18" charset="0"/>
                <a:ea typeface="Times New Roman" panose="02020603050405020304" pitchFamily="18" charset="0"/>
                <a:cs typeface="Times New Roman" panose="02020603050405020304" pitchFamily="18" charset="0"/>
              </a:rPr>
              <a:t>previous</a:t>
            </a:r>
            <a:r>
              <a:rPr lang="en-US" sz="2800" b="1" spc="-16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2800" b="1" dirty="0">
                <a:effectLst/>
                <a:latin typeface="Times New Roman" panose="02020603050405020304" pitchFamily="18" charset="0"/>
                <a:ea typeface="Times New Roman" panose="02020603050405020304" pitchFamily="18" charset="0"/>
                <a:cs typeface="Times New Roman" panose="02020603050405020304" pitchFamily="18" charset="0"/>
              </a:rPr>
              <a:t>events</a:t>
            </a:r>
            <a:r>
              <a:rPr lang="en-IN" sz="2800" dirty="0">
                <a:effectLst/>
                <a:latin typeface="Times New Roman" panose="02020603050405020304" pitchFamily="18" charset="0"/>
                <a:cs typeface="Times New Roman" panose="02020603050405020304" pitchFamily="18" charset="0"/>
              </a:rPr>
              <a:t> </a:t>
            </a:r>
            <a:endParaRPr lang="en-IN" sz="2800" dirty="0">
              <a:effectLst/>
              <a:latin typeface="Times New Roman" panose="02020603050405020304" pitchFamily="18"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419089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DC1955-F1FC-3844-F966-42415145AB0C}"/>
              </a:ext>
            </a:extLst>
          </p:cNvPr>
          <p:cNvSpPr>
            <a:spLocks noGrp="1"/>
          </p:cNvSpPr>
          <p:nvPr>
            <p:ph type="title"/>
          </p:nvPr>
        </p:nvSpPr>
        <p:spPr>
          <a:xfrm>
            <a:off x="838200" y="237995"/>
            <a:ext cx="10515600" cy="1077239"/>
          </a:xfrm>
        </p:spPr>
        <p:txBody>
          <a:bodyPr>
            <a:normAutofit fontScale="90000"/>
          </a:bodyPr>
          <a:lstStyle/>
          <a:p>
            <a:pPr algn="ctr"/>
            <a:r>
              <a:rPr lang="en-US" sz="4400" b="1" dirty="0">
                <a:solidFill>
                  <a:srgbClr val="FF0000"/>
                </a:solidFill>
                <a:effectLst/>
                <a:latin typeface="Times New Roman" panose="02020603050405020304" pitchFamily="18" charset="0"/>
                <a:ea typeface="Times New Roman" panose="02020603050405020304" pitchFamily="18" charset="0"/>
              </a:rPr>
              <a:t>Bayes</a:t>
            </a:r>
            <a:r>
              <a:rPr lang="en-US" sz="4400" b="1" spc="-100" dirty="0">
                <a:solidFill>
                  <a:srgbClr val="FF0000"/>
                </a:solidFill>
                <a:effectLst/>
                <a:latin typeface="Times New Roman" panose="02020603050405020304" pitchFamily="18" charset="0"/>
                <a:ea typeface="Times New Roman" panose="02020603050405020304" pitchFamily="18" charset="0"/>
              </a:rPr>
              <a:t> </a:t>
            </a:r>
            <a:r>
              <a:rPr lang="en-US" sz="4400" b="1" dirty="0">
                <a:solidFill>
                  <a:srgbClr val="FF0000"/>
                </a:solidFill>
                <a:effectLst/>
                <a:latin typeface="Times New Roman" panose="02020603050405020304" pitchFamily="18" charset="0"/>
                <a:ea typeface="Times New Roman" panose="02020603050405020304" pitchFamily="18" charset="0"/>
              </a:rPr>
              <a:t>Rule</a:t>
            </a:r>
            <a:br>
              <a:rPr lang="en-IN" sz="8000" b="1" dirty="0">
                <a:effectLst/>
                <a:latin typeface="Times New Roman" panose="02020603050405020304" pitchFamily="18" charset="0"/>
                <a:ea typeface="Times New Roman" panose="02020603050405020304" pitchFamily="18" charset="0"/>
              </a:rPr>
            </a:br>
            <a:endParaRPr lang="en-US" dirty="0"/>
          </a:p>
        </p:txBody>
      </p:sp>
      <p:sp>
        <p:nvSpPr>
          <p:cNvPr id="3" name="Content Placeholder 2">
            <a:extLst>
              <a:ext uri="{FF2B5EF4-FFF2-40B4-BE49-F238E27FC236}">
                <a16:creationId xmlns:a16="http://schemas.microsoft.com/office/drawing/2014/main" id="{FB8AF7CF-9E5E-BBCA-CC34-42681A643D9A}"/>
              </a:ext>
            </a:extLst>
          </p:cNvPr>
          <p:cNvSpPr>
            <a:spLocks noGrp="1"/>
          </p:cNvSpPr>
          <p:nvPr>
            <p:ph idx="1"/>
          </p:nvPr>
        </p:nvSpPr>
        <p:spPr>
          <a:xfrm>
            <a:off x="838200" y="1227551"/>
            <a:ext cx="10515600" cy="4949412"/>
          </a:xfrm>
        </p:spPr>
        <p:txBody>
          <a:bodyPr>
            <a:normAutofit/>
          </a:bodyPr>
          <a:lstStyle/>
          <a:p>
            <a:pPr marL="742950" marR="362585" lvl="1" indent="-285750" algn="just">
              <a:lnSpc>
                <a:spcPct val="103000"/>
              </a:lnSpc>
              <a:spcBef>
                <a:spcPts val="830"/>
              </a:spcBef>
              <a:spcAft>
                <a:spcPts val="0"/>
              </a:spcAft>
              <a:buFont typeface="Arial" panose="020B0604020202020204" pitchFamily="34" charset="0"/>
              <a:buChar char="•"/>
              <a:tabLst>
                <a:tab pos="868045" algn="l"/>
              </a:tabLst>
            </a:pPr>
            <a:r>
              <a:rPr lang="en-US" sz="2800" dirty="0">
                <a:effectLst/>
                <a:latin typeface="Times New Roman" panose="02020603050405020304" pitchFamily="18" charset="0"/>
                <a:ea typeface="Times New Roman" panose="02020603050405020304" pitchFamily="18" charset="0"/>
              </a:rPr>
              <a:t>Bayes' theorem is also known as </a:t>
            </a:r>
            <a:r>
              <a:rPr lang="en-US" sz="2800" b="1" dirty="0">
                <a:effectLst/>
                <a:latin typeface="Times New Roman" panose="02020603050405020304" pitchFamily="18" charset="0"/>
                <a:ea typeface="Times New Roman" panose="02020603050405020304" pitchFamily="18" charset="0"/>
              </a:rPr>
              <a:t>Bayes' rule, Bayes'</a:t>
            </a:r>
            <a:r>
              <a:rPr lang="en-US" sz="2800" b="1" spc="5" dirty="0">
                <a:effectLst/>
                <a:latin typeface="Times New Roman" panose="02020603050405020304" pitchFamily="18" charset="0"/>
                <a:ea typeface="Times New Roman" panose="02020603050405020304" pitchFamily="18" charset="0"/>
              </a:rPr>
              <a:t> </a:t>
            </a:r>
            <a:r>
              <a:rPr lang="en-US" sz="2800" b="1" dirty="0">
                <a:effectLst/>
                <a:latin typeface="Times New Roman" panose="02020603050405020304" pitchFamily="18" charset="0"/>
                <a:ea typeface="Times New Roman" panose="02020603050405020304" pitchFamily="18" charset="0"/>
              </a:rPr>
              <a:t>law</a:t>
            </a:r>
            <a:r>
              <a:rPr lang="en-US" sz="2800" dirty="0">
                <a:effectLst/>
                <a:latin typeface="Times New Roman" panose="02020603050405020304" pitchFamily="18" charset="0"/>
                <a:ea typeface="Times New Roman" panose="02020603050405020304" pitchFamily="18" charset="0"/>
              </a:rPr>
              <a:t>, or </a:t>
            </a:r>
            <a:r>
              <a:rPr lang="en-US" sz="2800" b="1" dirty="0">
                <a:effectLst/>
                <a:latin typeface="Times New Roman" panose="02020603050405020304" pitchFamily="18" charset="0"/>
                <a:ea typeface="Times New Roman" panose="02020603050405020304" pitchFamily="18" charset="0"/>
              </a:rPr>
              <a:t>Bayesian reasoning</a:t>
            </a:r>
            <a:r>
              <a:rPr lang="en-US" sz="2800" dirty="0">
                <a:effectLst/>
                <a:latin typeface="Times New Roman" panose="02020603050405020304" pitchFamily="18" charset="0"/>
                <a:ea typeface="Times New Roman" panose="02020603050405020304" pitchFamily="18" charset="0"/>
              </a:rPr>
              <a:t>, which determines the</a:t>
            </a:r>
            <a:r>
              <a:rPr lang="en-US" sz="2800" spc="5" dirty="0">
                <a:effectLst/>
                <a:latin typeface="Times New Roman" panose="02020603050405020304" pitchFamily="18" charset="0"/>
                <a:ea typeface="Times New Roman" panose="02020603050405020304" pitchFamily="18" charset="0"/>
              </a:rPr>
              <a:t> </a:t>
            </a:r>
            <a:r>
              <a:rPr lang="en-US" sz="2800" dirty="0">
                <a:effectLst/>
                <a:latin typeface="Times New Roman" panose="02020603050405020304" pitchFamily="18" charset="0"/>
                <a:ea typeface="Times New Roman" panose="02020603050405020304" pitchFamily="18" charset="0"/>
              </a:rPr>
              <a:t>probability</a:t>
            </a:r>
            <a:r>
              <a:rPr lang="en-US" sz="2800" spc="-95" dirty="0">
                <a:effectLst/>
                <a:latin typeface="Times New Roman" panose="02020603050405020304" pitchFamily="18" charset="0"/>
                <a:ea typeface="Times New Roman" panose="02020603050405020304" pitchFamily="18" charset="0"/>
              </a:rPr>
              <a:t> </a:t>
            </a:r>
            <a:r>
              <a:rPr lang="en-US" sz="2800" dirty="0">
                <a:effectLst/>
                <a:latin typeface="Times New Roman" panose="02020603050405020304" pitchFamily="18" charset="0"/>
                <a:ea typeface="Times New Roman" panose="02020603050405020304" pitchFamily="18" charset="0"/>
              </a:rPr>
              <a:t>of</a:t>
            </a:r>
            <a:r>
              <a:rPr lang="en-US" sz="2800" spc="-30" dirty="0">
                <a:effectLst/>
                <a:latin typeface="Times New Roman" panose="02020603050405020304" pitchFamily="18" charset="0"/>
                <a:ea typeface="Times New Roman" panose="02020603050405020304" pitchFamily="18" charset="0"/>
              </a:rPr>
              <a:t> </a:t>
            </a:r>
            <a:r>
              <a:rPr lang="en-US" sz="2800" dirty="0">
                <a:effectLst/>
                <a:latin typeface="Times New Roman" panose="02020603050405020304" pitchFamily="18" charset="0"/>
                <a:ea typeface="Times New Roman" panose="02020603050405020304" pitchFamily="18" charset="0"/>
              </a:rPr>
              <a:t>an</a:t>
            </a:r>
            <a:r>
              <a:rPr lang="en-US" sz="2800" spc="-5" dirty="0">
                <a:effectLst/>
                <a:latin typeface="Times New Roman" panose="02020603050405020304" pitchFamily="18" charset="0"/>
                <a:ea typeface="Times New Roman" panose="02020603050405020304" pitchFamily="18" charset="0"/>
              </a:rPr>
              <a:t> </a:t>
            </a:r>
            <a:r>
              <a:rPr lang="en-US" sz="2800" dirty="0">
                <a:effectLst/>
                <a:latin typeface="Times New Roman" panose="02020603050405020304" pitchFamily="18" charset="0"/>
                <a:ea typeface="Times New Roman" panose="02020603050405020304" pitchFamily="18" charset="0"/>
              </a:rPr>
              <a:t>event</a:t>
            </a:r>
            <a:r>
              <a:rPr lang="en-US" sz="2800" spc="-70" dirty="0">
                <a:effectLst/>
                <a:latin typeface="Times New Roman" panose="02020603050405020304" pitchFamily="18" charset="0"/>
                <a:ea typeface="Times New Roman" panose="02020603050405020304" pitchFamily="18" charset="0"/>
              </a:rPr>
              <a:t> </a:t>
            </a:r>
            <a:r>
              <a:rPr lang="en-US" sz="2800" dirty="0">
                <a:effectLst/>
                <a:latin typeface="Times New Roman" panose="02020603050405020304" pitchFamily="18" charset="0"/>
                <a:ea typeface="Times New Roman" panose="02020603050405020304" pitchFamily="18" charset="0"/>
              </a:rPr>
              <a:t>with</a:t>
            </a:r>
            <a:r>
              <a:rPr lang="en-US" sz="2800" spc="-45" dirty="0">
                <a:effectLst/>
                <a:latin typeface="Times New Roman" panose="02020603050405020304" pitchFamily="18" charset="0"/>
                <a:ea typeface="Times New Roman" panose="02020603050405020304" pitchFamily="18" charset="0"/>
              </a:rPr>
              <a:t> </a:t>
            </a:r>
            <a:r>
              <a:rPr lang="en-US" sz="2800" dirty="0">
                <a:effectLst/>
                <a:latin typeface="Times New Roman" panose="02020603050405020304" pitchFamily="18" charset="0"/>
                <a:ea typeface="Times New Roman" panose="02020603050405020304" pitchFamily="18" charset="0"/>
              </a:rPr>
              <a:t>uncertain</a:t>
            </a:r>
            <a:r>
              <a:rPr lang="en-US" sz="2800" spc="-105" dirty="0">
                <a:effectLst/>
                <a:latin typeface="Times New Roman" panose="02020603050405020304" pitchFamily="18" charset="0"/>
                <a:ea typeface="Times New Roman" panose="02020603050405020304" pitchFamily="18" charset="0"/>
              </a:rPr>
              <a:t> </a:t>
            </a:r>
            <a:r>
              <a:rPr lang="en-US" sz="2800" dirty="0">
                <a:effectLst/>
                <a:latin typeface="Times New Roman" panose="02020603050405020304" pitchFamily="18" charset="0"/>
                <a:ea typeface="Times New Roman" panose="02020603050405020304" pitchFamily="18" charset="0"/>
              </a:rPr>
              <a:t>knowledge.</a:t>
            </a:r>
            <a:endParaRPr lang="en-IN" sz="2800" dirty="0">
              <a:effectLst/>
              <a:latin typeface="Times New Roman" panose="02020603050405020304" pitchFamily="18" charset="0"/>
              <a:ea typeface="Times New Roman" panose="02020603050405020304" pitchFamily="18" charset="0"/>
            </a:endParaRPr>
          </a:p>
          <a:p>
            <a:pPr marL="742950" marR="358775" lvl="1" indent="-285750" algn="just">
              <a:lnSpc>
                <a:spcPct val="103000"/>
              </a:lnSpc>
              <a:spcBef>
                <a:spcPts val="725"/>
              </a:spcBef>
              <a:spcAft>
                <a:spcPts val="0"/>
              </a:spcAft>
              <a:buFont typeface="Arial" panose="020B0604020202020204" pitchFamily="34" charset="0"/>
              <a:buChar char="•"/>
              <a:tabLst>
                <a:tab pos="868045" algn="l"/>
              </a:tabLst>
            </a:pPr>
            <a:r>
              <a:rPr lang="en-US" sz="2800" dirty="0">
                <a:effectLst/>
                <a:latin typeface="Times New Roman" panose="02020603050405020304" pitchFamily="18" charset="0"/>
                <a:ea typeface="Times New Roman" panose="02020603050405020304" pitchFamily="18" charset="0"/>
              </a:rPr>
              <a:t>In</a:t>
            </a:r>
            <a:r>
              <a:rPr lang="en-US" sz="2800" spc="5" dirty="0">
                <a:effectLst/>
                <a:latin typeface="Times New Roman" panose="02020603050405020304" pitchFamily="18" charset="0"/>
                <a:ea typeface="Times New Roman" panose="02020603050405020304" pitchFamily="18" charset="0"/>
              </a:rPr>
              <a:t> </a:t>
            </a:r>
            <a:r>
              <a:rPr lang="en-US" sz="2800" dirty="0">
                <a:effectLst/>
                <a:latin typeface="Times New Roman" panose="02020603050405020304" pitchFamily="18" charset="0"/>
                <a:ea typeface="Times New Roman" panose="02020603050405020304" pitchFamily="18" charset="0"/>
              </a:rPr>
              <a:t>probability</a:t>
            </a:r>
            <a:r>
              <a:rPr lang="en-US" sz="2800" spc="5" dirty="0">
                <a:effectLst/>
                <a:latin typeface="Times New Roman" panose="02020603050405020304" pitchFamily="18" charset="0"/>
                <a:ea typeface="Times New Roman" panose="02020603050405020304" pitchFamily="18" charset="0"/>
              </a:rPr>
              <a:t> </a:t>
            </a:r>
            <a:r>
              <a:rPr lang="en-US" sz="2800" dirty="0">
                <a:effectLst/>
                <a:latin typeface="Times New Roman" panose="02020603050405020304" pitchFamily="18" charset="0"/>
                <a:ea typeface="Times New Roman" panose="02020603050405020304" pitchFamily="18" charset="0"/>
              </a:rPr>
              <a:t>theory,</a:t>
            </a:r>
            <a:r>
              <a:rPr lang="en-US" sz="2800" spc="5" dirty="0">
                <a:effectLst/>
                <a:latin typeface="Times New Roman" panose="02020603050405020304" pitchFamily="18" charset="0"/>
                <a:ea typeface="Times New Roman" panose="02020603050405020304" pitchFamily="18" charset="0"/>
              </a:rPr>
              <a:t> </a:t>
            </a:r>
            <a:r>
              <a:rPr lang="en-US" sz="2800" dirty="0">
                <a:effectLst/>
                <a:latin typeface="Times New Roman" panose="02020603050405020304" pitchFamily="18" charset="0"/>
                <a:ea typeface="Times New Roman" panose="02020603050405020304" pitchFamily="18" charset="0"/>
              </a:rPr>
              <a:t>it</a:t>
            </a:r>
            <a:r>
              <a:rPr lang="en-US" sz="2800" spc="5" dirty="0">
                <a:effectLst/>
                <a:latin typeface="Times New Roman" panose="02020603050405020304" pitchFamily="18" charset="0"/>
                <a:ea typeface="Times New Roman" panose="02020603050405020304" pitchFamily="18" charset="0"/>
              </a:rPr>
              <a:t> </a:t>
            </a:r>
            <a:r>
              <a:rPr lang="en-US" sz="2800" dirty="0">
                <a:effectLst/>
                <a:latin typeface="Times New Roman" panose="02020603050405020304" pitchFamily="18" charset="0"/>
                <a:ea typeface="Times New Roman" panose="02020603050405020304" pitchFamily="18" charset="0"/>
              </a:rPr>
              <a:t>relates</a:t>
            </a:r>
            <a:r>
              <a:rPr lang="en-US" sz="2800" spc="5" dirty="0">
                <a:effectLst/>
                <a:latin typeface="Times New Roman" panose="02020603050405020304" pitchFamily="18" charset="0"/>
                <a:ea typeface="Times New Roman" panose="02020603050405020304" pitchFamily="18" charset="0"/>
              </a:rPr>
              <a:t> </a:t>
            </a:r>
            <a:r>
              <a:rPr lang="en-US" sz="2800" dirty="0">
                <a:effectLst/>
                <a:latin typeface="Times New Roman" panose="02020603050405020304" pitchFamily="18" charset="0"/>
                <a:ea typeface="Times New Roman" panose="02020603050405020304" pitchFamily="18" charset="0"/>
              </a:rPr>
              <a:t>the</a:t>
            </a:r>
            <a:r>
              <a:rPr lang="en-US" sz="2800" spc="5" dirty="0">
                <a:effectLst/>
                <a:latin typeface="Times New Roman" panose="02020603050405020304" pitchFamily="18" charset="0"/>
                <a:ea typeface="Times New Roman" panose="02020603050405020304" pitchFamily="18" charset="0"/>
              </a:rPr>
              <a:t> </a:t>
            </a:r>
            <a:r>
              <a:rPr lang="en-US" sz="2800" dirty="0">
                <a:effectLst/>
                <a:latin typeface="Times New Roman" panose="02020603050405020304" pitchFamily="18" charset="0"/>
                <a:ea typeface="Times New Roman" panose="02020603050405020304" pitchFamily="18" charset="0"/>
              </a:rPr>
              <a:t>conditional</a:t>
            </a:r>
            <a:r>
              <a:rPr lang="en-US" sz="2800" spc="5" dirty="0">
                <a:effectLst/>
                <a:latin typeface="Times New Roman" panose="02020603050405020304" pitchFamily="18" charset="0"/>
                <a:ea typeface="Times New Roman" panose="02020603050405020304" pitchFamily="18" charset="0"/>
              </a:rPr>
              <a:t> </a:t>
            </a:r>
            <a:r>
              <a:rPr lang="en-US" sz="2800" dirty="0">
                <a:effectLst/>
                <a:latin typeface="Times New Roman" panose="02020603050405020304" pitchFamily="18" charset="0"/>
                <a:ea typeface="Times New Roman" panose="02020603050405020304" pitchFamily="18" charset="0"/>
              </a:rPr>
              <a:t>probability and marginal probabilities of two random</a:t>
            </a:r>
            <a:r>
              <a:rPr lang="en-US" sz="2800" spc="5" dirty="0">
                <a:effectLst/>
                <a:latin typeface="Times New Roman" panose="02020603050405020304" pitchFamily="18" charset="0"/>
                <a:ea typeface="Times New Roman" panose="02020603050405020304" pitchFamily="18" charset="0"/>
              </a:rPr>
              <a:t> </a:t>
            </a:r>
            <a:r>
              <a:rPr lang="en-US" sz="2800" dirty="0">
                <a:effectLst/>
                <a:latin typeface="Times New Roman" panose="02020603050405020304" pitchFamily="18" charset="0"/>
                <a:ea typeface="Times New Roman" panose="02020603050405020304" pitchFamily="18" charset="0"/>
              </a:rPr>
              <a:t>events.</a:t>
            </a:r>
            <a:endParaRPr lang="en-IN" sz="2800" dirty="0">
              <a:effectLst/>
              <a:latin typeface="Times New Roman" panose="02020603050405020304" pitchFamily="18" charset="0"/>
              <a:ea typeface="Times New Roman" panose="02020603050405020304" pitchFamily="18" charset="0"/>
            </a:endParaRPr>
          </a:p>
          <a:p>
            <a:pPr marL="742950" marR="364490" lvl="1" indent="-285750" algn="just">
              <a:lnSpc>
                <a:spcPct val="103000"/>
              </a:lnSpc>
              <a:spcBef>
                <a:spcPts val="720"/>
              </a:spcBef>
              <a:spcAft>
                <a:spcPts val="0"/>
              </a:spcAft>
              <a:buFont typeface="Arial" panose="020B0604020202020204" pitchFamily="34" charset="0"/>
              <a:buChar char="•"/>
              <a:tabLst>
                <a:tab pos="868045" algn="l"/>
              </a:tabLst>
            </a:pPr>
            <a:r>
              <a:rPr lang="en-US" sz="2800" dirty="0">
                <a:effectLst/>
                <a:latin typeface="Times New Roman" panose="02020603050405020304" pitchFamily="18" charset="0"/>
                <a:ea typeface="Times New Roman" panose="02020603050405020304" pitchFamily="18" charset="0"/>
              </a:rPr>
              <a:t>Bayes'</a:t>
            </a:r>
            <a:r>
              <a:rPr lang="en-US" sz="2800" spc="5" dirty="0">
                <a:effectLst/>
                <a:latin typeface="Times New Roman" panose="02020603050405020304" pitchFamily="18" charset="0"/>
                <a:ea typeface="Times New Roman" panose="02020603050405020304" pitchFamily="18" charset="0"/>
              </a:rPr>
              <a:t> </a:t>
            </a:r>
            <a:r>
              <a:rPr lang="en-US" sz="2800" dirty="0">
                <a:effectLst/>
                <a:latin typeface="Times New Roman" panose="02020603050405020304" pitchFamily="18" charset="0"/>
                <a:ea typeface="Times New Roman" panose="02020603050405020304" pitchFamily="18" charset="0"/>
              </a:rPr>
              <a:t>theorem</a:t>
            </a:r>
            <a:r>
              <a:rPr lang="en-US" sz="2800" spc="5" dirty="0">
                <a:effectLst/>
                <a:latin typeface="Times New Roman" panose="02020603050405020304" pitchFamily="18" charset="0"/>
                <a:ea typeface="Times New Roman" panose="02020603050405020304" pitchFamily="18" charset="0"/>
              </a:rPr>
              <a:t> </a:t>
            </a:r>
            <a:r>
              <a:rPr lang="en-US" sz="2800" dirty="0">
                <a:effectLst/>
                <a:latin typeface="Times New Roman" panose="02020603050405020304" pitchFamily="18" charset="0"/>
                <a:ea typeface="Times New Roman" panose="02020603050405020304" pitchFamily="18" charset="0"/>
              </a:rPr>
              <a:t>was</a:t>
            </a:r>
            <a:r>
              <a:rPr lang="en-US" sz="2800" spc="5" dirty="0">
                <a:effectLst/>
                <a:latin typeface="Times New Roman" panose="02020603050405020304" pitchFamily="18" charset="0"/>
                <a:ea typeface="Times New Roman" panose="02020603050405020304" pitchFamily="18" charset="0"/>
              </a:rPr>
              <a:t> </a:t>
            </a:r>
            <a:r>
              <a:rPr lang="en-US" sz="2800" dirty="0">
                <a:effectLst/>
                <a:latin typeface="Times New Roman" panose="02020603050405020304" pitchFamily="18" charset="0"/>
                <a:ea typeface="Times New Roman" panose="02020603050405020304" pitchFamily="18" charset="0"/>
              </a:rPr>
              <a:t>named</a:t>
            </a:r>
            <a:r>
              <a:rPr lang="en-US" sz="2800" spc="5" dirty="0">
                <a:effectLst/>
                <a:latin typeface="Times New Roman" panose="02020603050405020304" pitchFamily="18" charset="0"/>
                <a:ea typeface="Times New Roman" panose="02020603050405020304" pitchFamily="18" charset="0"/>
              </a:rPr>
              <a:t> </a:t>
            </a:r>
            <a:r>
              <a:rPr lang="en-US" sz="2800" dirty="0">
                <a:effectLst/>
                <a:latin typeface="Times New Roman" panose="02020603050405020304" pitchFamily="18" charset="0"/>
                <a:ea typeface="Times New Roman" panose="02020603050405020304" pitchFamily="18" charset="0"/>
              </a:rPr>
              <a:t>after</a:t>
            </a:r>
            <a:r>
              <a:rPr lang="en-US" sz="2800" spc="5" dirty="0">
                <a:effectLst/>
                <a:latin typeface="Times New Roman" panose="02020603050405020304" pitchFamily="18" charset="0"/>
                <a:ea typeface="Times New Roman" panose="02020603050405020304" pitchFamily="18" charset="0"/>
              </a:rPr>
              <a:t> </a:t>
            </a:r>
            <a:r>
              <a:rPr lang="en-US" sz="2800" dirty="0">
                <a:effectLst/>
                <a:latin typeface="Times New Roman" panose="02020603050405020304" pitchFamily="18" charset="0"/>
                <a:ea typeface="Times New Roman" panose="02020603050405020304" pitchFamily="18" charset="0"/>
              </a:rPr>
              <a:t>the</a:t>
            </a:r>
            <a:r>
              <a:rPr lang="en-US" sz="2800" spc="5" dirty="0">
                <a:effectLst/>
                <a:latin typeface="Times New Roman" panose="02020603050405020304" pitchFamily="18" charset="0"/>
                <a:ea typeface="Times New Roman" panose="02020603050405020304" pitchFamily="18" charset="0"/>
              </a:rPr>
              <a:t> </a:t>
            </a:r>
            <a:r>
              <a:rPr lang="en-US" sz="2800" dirty="0">
                <a:effectLst/>
                <a:latin typeface="Times New Roman" panose="02020603050405020304" pitchFamily="18" charset="0"/>
                <a:ea typeface="Times New Roman" panose="02020603050405020304" pitchFamily="18" charset="0"/>
              </a:rPr>
              <a:t>British</a:t>
            </a:r>
            <a:r>
              <a:rPr lang="en-US" sz="2800" spc="5" dirty="0">
                <a:effectLst/>
                <a:latin typeface="Times New Roman" panose="02020603050405020304" pitchFamily="18" charset="0"/>
                <a:ea typeface="Times New Roman" panose="02020603050405020304" pitchFamily="18" charset="0"/>
              </a:rPr>
              <a:t> </a:t>
            </a:r>
            <a:r>
              <a:rPr lang="en-US" sz="2800" dirty="0">
                <a:effectLst/>
                <a:latin typeface="Times New Roman" panose="02020603050405020304" pitchFamily="18" charset="0"/>
                <a:ea typeface="Times New Roman" panose="02020603050405020304" pitchFamily="18" charset="0"/>
              </a:rPr>
              <a:t>mathematician</a:t>
            </a:r>
            <a:r>
              <a:rPr lang="en-US" sz="2800" spc="5" dirty="0">
                <a:effectLst/>
                <a:latin typeface="Times New Roman" panose="02020603050405020304" pitchFamily="18" charset="0"/>
                <a:ea typeface="Times New Roman" panose="02020603050405020304" pitchFamily="18" charset="0"/>
              </a:rPr>
              <a:t> </a:t>
            </a:r>
            <a:r>
              <a:rPr lang="en-US" sz="2800" b="1" dirty="0">
                <a:effectLst/>
                <a:latin typeface="Times New Roman" panose="02020603050405020304" pitchFamily="18" charset="0"/>
                <a:ea typeface="Times New Roman" panose="02020603050405020304" pitchFamily="18" charset="0"/>
              </a:rPr>
              <a:t>Thomas</a:t>
            </a:r>
            <a:r>
              <a:rPr lang="en-US" sz="2800" b="1" spc="5" dirty="0">
                <a:effectLst/>
                <a:latin typeface="Times New Roman" panose="02020603050405020304" pitchFamily="18" charset="0"/>
                <a:ea typeface="Times New Roman" panose="02020603050405020304" pitchFamily="18" charset="0"/>
              </a:rPr>
              <a:t> </a:t>
            </a:r>
            <a:r>
              <a:rPr lang="en-US" sz="2800" b="1" dirty="0">
                <a:effectLst/>
                <a:latin typeface="Times New Roman" panose="02020603050405020304" pitchFamily="18" charset="0"/>
                <a:ea typeface="Times New Roman" panose="02020603050405020304" pitchFamily="18" charset="0"/>
              </a:rPr>
              <a:t>Bayes</a:t>
            </a:r>
            <a:r>
              <a:rPr lang="en-US" sz="2800" dirty="0">
                <a:effectLst/>
                <a:latin typeface="Times New Roman" panose="02020603050405020304" pitchFamily="18" charset="0"/>
                <a:ea typeface="Times New Roman" panose="02020603050405020304" pitchFamily="18" charset="0"/>
              </a:rPr>
              <a:t>.</a:t>
            </a:r>
            <a:r>
              <a:rPr lang="en-US" sz="2800" spc="5" dirty="0">
                <a:effectLst/>
                <a:latin typeface="Times New Roman" panose="02020603050405020304" pitchFamily="18" charset="0"/>
                <a:ea typeface="Times New Roman" panose="02020603050405020304" pitchFamily="18" charset="0"/>
              </a:rPr>
              <a:t> </a:t>
            </a:r>
            <a:r>
              <a:rPr lang="en-US" sz="2800" dirty="0">
                <a:effectLst/>
                <a:latin typeface="Times New Roman" panose="02020603050405020304" pitchFamily="18" charset="0"/>
                <a:ea typeface="Times New Roman" panose="02020603050405020304" pitchFamily="18" charset="0"/>
              </a:rPr>
              <a:t>The</a:t>
            </a:r>
            <a:r>
              <a:rPr lang="en-US" sz="2800" spc="5" dirty="0">
                <a:effectLst/>
                <a:latin typeface="Times New Roman" panose="02020603050405020304" pitchFamily="18" charset="0"/>
                <a:ea typeface="Times New Roman" panose="02020603050405020304" pitchFamily="18" charset="0"/>
              </a:rPr>
              <a:t> </a:t>
            </a:r>
            <a:r>
              <a:rPr lang="en-US" sz="2800" b="1" dirty="0">
                <a:effectLst/>
                <a:latin typeface="Times New Roman" panose="02020603050405020304" pitchFamily="18" charset="0"/>
                <a:ea typeface="Times New Roman" panose="02020603050405020304" pitchFamily="18" charset="0"/>
              </a:rPr>
              <a:t>Bayesian</a:t>
            </a:r>
            <a:r>
              <a:rPr lang="en-US" sz="2800" b="1" spc="-685" dirty="0">
                <a:effectLst/>
                <a:latin typeface="Times New Roman" panose="02020603050405020304" pitchFamily="18" charset="0"/>
                <a:ea typeface="Times New Roman" panose="02020603050405020304" pitchFamily="18" charset="0"/>
              </a:rPr>
              <a:t> </a:t>
            </a:r>
            <a:r>
              <a:rPr lang="en-US" sz="2800" b="1" dirty="0">
                <a:effectLst/>
                <a:latin typeface="Times New Roman" panose="02020603050405020304" pitchFamily="18" charset="0"/>
                <a:ea typeface="Times New Roman" panose="02020603050405020304" pitchFamily="18" charset="0"/>
              </a:rPr>
              <a:t>inference </a:t>
            </a:r>
            <a:r>
              <a:rPr lang="en-US" sz="2800" dirty="0">
                <a:effectLst/>
                <a:latin typeface="Times New Roman" panose="02020603050405020304" pitchFamily="18" charset="0"/>
                <a:ea typeface="Times New Roman" panose="02020603050405020304" pitchFamily="18" charset="0"/>
              </a:rPr>
              <a:t>is an application of Bayes' theorem, which</a:t>
            </a:r>
            <a:r>
              <a:rPr lang="en-US" sz="2800" spc="5" dirty="0">
                <a:effectLst/>
                <a:latin typeface="Times New Roman" panose="02020603050405020304" pitchFamily="18" charset="0"/>
                <a:ea typeface="Times New Roman" panose="02020603050405020304" pitchFamily="18" charset="0"/>
              </a:rPr>
              <a:t> </a:t>
            </a:r>
            <a:r>
              <a:rPr lang="en-US" sz="2800" dirty="0">
                <a:effectLst/>
                <a:latin typeface="Times New Roman" panose="02020603050405020304" pitchFamily="18" charset="0"/>
                <a:ea typeface="Times New Roman" panose="02020603050405020304" pitchFamily="18" charset="0"/>
              </a:rPr>
              <a:t>is</a:t>
            </a:r>
            <a:r>
              <a:rPr lang="en-US" sz="2800" spc="-40" dirty="0">
                <a:effectLst/>
                <a:latin typeface="Times New Roman" panose="02020603050405020304" pitchFamily="18" charset="0"/>
                <a:ea typeface="Times New Roman" panose="02020603050405020304" pitchFamily="18" charset="0"/>
              </a:rPr>
              <a:t> </a:t>
            </a:r>
            <a:r>
              <a:rPr lang="en-US" sz="2800" dirty="0">
                <a:effectLst/>
                <a:latin typeface="Times New Roman" panose="02020603050405020304" pitchFamily="18" charset="0"/>
                <a:ea typeface="Times New Roman" panose="02020603050405020304" pitchFamily="18" charset="0"/>
              </a:rPr>
              <a:t>fundamental</a:t>
            </a:r>
            <a:r>
              <a:rPr lang="en-US" sz="2800" spc="-90" dirty="0">
                <a:effectLst/>
                <a:latin typeface="Times New Roman" panose="02020603050405020304" pitchFamily="18" charset="0"/>
                <a:ea typeface="Times New Roman" panose="02020603050405020304" pitchFamily="18" charset="0"/>
              </a:rPr>
              <a:t> </a:t>
            </a:r>
            <a:r>
              <a:rPr lang="en-US" sz="2800" dirty="0">
                <a:effectLst/>
                <a:latin typeface="Times New Roman" panose="02020603050405020304" pitchFamily="18" charset="0"/>
                <a:ea typeface="Times New Roman" panose="02020603050405020304" pitchFamily="18" charset="0"/>
              </a:rPr>
              <a:t>to</a:t>
            </a:r>
            <a:r>
              <a:rPr lang="en-US" sz="2800" spc="-40" dirty="0">
                <a:effectLst/>
                <a:latin typeface="Times New Roman" panose="02020603050405020304" pitchFamily="18" charset="0"/>
                <a:ea typeface="Times New Roman" panose="02020603050405020304" pitchFamily="18" charset="0"/>
              </a:rPr>
              <a:t> </a:t>
            </a:r>
            <a:r>
              <a:rPr lang="en-US" sz="2800" dirty="0">
                <a:effectLst/>
                <a:latin typeface="Times New Roman" panose="02020603050405020304" pitchFamily="18" charset="0"/>
                <a:ea typeface="Times New Roman" panose="02020603050405020304" pitchFamily="18" charset="0"/>
              </a:rPr>
              <a:t>Bayesian</a:t>
            </a:r>
            <a:r>
              <a:rPr lang="en-US" sz="2800" spc="-75" dirty="0">
                <a:effectLst/>
                <a:latin typeface="Times New Roman" panose="02020603050405020304" pitchFamily="18" charset="0"/>
                <a:ea typeface="Times New Roman" panose="02020603050405020304" pitchFamily="18" charset="0"/>
              </a:rPr>
              <a:t> </a:t>
            </a:r>
            <a:r>
              <a:rPr lang="en-US" sz="2800" dirty="0">
                <a:effectLst/>
                <a:latin typeface="Times New Roman" panose="02020603050405020304" pitchFamily="18" charset="0"/>
                <a:ea typeface="Times New Roman" panose="02020603050405020304" pitchFamily="18" charset="0"/>
              </a:rPr>
              <a:t>statistics.</a:t>
            </a:r>
            <a:endParaRPr lang="en-IN" sz="2800" dirty="0">
              <a:effectLst/>
              <a:latin typeface="Times New Roman" panose="02020603050405020304" pitchFamily="18" charset="0"/>
              <a:ea typeface="Times New Roman" panose="02020603050405020304" pitchFamily="18" charset="0"/>
            </a:endParaRPr>
          </a:p>
          <a:p>
            <a:pPr marL="742950" marR="364490" lvl="1" indent="-285750" algn="just">
              <a:lnSpc>
                <a:spcPct val="103000"/>
              </a:lnSpc>
              <a:spcBef>
                <a:spcPts val="735"/>
              </a:spcBef>
              <a:spcAft>
                <a:spcPts val="0"/>
              </a:spcAft>
              <a:buFont typeface="Arial" panose="020B0604020202020204" pitchFamily="34" charset="0"/>
              <a:buChar char="•"/>
              <a:tabLst>
                <a:tab pos="868045" algn="l"/>
              </a:tabLst>
            </a:pPr>
            <a:r>
              <a:rPr lang="en-US" sz="2800" dirty="0">
                <a:effectLst/>
                <a:latin typeface="Times New Roman" panose="02020603050405020304" pitchFamily="18" charset="0"/>
                <a:ea typeface="Times New Roman" panose="02020603050405020304" pitchFamily="18" charset="0"/>
              </a:rPr>
              <a:t>It is a way to calculate the value of P(B|A) with the</a:t>
            </a:r>
            <a:r>
              <a:rPr lang="en-US" sz="2800" spc="5" dirty="0">
                <a:effectLst/>
                <a:latin typeface="Times New Roman" panose="02020603050405020304" pitchFamily="18" charset="0"/>
                <a:ea typeface="Times New Roman" panose="02020603050405020304" pitchFamily="18" charset="0"/>
              </a:rPr>
              <a:t> </a:t>
            </a:r>
            <a:r>
              <a:rPr lang="en-US" sz="2800" dirty="0">
                <a:effectLst/>
                <a:latin typeface="Times New Roman" panose="02020603050405020304" pitchFamily="18" charset="0"/>
                <a:ea typeface="Times New Roman" panose="02020603050405020304" pitchFamily="18" charset="0"/>
              </a:rPr>
              <a:t>knowledge</a:t>
            </a:r>
            <a:r>
              <a:rPr lang="en-US" sz="2800" spc="-55" dirty="0">
                <a:effectLst/>
                <a:latin typeface="Times New Roman" panose="02020603050405020304" pitchFamily="18" charset="0"/>
                <a:ea typeface="Times New Roman" panose="02020603050405020304" pitchFamily="18" charset="0"/>
              </a:rPr>
              <a:t> </a:t>
            </a:r>
            <a:r>
              <a:rPr lang="en-US" sz="2800" dirty="0">
                <a:effectLst/>
                <a:latin typeface="Times New Roman" panose="02020603050405020304" pitchFamily="18" charset="0"/>
                <a:ea typeface="Times New Roman" panose="02020603050405020304" pitchFamily="18" charset="0"/>
              </a:rPr>
              <a:t>of</a:t>
            </a:r>
            <a:r>
              <a:rPr lang="en-US" sz="2800" spc="-125" dirty="0">
                <a:effectLst/>
                <a:latin typeface="Times New Roman" panose="02020603050405020304" pitchFamily="18" charset="0"/>
                <a:ea typeface="Times New Roman" panose="02020603050405020304" pitchFamily="18" charset="0"/>
              </a:rPr>
              <a:t> </a:t>
            </a:r>
            <a:r>
              <a:rPr lang="en-US" sz="2800" dirty="0">
                <a:effectLst/>
                <a:latin typeface="Times New Roman" panose="02020603050405020304" pitchFamily="18" charset="0"/>
                <a:ea typeface="Times New Roman" panose="02020603050405020304" pitchFamily="18" charset="0"/>
              </a:rPr>
              <a:t>P(A|B).</a:t>
            </a:r>
            <a:endParaRPr lang="en-IN" sz="2800" dirty="0">
              <a:effectLst/>
              <a:latin typeface="Times New Roman" panose="02020603050405020304" pitchFamily="18" charset="0"/>
              <a:ea typeface="Times New Roman" panose="02020603050405020304" pitchFamily="18" charset="0"/>
            </a:endParaRPr>
          </a:p>
          <a:p>
            <a:endParaRPr lang="en-US" dirty="0"/>
          </a:p>
        </p:txBody>
      </p:sp>
    </p:spTree>
    <p:extLst>
      <p:ext uri="{BB962C8B-B14F-4D97-AF65-F5344CB8AC3E}">
        <p14:creationId xmlns:p14="http://schemas.microsoft.com/office/powerpoint/2010/main" val="134014306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FB9E47E-2041-CC5B-0E63-329D6CA69039}"/>
              </a:ext>
            </a:extLst>
          </p:cNvPr>
          <p:cNvSpPr>
            <a:spLocks noGrp="1"/>
          </p:cNvSpPr>
          <p:nvPr>
            <p:ph idx="1"/>
          </p:nvPr>
        </p:nvSpPr>
        <p:spPr>
          <a:xfrm>
            <a:off x="357188" y="528638"/>
            <a:ext cx="10996612" cy="6329362"/>
          </a:xfrm>
        </p:spPr>
        <p:txBody>
          <a:bodyPr>
            <a:normAutofit/>
          </a:bodyPr>
          <a:lstStyle/>
          <a:p>
            <a:pPr marL="523240">
              <a:spcBef>
                <a:spcPts val="275"/>
              </a:spcBef>
              <a:spcAft>
                <a:spcPts val="0"/>
              </a:spcAft>
            </a:pPr>
            <a:r>
              <a:rPr lang="en-US" sz="2400" dirty="0">
                <a:effectLst/>
                <a:latin typeface="Times New Roman" panose="02020603050405020304" pitchFamily="18" charset="0"/>
                <a:ea typeface="Times New Roman" panose="02020603050405020304" pitchFamily="18" charset="0"/>
              </a:rPr>
              <a:t>Equating</a:t>
            </a:r>
            <a:r>
              <a:rPr lang="en-US" sz="2400" spc="-25" dirty="0">
                <a:effectLst/>
                <a:latin typeface="Times New Roman" panose="02020603050405020304" pitchFamily="18" charset="0"/>
                <a:ea typeface="Times New Roman" panose="02020603050405020304" pitchFamily="18" charset="0"/>
              </a:rPr>
              <a:t> </a:t>
            </a:r>
            <a:r>
              <a:rPr lang="en-US" sz="2400" dirty="0">
                <a:effectLst/>
                <a:latin typeface="Times New Roman" panose="02020603050405020304" pitchFamily="18" charset="0"/>
                <a:ea typeface="Times New Roman" panose="02020603050405020304" pitchFamily="18" charset="0"/>
              </a:rPr>
              <a:t>right</a:t>
            </a:r>
            <a:r>
              <a:rPr lang="en-US" sz="2400" spc="-20" dirty="0">
                <a:effectLst/>
                <a:latin typeface="Times New Roman" panose="02020603050405020304" pitchFamily="18" charset="0"/>
                <a:ea typeface="Times New Roman" panose="02020603050405020304" pitchFamily="18" charset="0"/>
              </a:rPr>
              <a:t> </a:t>
            </a:r>
            <a:r>
              <a:rPr lang="en-US" sz="2400" dirty="0">
                <a:effectLst/>
                <a:latin typeface="Times New Roman" panose="02020603050405020304" pitchFamily="18" charset="0"/>
                <a:ea typeface="Times New Roman" panose="02020603050405020304" pitchFamily="18" charset="0"/>
              </a:rPr>
              <a:t>hand</a:t>
            </a:r>
            <a:r>
              <a:rPr lang="en-US" sz="2400" spc="10" dirty="0">
                <a:effectLst/>
                <a:latin typeface="Times New Roman" panose="02020603050405020304" pitchFamily="18" charset="0"/>
                <a:ea typeface="Times New Roman" panose="02020603050405020304" pitchFamily="18" charset="0"/>
              </a:rPr>
              <a:t> </a:t>
            </a:r>
            <a:r>
              <a:rPr lang="en-US" sz="2400" dirty="0">
                <a:effectLst/>
                <a:latin typeface="Times New Roman" panose="02020603050405020304" pitchFamily="18" charset="0"/>
                <a:ea typeface="Times New Roman" panose="02020603050405020304" pitchFamily="18" charset="0"/>
              </a:rPr>
              <a:t>side</a:t>
            </a:r>
            <a:r>
              <a:rPr lang="en-US" sz="2400" spc="-45" dirty="0">
                <a:effectLst/>
                <a:latin typeface="Times New Roman" panose="02020603050405020304" pitchFamily="18" charset="0"/>
                <a:ea typeface="Times New Roman" panose="02020603050405020304" pitchFamily="18" charset="0"/>
              </a:rPr>
              <a:t> </a:t>
            </a:r>
            <a:r>
              <a:rPr lang="en-US" sz="2400" dirty="0">
                <a:effectLst/>
                <a:latin typeface="Times New Roman" panose="02020603050405020304" pitchFamily="18" charset="0"/>
                <a:ea typeface="Times New Roman" panose="02020603050405020304" pitchFamily="18" charset="0"/>
              </a:rPr>
              <a:t>of</a:t>
            </a:r>
            <a:r>
              <a:rPr lang="en-US" sz="2400" spc="-10" dirty="0">
                <a:effectLst/>
                <a:latin typeface="Times New Roman" panose="02020603050405020304" pitchFamily="18" charset="0"/>
                <a:ea typeface="Times New Roman" panose="02020603050405020304" pitchFamily="18" charset="0"/>
              </a:rPr>
              <a:t> </a:t>
            </a:r>
            <a:r>
              <a:rPr lang="en-US" sz="2400" dirty="0">
                <a:effectLst/>
                <a:latin typeface="Times New Roman" panose="02020603050405020304" pitchFamily="18" charset="0"/>
                <a:ea typeface="Times New Roman" panose="02020603050405020304" pitchFamily="18" charset="0"/>
              </a:rPr>
              <a:t>both</a:t>
            </a:r>
            <a:r>
              <a:rPr lang="en-US" sz="2400" spc="-20" dirty="0">
                <a:effectLst/>
                <a:latin typeface="Times New Roman" panose="02020603050405020304" pitchFamily="18" charset="0"/>
                <a:ea typeface="Times New Roman" panose="02020603050405020304" pitchFamily="18" charset="0"/>
              </a:rPr>
              <a:t> </a:t>
            </a:r>
            <a:r>
              <a:rPr lang="en-US" sz="2400" dirty="0">
                <a:effectLst/>
                <a:latin typeface="Times New Roman" panose="02020603050405020304" pitchFamily="18" charset="0"/>
                <a:ea typeface="Times New Roman" panose="02020603050405020304" pitchFamily="18" charset="0"/>
              </a:rPr>
              <a:t>the</a:t>
            </a:r>
            <a:r>
              <a:rPr lang="en-US" sz="2400" spc="-15" dirty="0">
                <a:effectLst/>
                <a:latin typeface="Times New Roman" panose="02020603050405020304" pitchFamily="18" charset="0"/>
                <a:ea typeface="Times New Roman" panose="02020603050405020304" pitchFamily="18" charset="0"/>
              </a:rPr>
              <a:t> </a:t>
            </a:r>
            <a:r>
              <a:rPr lang="en-US" sz="2400" dirty="0">
                <a:effectLst/>
                <a:latin typeface="Times New Roman" panose="02020603050405020304" pitchFamily="18" charset="0"/>
                <a:ea typeface="Times New Roman" panose="02020603050405020304" pitchFamily="18" charset="0"/>
              </a:rPr>
              <a:t>equations,</a:t>
            </a:r>
            <a:r>
              <a:rPr lang="en-US" sz="2400" spc="5" dirty="0">
                <a:effectLst/>
                <a:latin typeface="Times New Roman" panose="02020603050405020304" pitchFamily="18" charset="0"/>
                <a:ea typeface="Times New Roman" panose="02020603050405020304" pitchFamily="18" charset="0"/>
              </a:rPr>
              <a:t> </a:t>
            </a:r>
            <a:r>
              <a:rPr lang="en-US" sz="2400" dirty="0">
                <a:effectLst/>
                <a:latin typeface="Times New Roman" panose="02020603050405020304" pitchFamily="18" charset="0"/>
                <a:ea typeface="Times New Roman" panose="02020603050405020304" pitchFamily="18" charset="0"/>
              </a:rPr>
              <a:t>we</a:t>
            </a:r>
            <a:r>
              <a:rPr lang="en-US" sz="2400" spc="-40" dirty="0">
                <a:effectLst/>
                <a:latin typeface="Times New Roman" panose="02020603050405020304" pitchFamily="18" charset="0"/>
                <a:ea typeface="Times New Roman" panose="02020603050405020304" pitchFamily="18" charset="0"/>
              </a:rPr>
              <a:t> </a:t>
            </a:r>
            <a:r>
              <a:rPr lang="en-US" sz="2400" dirty="0">
                <a:effectLst/>
                <a:latin typeface="Times New Roman" panose="02020603050405020304" pitchFamily="18" charset="0"/>
                <a:ea typeface="Times New Roman" panose="02020603050405020304" pitchFamily="18" charset="0"/>
              </a:rPr>
              <a:t>will</a:t>
            </a:r>
            <a:r>
              <a:rPr lang="en-US" sz="2400" spc="5" dirty="0">
                <a:effectLst/>
                <a:latin typeface="Times New Roman" panose="02020603050405020304" pitchFamily="18" charset="0"/>
                <a:ea typeface="Times New Roman" panose="02020603050405020304" pitchFamily="18" charset="0"/>
              </a:rPr>
              <a:t> </a:t>
            </a:r>
            <a:r>
              <a:rPr lang="en-US" sz="2400" dirty="0">
                <a:effectLst/>
                <a:latin typeface="Times New Roman" panose="02020603050405020304" pitchFamily="18" charset="0"/>
                <a:ea typeface="Times New Roman" panose="02020603050405020304" pitchFamily="18" charset="0"/>
              </a:rPr>
              <a:t>get:</a:t>
            </a:r>
          </a:p>
          <a:p>
            <a:pPr marL="523240">
              <a:spcBef>
                <a:spcPts val="275"/>
              </a:spcBef>
              <a:spcAft>
                <a:spcPts val="0"/>
              </a:spcAft>
            </a:pPr>
            <a:endParaRPr lang="en-US" sz="2400" dirty="0">
              <a:latin typeface="Times New Roman" panose="02020603050405020304" pitchFamily="18" charset="0"/>
              <a:ea typeface="Times New Roman" panose="02020603050405020304" pitchFamily="18" charset="0"/>
            </a:endParaRPr>
          </a:p>
          <a:p>
            <a:pPr marL="523240">
              <a:spcBef>
                <a:spcPts val="275"/>
              </a:spcBef>
              <a:spcAft>
                <a:spcPts val="0"/>
              </a:spcAft>
            </a:pPr>
            <a:endParaRPr lang="en-US" sz="1800" dirty="0">
              <a:latin typeface="Times New Roman" panose="02020603050405020304" pitchFamily="18" charset="0"/>
              <a:ea typeface="Times New Roman" panose="02020603050405020304" pitchFamily="18" charset="0"/>
            </a:endParaRPr>
          </a:p>
          <a:p>
            <a:pPr marL="523240">
              <a:spcBef>
                <a:spcPts val="275"/>
              </a:spcBef>
              <a:spcAft>
                <a:spcPts val="0"/>
              </a:spcAft>
            </a:pPr>
            <a:endParaRPr lang="en-US" sz="1800" dirty="0">
              <a:latin typeface="Times New Roman" panose="02020603050405020304" pitchFamily="18" charset="0"/>
              <a:ea typeface="Times New Roman" panose="02020603050405020304" pitchFamily="18" charset="0"/>
            </a:endParaRPr>
          </a:p>
          <a:p>
            <a:pPr marL="523240">
              <a:spcBef>
                <a:spcPts val="275"/>
              </a:spcBef>
              <a:spcAft>
                <a:spcPts val="0"/>
              </a:spcAft>
            </a:pPr>
            <a:endParaRPr lang="en-US" sz="1800" dirty="0">
              <a:latin typeface="Times New Roman" panose="02020603050405020304" pitchFamily="18" charset="0"/>
              <a:ea typeface="Times New Roman" panose="02020603050405020304" pitchFamily="18" charset="0"/>
            </a:endParaRPr>
          </a:p>
          <a:p>
            <a:pPr marL="523240">
              <a:spcBef>
                <a:spcPts val="275"/>
              </a:spcBef>
              <a:spcAft>
                <a:spcPts val="0"/>
              </a:spcAft>
            </a:pPr>
            <a:endParaRPr lang="en-US" sz="1800" dirty="0">
              <a:latin typeface="Times New Roman" panose="02020603050405020304" pitchFamily="18" charset="0"/>
              <a:ea typeface="Times New Roman" panose="02020603050405020304" pitchFamily="18" charset="0"/>
            </a:endParaRPr>
          </a:p>
          <a:p>
            <a:pPr marL="523240">
              <a:spcBef>
                <a:spcPts val="275"/>
              </a:spcBef>
              <a:spcAft>
                <a:spcPts val="0"/>
              </a:spcAft>
            </a:pPr>
            <a:endParaRPr lang="en-US" sz="1800" dirty="0">
              <a:latin typeface="Times New Roman" panose="02020603050405020304" pitchFamily="18" charset="0"/>
              <a:ea typeface="Times New Roman" panose="02020603050405020304" pitchFamily="18" charset="0"/>
            </a:endParaRPr>
          </a:p>
          <a:p>
            <a:pPr marL="523240">
              <a:spcBef>
                <a:spcPts val="275"/>
              </a:spcBef>
              <a:spcAft>
                <a:spcPts val="0"/>
              </a:spcAft>
            </a:pPr>
            <a:endParaRPr lang="en-US" sz="1800" dirty="0">
              <a:latin typeface="Times New Roman" panose="02020603050405020304" pitchFamily="18" charset="0"/>
              <a:ea typeface="Times New Roman" panose="02020603050405020304" pitchFamily="18" charset="0"/>
            </a:endParaRPr>
          </a:p>
          <a:p>
            <a:pPr marL="1143000" marR="372745" lvl="2" indent="-228600" algn="just">
              <a:lnSpc>
                <a:spcPct val="103000"/>
              </a:lnSpc>
              <a:spcBef>
                <a:spcPts val="1280"/>
              </a:spcBef>
              <a:spcAft>
                <a:spcPts val="0"/>
              </a:spcAft>
              <a:buSzPts val="2500"/>
              <a:buFont typeface="Arial MT"/>
              <a:buChar char="•"/>
              <a:tabLst>
                <a:tab pos="715645" algn="l"/>
              </a:tabLst>
            </a:pPr>
            <a:r>
              <a:rPr lang="en-US" sz="2400" dirty="0">
                <a:effectLst/>
                <a:latin typeface="Times New Roman" panose="02020603050405020304" pitchFamily="18" charset="0"/>
                <a:ea typeface="Arial MT"/>
                <a:cs typeface="Arial MT"/>
              </a:rPr>
              <a:t>The above equation is called as Bayes' rule or Bayes'</a:t>
            </a:r>
            <a:r>
              <a:rPr lang="en-US" sz="2400" spc="5" dirty="0">
                <a:effectLst/>
                <a:latin typeface="Times New Roman" panose="02020603050405020304" pitchFamily="18" charset="0"/>
                <a:ea typeface="Arial MT"/>
                <a:cs typeface="Arial MT"/>
              </a:rPr>
              <a:t> </a:t>
            </a:r>
            <a:r>
              <a:rPr lang="en-US" sz="2400" dirty="0">
                <a:effectLst/>
                <a:latin typeface="Times New Roman" panose="02020603050405020304" pitchFamily="18" charset="0"/>
                <a:ea typeface="Arial MT"/>
                <a:cs typeface="Arial MT"/>
              </a:rPr>
              <a:t>theorem. This equation is basic of most </a:t>
            </a:r>
            <a:r>
              <a:rPr lang="en-US" sz="2400" dirty="0">
                <a:effectLst/>
                <a:highlight>
                  <a:srgbClr val="00FF00"/>
                </a:highlight>
                <a:latin typeface="Times New Roman" panose="02020603050405020304" pitchFamily="18" charset="0"/>
                <a:ea typeface="Arial MT"/>
                <a:cs typeface="Arial MT"/>
              </a:rPr>
              <a:t>modern AI systems</a:t>
            </a:r>
            <a:r>
              <a:rPr lang="en-US" sz="2400" spc="5" dirty="0">
                <a:effectLst/>
                <a:highlight>
                  <a:srgbClr val="00FF00"/>
                </a:highlight>
                <a:latin typeface="Times New Roman" panose="02020603050405020304" pitchFamily="18" charset="0"/>
                <a:ea typeface="Arial MT"/>
                <a:cs typeface="Arial MT"/>
              </a:rPr>
              <a:t> </a:t>
            </a:r>
            <a:r>
              <a:rPr lang="en-US" sz="2400" dirty="0">
                <a:effectLst/>
                <a:highlight>
                  <a:srgbClr val="00FF00"/>
                </a:highlight>
                <a:latin typeface="Times New Roman" panose="02020603050405020304" pitchFamily="18" charset="0"/>
                <a:ea typeface="Arial MT"/>
                <a:cs typeface="Arial MT"/>
              </a:rPr>
              <a:t>for</a:t>
            </a:r>
            <a:r>
              <a:rPr lang="en-US" sz="2400" spc="-55" dirty="0">
                <a:effectLst/>
                <a:highlight>
                  <a:srgbClr val="00FF00"/>
                </a:highlight>
                <a:latin typeface="Times New Roman" panose="02020603050405020304" pitchFamily="18" charset="0"/>
                <a:ea typeface="Arial MT"/>
                <a:cs typeface="Arial MT"/>
              </a:rPr>
              <a:t> </a:t>
            </a:r>
            <a:r>
              <a:rPr lang="en-US" sz="2400" dirty="0">
                <a:effectLst/>
                <a:highlight>
                  <a:srgbClr val="00FF00"/>
                </a:highlight>
                <a:latin typeface="Times New Roman" panose="02020603050405020304" pitchFamily="18" charset="0"/>
                <a:ea typeface="Arial MT"/>
                <a:cs typeface="Arial MT"/>
              </a:rPr>
              <a:t>probabilistic</a:t>
            </a:r>
            <a:r>
              <a:rPr lang="en-US" sz="2400" spc="25" dirty="0">
                <a:effectLst/>
                <a:highlight>
                  <a:srgbClr val="00FF00"/>
                </a:highlight>
                <a:latin typeface="Times New Roman" panose="02020603050405020304" pitchFamily="18" charset="0"/>
                <a:ea typeface="Arial MT"/>
                <a:cs typeface="Arial MT"/>
              </a:rPr>
              <a:t> </a:t>
            </a:r>
            <a:r>
              <a:rPr lang="en-US" sz="2400" dirty="0">
                <a:effectLst/>
                <a:highlight>
                  <a:srgbClr val="00FF00"/>
                </a:highlight>
                <a:latin typeface="Times New Roman" panose="02020603050405020304" pitchFamily="18" charset="0"/>
                <a:ea typeface="Arial MT"/>
                <a:cs typeface="Arial MT"/>
              </a:rPr>
              <a:t>inference</a:t>
            </a:r>
            <a:r>
              <a:rPr lang="en-US" sz="2400" dirty="0">
                <a:effectLst/>
                <a:latin typeface="Times New Roman" panose="02020603050405020304" pitchFamily="18" charset="0"/>
                <a:ea typeface="Arial MT"/>
                <a:cs typeface="Arial MT"/>
              </a:rPr>
              <a:t>.</a:t>
            </a:r>
            <a:endParaRPr lang="en-IN" sz="2400" dirty="0">
              <a:effectLst/>
              <a:latin typeface="Times New Roman" panose="02020603050405020304" pitchFamily="18" charset="0"/>
              <a:ea typeface="Arial MT"/>
              <a:cs typeface="Arial MT"/>
            </a:endParaRPr>
          </a:p>
          <a:p>
            <a:pPr marL="1143000" marR="372745" lvl="2" indent="-228600" algn="just">
              <a:lnSpc>
                <a:spcPct val="103000"/>
              </a:lnSpc>
              <a:spcBef>
                <a:spcPts val="25"/>
              </a:spcBef>
              <a:spcAft>
                <a:spcPts val="0"/>
              </a:spcAft>
              <a:buSzPts val="2500"/>
              <a:buFont typeface="Arial MT"/>
              <a:buChar char="•"/>
              <a:tabLst>
                <a:tab pos="715645" algn="l"/>
              </a:tabLst>
            </a:pPr>
            <a:r>
              <a:rPr lang="en-US" sz="2400" dirty="0">
                <a:effectLst/>
                <a:latin typeface="Times New Roman" panose="02020603050405020304" pitchFamily="18" charset="0"/>
                <a:ea typeface="Arial MT"/>
                <a:cs typeface="Arial MT"/>
              </a:rPr>
              <a:t>It</a:t>
            </a:r>
            <a:r>
              <a:rPr lang="en-US" sz="2400" spc="5" dirty="0">
                <a:effectLst/>
                <a:latin typeface="Times New Roman" panose="02020603050405020304" pitchFamily="18" charset="0"/>
                <a:ea typeface="Arial MT"/>
                <a:cs typeface="Arial MT"/>
              </a:rPr>
              <a:t> </a:t>
            </a:r>
            <a:r>
              <a:rPr lang="en-US" sz="2400" dirty="0">
                <a:effectLst/>
                <a:latin typeface="Times New Roman" panose="02020603050405020304" pitchFamily="18" charset="0"/>
                <a:ea typeface="Arial MT"/>
                <a:cs typeface="Arial MT"/>
              </a:rPr>
              <a:t>shows</a:t>
            </a:r>
            <a:r>
              <a:rPr lang="en-US" sz="2400" spc="5" dirty="0">
                <a:effectLst/>
                <a:latin typeface="Times New Roman" panose="02020603050405020304" pitchFamily="18" charset="0"/>
                <a:ea typeface="Arial MT"/>
                <a:cs typeface="Arial MT"/>
              </a:rPr>
              <a:t> </a:t>
            </a:r>
            <a:r>
              <a:rPr lang="en-US" sz="2400" dirty="0">
                <a:effectLst/>
                <a:latin typeface="Times New Roman" panose="02020603050405020304" pitchFamily="18" charset="0"/>
                <a:ea typeface="Arial MT"/>
                <a:cs typeface="Arial MT"/>
              </a:rPr>
              <a:t>the</a:t>
            </a:r>
            <a:r>
              <a:rPr lang="en-US" sz="2400" spc="5" dirty="0">
                <a:effectLst/>
                <a:latin typeface="Times New Roman" panose="02020603050405020304" pitchFamily="18" charset="0"/>
                <a:ea typeface="Arial MT"/>
                <a:cs typeface="Arial MT"/>
              </a:rPr>
              <a:t> </a:t>
            </a:r>
            <a:r>
              <a:rPr lang="en-US" sz="2400" dirty="0">
                <a:effectLst/>
                <a:latin typeface="Times New Roman" panose="02020603050405020304" pitchFamily="18" charset="0"/>
                <a:ea typeface="Arial MT"/>
                <a:cs typeface="Arial MT"/>
              </a:rPr>
              <a:t>simple</a:t>
            </a:r>
            <a:r>
              <a:rPr lang="en-US" sz="2400" spc="5" dirty="0">
                <a:effectLst/>
                <a:latin typeface="Times New Roman" panose="02020603050405020304" pitchFamily="18" charset="0"/>
                <a:ea typeface="Arial MT"/>
                <a:cs typeface="Arial MT"/>
              </a:rPr>
              <a:t> </a:t>
            </a:r>
            <a:r>
              <a:rPr lang="en-US" sz="2400" dirty="0">
                <a:effectLst/>
                <a:latin typeface="Times New Roman" panose="02020603050405020304" pitchFamily="18" charset="0"/>
                <a:ea typeface="Arial MT"/>
                <a:cs typeface="Arial MT"/>
              </a:rPr>
              <a:t>relationship</a:t>
            </a:r>
            <a:r>
              <a:rPr lang="en-US" sz="2400" spc="5" dirty="0">
                <a:effectLst/>
                <a:latin typeface="Times New Roman" panose="02020603050405020304" pitchFamily="18" charset="0"/>
                <a:ea typeface="Arial MT"/>
                <a:cs typeface="Arial MT"/>
              </a:rPr>
              <a:t> </a:t>
            </a:r>
            <a:r>
              <a:rPr lang="en-US" sz="2400" dirty="0">
                <a:effectLst/>
                <a:latin typeface="Times New Roman" panose="02020603050405020304" pitchFamily="18" charset="0"/>
                <a:ea typeface="Arial MT"/>
                <a:cs typeface="Arial MT"/>
              </a:rPr>
              <a:t>between</a:t>
            </a:r>
            <a:r>
              <a:rPr lang="en-US" sz="2400" spc="5" dirty="0">
                <a:effectLst/>
                <a:latin typeface="Times New Roman" panose="02020603050405020304" pitchFamily="18" charset="0"/>
                <a:ea typeface="Arial MT"/>
                <a:cs typeface="Arial MT"/>
              </a:rPr>
              <a:t> </a:t>
            </a:r>
            <a:r>
              <a:rPr lang="en-US" sz="2400" dirty="0">
                <a:effectLst/>
                <a:latin typeface="Times New Roman" panose="02020603050405020304" pitchFamily="18" charset="0"/>
                <a:ea typeface="Arial MT"/>
                <a:cs typeface="Arial MT"/>
              </a:rPr>
              <a:t>joint</a:t>
            </a:r>
            <a:r>
              <a:rPr lang="en-US" sz="2400" spc="5" dirty="0">
                <a:effectLst/>
                <a:latin typeface="Times New Roman" panose="02020603050405020304" pitchFamily="18" charset="0"/>
                <a:ea typeface="Arial MT"/>
                <a:cs typeface="Arial MT"/>
              </a:rPr>
              <a:t> </a:t>
            </a:r>
            <a:r>
              <a:rPr lang="en-US" sz="2400" dirty="0">
                <a:effectLst/>
                <a:latin typeface="Times New Roman" panose="02020603050405020304" pitchFamily="18" charset="0"/>
                <a:ea typeface="Arial MT"/>
                <a:cs typeface="Arial MT"/>
              </a:rPr>
              <a:t>and</a:t>
            </a:r>
            <a:r>
              <a:rPr lang="en-US" sz="2400" spc="-635" dirty="0">
                <a:effectLst/>
                <a:latin typeface="Times New Roman" panose="02020603050405020304" pitchFamily="18" charset="0"/>
                <a:ea typeface="Arial MT"/>
                <a:cs typeface="Arial MT"/>
              </a:rPr>
              <a:t> </a:t>
            </a:r>
            <a:r>
              <a:rPr lang="en-US" sz="2400" dirty="0">
                <a:effectLst/>
                <a:latin typeface="Times New Roman" panose="02020603050405020304" pitchFamily="18" charset="0"/>
                <a:ea typeface="Arial MT"/>
                <a:cs typeface="Arial MT"/>
              </a:rPr>
              <a:t>conditional</a:t>
            </a:r>
            <a:r>
              <a:rPr lang="en-US" sz="2400" spc="20" dirty="0">
                <a:effectLst/>
                <a:latin typeface="Times New Roman" panose="02020603050405020304" pitchFamily="18" charset="0"/>
                <a:ea typeface="Arial MT"/>
                <a:cs typeface="Arial MT"/>
              </a:rPr>
              <a:t> </a:t>
            </a:r>
            <a:r>
              <a:rPr lang="en-US" sz="2400" dirty="0">
                <a:effectLst/>
                <a:latin typeface="Times New Roman" panose="02020603050405020304" pitchFamily="18" charset="0"/>
                <a:ea typeface="Arial MT"/>
                <a:cs typeface="Arial MT"/>
              </a:rPr>
              <a:t>probabilities.</a:t>
            </a:r>
            <a:r>
              <a:rPr lang="en-US" sz="2400" spc="-5" dirty="0">
                <a:effectLst/>
                <a:latin typeface="Times New Roman" panose="02020603050405020304" pitchFamily="18" charset="0"/>
                <a:ea typeface="Arial MT"/>
                <a:cs typeface="Arial MT"/>
              </a:rPr>
              <a:t> </a:t>
            </a:r>
            <a:r>
              <a:rPr lang="en-US" sz="2400" dirty="0">
                <a:effectLst/>
                <a:latin typeface="Times New Roman" panose="02020603050405020304" pitchFamily="18" charset="0"/>
                <a:ea typeface="Arial MT"/>
                <a:cs typeface="Arial MT"/>
              </a:rPr>
              <a:t>Here,</a:t>
            </a:r>
            <a:endParaRPr lang="en-IN" sz="2400" dirty="0">
              <a:effectLst/>
              <a:latin typeface="Times New Roman" panose="02020603050405020304" pitchFamily="18" charset="0"/>
              <a:ea typeface="Arial MT"/>
              <a:cs typeface="Arial MT"/>
            </a:endParaRPr>
          </a:p>
          <a:p>
            <a:pPr marL="1143000" marR="349250" lvl="2" indent="-228600" algn="just">
              <a:lnSpc>
                <a:spcPct val="103000"/>
              </a:lnSpc>
              <a:spcBef>
                <a:spcPts val="15"/>
              </a:spcBef>
              <a:spcAft>
                <a:spcPts val="0"/>
              </a:spcAft>
              <a:buSzPts val="2500"/>
              <a:buFont typeface="Arial MT"/>
              <a:buChar char="•"/>
              <a:tabLst>
                <a:tab pos="715645" algn="l"/>
              </a:tabLst>
            </a:pPr>
            <a:r>
              <a:rPr lang="en-US" sz="2400" dirty="0">
                <a:effectLst/>
                <a:highlight>
                  <a:srgbClr val="00FF00"/>
                </a:highlight>
                <a:latin typeface="Times New Roman" panose="02020603050405020304" pitchFamily="18" charset="0"/>
                <a:ea typeface="Arial MT"/>
                <a:cs typeface="Arial MT"/>
              </a:rPr>
              <a:t>P(A|B) is known as posterior</a:t>
            </a:r>
            <a:r>
              <a:rPr lang="en-US" sz="2400" dirty="0">
                <a:effectLst/>
                <a:latin typeface="Times New Roman" panose="02020603050405020304" pitchFamily="18" charset="0"/>
                <a:ea typeface="Arial MT"/>
                <a:cs typeface="Arial MT"/>
              </a:rPr>
              <a:t>, which we need to</a:t>
            </a:r>
            <a:r>
              <a:rPr lang="en-US" sz="2400" spc="5" dirty="0">
                <a:effectLst/>
                <a:latin typeface="Times New Roman" panose="02020603050405020304" pitchFamily="18" charset="0"/>
                <a:ea typeface="Arial MT"/>
                <a:cs typeface="Arial MT"/>
              </a:rPr>
              <a:t> </a:t>
            </a:r>
            <a:r>
              <a:rPr lang="en-US" sz="2400" dirty="0">
                <a:effectLst/>
                <a:latin typeface="Times New Roman" panose="02020603050405020304" pitchFamily="18" charset="0"/>
                <a:ea typeface="Arial MT"/>
                <a:cs typeface="Arial MT"/>
              </a:rPr>
              <a:t>calculate,</a:t>
            </a:r>
            <a:r>
              <a:rPr lang="en-US" sz="2400" spc="5" dirty="0">
                <a:effectLst/>
                <a:latin typeface="Times New Roman" panose="02020603050405020304" pitchFamily="18" charset="0"/>
                <a:ea typeface="Arial MT"/>
                <a:cs typeface="Arial MT"/>
              </a:rPr>
              <a:t> </a:t>
            </a:r>
            <a:r>
              <a:rPr lang="en-US" sz="2400" dirty="0">
                <a:effectLst/>
                <a:latin typeface="Times New Roman" panose="02020603050405020304" pitchFamily="18" charset="0"/>
                <a:ea typeface="Arial MT"/>
                <a:cs typeface="Arial MT"/>
              </a:rPr>
              <a:t>and it will be read as Probability of hypothesis A</a:t>
            </a:r>
            <a:r>
              <a:rPr lang="en-US" sz="2400" spc="5" dirty="0">
                <a:effectLst/>
                <a:latin typeface="Times New Roman" panose="02020603050405020304" pitchFamily="18" charset="0"/>
                <a:ea typeface="Arial MT"/>
                <a:cs typeface="Arial MT"/>
              </a:rPr>
              <a:t> </a:t>
            </a:r>
            <a:r>
              <a:rPr lang="en-US" sz="2400" dirty="0">
                <a:effectLst/>
                <a:latin typeface="Times New Roman" panose="02020603050405020304" pitchFamily="18" charset="0"/>
                <a:ea typeface="Arial MT"/>
                <a:cs typeface="Arial MT"/>
              </a:rPr>
              <a:t>when we</a:t>
            </a:r>
            <a:r>
              <a:rPr lang="en-US" sz="2400" spc="5" dirty="0">
                <a:effectLst/>
                <a:latin typeface="Times New Roman" panose="02020603050405020304" pitchFamily="18" charset="0"/>
                <a:ea typeface="Arial MT"/>
                <a:cs typeface="Arial MT"/>
              </a:rPr>
              <a:t> </a:t>
            </a:r>
            <a:r>
              <a:rPr lang="en-US" sz="2400" dirty="0">
                <a:effectLst/>
                <a:latin typeface="Times New Roman" panose="02020603050405020304" pitchFamily="18" charset="0"/>
                <a:ea typeface="Arial MT"/>
                <a:cs typeface="Arial MT"/>
              </a:rPr>
              <a:t>have</a:t>
            </a:r>
            <a:r>
              <a:rPr lang="en-US" sz="2400" spc="-35" dirty="0">
                <a:effectLst/>
                <a:latin typeface="Times New Roman" panose="02020603050405020304" pitchFamily="18" charset="0"/>
                <a:ea typeface="Arial MT"/>
                <a:cs typeface="Arial MT"/>
              </a:rPr>
              <a:t> </a:t>
            </a:r>
            <a:r>
              <a:rPr lang="en-US" sz="2400" dirty="0">
                <a:effectLst/>
                <a:latin typeface="Times New Roman" panose="02020603050405020304" pitchFamily="18" charset="0"/>
                <a:ea typeface="Arial MT"/>
                <a:cs typeface="Arial MT"/>
              </a:rPr>
              <a:t>occurred</a:t>
            </a:r>
            <a:r>
              <a:rPr lang="en-US" sz="2400" spc="-25" dirty="0">
                <a:effectLst/>
                <a:latin typeface="Times New Roman" panose="02020603050405020304" pitchFamily="18" charset="0"/>
                <a:ea typeface="Arial MT"/>
                <a:cs typeface="Arial MT"/>
              </a:rPr>
              <a:t> </a:t>
            </a:r>
            <a:r>
              <a:rPr lang="en-US" sz="2400" dirty="0">
                <a:effectLst/>
                <a:latin typeface="Times New Roman" panose="02020603050405020304" pitchFamily="18" charset="0"/>
                <a:ea typeface="Arial MT"/>
                <a:cs typeface="Arial MT"/>
              </a:rPr>
              <a:t>an</a:t>
            </a:r>
            <a:r>
              <a:rPr lang="en-US" sz="2400" spc="-5" dirty="0">
                <a:effectLst/>
                <a:latin typeface="Times New Roman" panose="02020603050405020304" pitchFamily="18" charset="0"/>
                <a:ea typeface="Arial MT"/>
                <a:cs typeface="Arial MT"/>
              </a:rPr>
              <a:t> </a:t>
            </a:r>
            <a:r>
              <a:rPr lang="en-US" sz="2400" dirty="0">
                <a:effectLst/>
                <a:latin typeface="Times New Roman" panose="02020603050405020304" pitchFamily="18" charset="0"/>
                <a:ea typeface="Arial MT"/>
                <a:cs typeface="Arial MT"/>
              </a:rPr>
              <a:t>evidence</a:t>
            </a:r>
            <a:r>
              <a:rPr lang="en-US" sz="2400" spc="-30" dirty="0">
                <a:effectLst/>
                <a:latin typeface="Times New Roman" panose="02020603050405020304" pitchFamily="18" charset="0"/>
                <a:ea typeface="Arial MT"/>
                <a:cs typeface="Arial MT"/>
              </a:rPr>
              <a:t> </a:t>
            </a:r>
            <a:r>
              <a:rPr lang="en-US" sz="2400" dirty="0">
                <a:effectLst/>
                <a:latin typeface="Times New Roman" panose="02020603050405020304" pitchFamily="18" charset="0"/>
                <a:ea typeface="Arial MT"/>
                <a:cs typeface="Arial MT"/>
              </a:rPr>
              <a:t>B.</a:t>
            </a:r>
            <a:endParaRPr lang="en-IN" sz="2400" dirty="0">
              <a:effectLst/>
              <a:latin typeface="Times New Roman" panose="02020603050405020304" pitchFamily="18" charset="0"/>
              <a:ea typeface="Arial MT"/>
              <a:cs typeface="Arial MT"/>
            </a:endParaRPr>
          </a:p>
          <a:p>
            <a:pPr marL="1143000" marR="372745" lvl="2" indent="-228600" algn="just">
              <a:lnSpc>
                <a:spcPct val="103000"/>
              </a:lnSpc>
              <a:spcBef>
                <a:spcPts val="25"/>
              </a:spcBef>
              <a:spcAft>
                <a:spcPts val="0"/>
              </a:spcAft>
              <a:buSzPts val="2500"/>
              <a:buFont typeface="Arial MT"/>
              <a:buChar char="•"/>
              <a:tabLst>
                <a:tab pos="715645" algn="l"/>
              </a:tabLst>
            </a:pPr>
            <a:r>
              <a:rPr lang="en-US" sz="2400" dirty="0">
                <a:effectLst/>
                <a:highlight>
                  <a:srgbClr val="00FF00"/>
                </a:highlight>
                <a:latin typeface="Times New Roman" panose="02020603050405020304" pitchFamily="18" charset="0"/>
                <a:ea typeface="Arial MT"/>
                <a:cs typeface="Arial MT"/>
              </a:rPr>
              <a:t>P(B|A) is called the likelihood</a:t>
            </a:r>
            <a:r>
              <a:rPr lang="en-US" sz="2400" dirty="0">
                <a:effectLst/>
                <a:latin typeface="Times New Roman" panose="02020603050405020304" pitchFamily="18" charset="0"/>
                <a:ea typeface="Arial MT"/>
                <a:cs typeface="Arial MT"/>
              </a:rPr>
              <a:t>, in which we consider that</a:t>
            </a:r>
            <a:r>
              <a:rPr lang="en-US" sz="2400" spc="5" dirty="0">
                <a:effectLst/>
                <a:latin typeface="Times New Roman" panose="02020603050405020304" pitchFamily="18" charset="0"/>
                <a:ea typeface="Arial MT"/>
                <a:cs typeface="Arial MT"/>
              </a:rPr>
              <a:t> </a:t>
            </a:r>
            <a:r>
              <a:rPr lang="en-US" sz="2400" dirty="0">
                <a:effectLst/>
                <a:latin typeface="Times New Roman" panose="02020603050405020304" pitchFamily="18" charset="0"/>
                <a:ea typeface="Arial MT"/>
                <a:cs typeface="Arial MT"/>
              </a:rPr>
              <a:t>hypothesis</a:t>
            </a:r>
            <a:r>
              <a:rPr lang="en-US" sz="2400" spc="5" dirty="0">
                <a:effectLst/>
                <a:latin typeface="Times New Roman" panose="02020603050405020304" pitchFamily="18" charset="0"/>
                <a:ea typeface="Arial MT"/>
                <a:cs typeface="Arial MT"/>
              </a:rPr>
              <a:t> </a:t>
            </a:r>
            <a:r>
              <a:rPr lang="en-US" sz="2400" dirty="0">
                <a:effectLst/>
                <a:latin typeface="Times New Roman" panose="02020603050405020304" pitchFamily="18" charset="0"/>
                <a:ea typeface="Arial MT"/>
                <a:cs typeface="Arial MT"/>
              </a:rPr>
              <a:t>is</a:t>
            </a:r>
            <a:r>
              <a:rPr lang="en-US" sz="2400" spc="5" dirty="0">
                <a:effectLst/>
                <a:latin typeface="Times New Roman" panose="02020603050405020304" pitchFamily="18" charset="0"/>
                <a:ea typeface="Arial MT"/>
                <a:cs typeface="Arial MT"/>
              </a:rPr>
              <a:t> </a:t>
            </a:r>
            <a:r>
              <a:rPr lang="en-US" sz="2400" dirty="0">
                <a:effectLst/>
                <a:latin typeface="Times New Roman" panose="02020603050405020304" pitchFamily="18" charset="0"/>
                <a:ea typeface="Arial MT"/>
                <a:cs typeface="Arial MT"/>
              </a:rPr>
              <a:t>true,</a:t>
            </a:r>
            <a:r>
              <a:rPr lang="en-US" sz="2400" spc="5" dirty="0">
                <a:effectLst/>
                <a:latin typeface="Times New Roman" panose="02020603050405020304" pitchFamily="18" charset="0"/>
                <a:ea typeface="Arial MT"/>
                <a:cs typeface="Arial MT"/>
              </a:rPr>
              <a:t> </a:t>
            </a:r>
            <a:r>
              <a:rPr lang="en-US" sz="2400" dirty="0">
                <a:effectLst/>
                <a:latin typeface="Times New Roman" panose="02020603050405020304" pitchFamily="18" charset="0"/>
                <a:ea typeface="Arial MT"/>
                <a:cs typeface="Arial MT"/>
              </a:rPr>
              <a:t>then</a:t>
            </a:r>
            <a:r>
              <a:rPr lang="en-US" sz="2400" spc="5" dirty="0">
                <a:effectLst/>
                <a:latin typeface="Times New Roman" panose="02020603050405020304" pitchFamily="18" charset="0"/>
                <a:ea typeface="Arial MT"/>
                <a:cs typeface="Arial MT"/>
              </a:rPr>
              <a:t> </a:t>
            </a:r>
            <a:r>
              <a:rPr lang="en-US" sz="2400" dirty="0">
                <a:effectLst/>
                <a:latin typeface="Times New Roman" panose="02020603050405020304" pitchFamily="18" charset="0"/>
                <a:ea typeface="Arial MT"/>
                <a:cs typeface="Arial MT"/>
              </a:rPr>
              <a:t>we</a:t>
            </a:r>
            <a:r>
              <a:rPr lang="en-US" sz="2400" spc="5" dirty="0">
                <a:effectLst/>
                <a:latin typeface="Times New Roman" panose="02020603050405020304" pitchFamily="18" charset="0"/>
                <a:ea typeface="Arial MT"/>
                <a:cs typeface="Arial MT"/>
              </a:rPr>
              <a:t> </a:t>
            </a:r>
            <a:r>
              <a:rPr lang="en-US" sz="2400" dirty="0">
                <a:effectLst/>
                <a:latin typeface="Times New Roman" panose="02020603050405020304" pitchFamily="18" charset="0"/>
                <a:ea typeface="Arial MT"/>
                <a:cs typeface="Arial MT"/>
              </a:rPr>
              <a:t>calculate</a:t>
            </a:r>
            <a:r>
              <a:rPr lang="en-US" sz="2400" spc="5" dirty="0">
                <a:effectLst/>
                <a:latin typeface="Times New Roman" panose="02020603050405020304" pitchFamily="18" charset="0"/>
                <a:ea typeface="Arial MT"/>
                <a:cs typeface="Arial MT"/>
              </a:rPr>
              <a:t> </a:t>
            </a:r>
            <a:r>
              <a:rPr lang="en-US" sz="2400" dirty="0">
                <a:effectLst/>
                <a:latin typeface="Times New Roman" panose="02020603050405020304" pitchFamily="18" charset="0"/>
                <a:ea typeface="Arial MT"/>
                <a:cs typeface="Arial MT"/>
              </a:rPr>
              <a:t>the</a:t>
            </a:r>
            <a:r>
              <a:rPr lang="en-US" sz="2400" spc="5" dirty="0">
                <a:effectLst/>
                <a:latin typeface="Times New Roman" panose="02020603050405020304" pitchFamily="18" charset="0"/>
                <a:ea typeface="Arial MT"/>
                <a:cs typeface="Arial MT"/>
              </a:rPr>
              <a:t> </a:t>
            </a:r>
            <a:r>
              <a:rPr lang="en-US" sz="2400" dirty="0">
                <a:effectLst/>
                <a:latin typeface="Times New Roman" panose="02020603050405020304" pitchFamily="18" charset="0"/>
                <a:ea typeface="Arial MT"/>
                <a:cs typeface="Arial MT"/>
              </a:rPr>
              <a:t>probability</a:t>
            </a:r>
            <a:r>
              <a:rPr lang="en-US" sz="2400" spc="5" dirty="0">
                <a:effectLst/>
                <a:latin typeface="Times New Roman" panose="02020603050405020304" pitchFamily="18" charset="0"/>
                <a:ea typeface="Arial MT"/>
                <a:cs typeface="Arial MT"/>
              </a:rPr>
              <a:t> </a:t>
            </a:r>
            <a:r>
              <a:rPr lang="en-US" sz="2400" dirty="0">
                <a:effectLst/>
                <a:latin typeface="Times New Roman" panose="02020603050405020304" pitchFamily="18" charset="0"/>
                <a:ea typeface="Arial MT"/>
                <a:cs typeface="Arial MT"/>
              </a:rPr>
              <a:t>of</a:t>
            </a:r>
            <a:r>
              <a:rPr lang="en-US" sz="2400" spc="5" dirty="0">
                <a:effectLst/>
                <a:latin typeface="Times New Roman" panose="02020603050405020304" pitchFamily="18" charset="0"/>
                <a:ea typeface="Arial MT"/>
                <a:cs typeface="Arial MT"/>
              </a:rPr>
              <a:t> </a:t>
            </a:r>
            <a:r>
              <a:rPr lang="en-US" sz="2400" dirty="0">
                <a:effectLst/>
                <a:latin typeface="Times New Roman" panose="02020603050405020304" pitchFamily="18" charset="0"/>
                <a:ea typeface="Arial MT"/>
                <a:cs typeface="Arial MT"/>
              </a:rPr>
              <a:t>evidence.</a:t>
            </a:r>
          </a:p>
          <a:p>
            <a:pPr marL="1143000" marR="372745" lvl="2" indent="-228600" algn="just">
              <a:lnSpc>
                <a:spcPct val="103000"/>
              </a:lnSpc>
              <a:spcBef>
                <a:spcPts val="25"/>
              </a:spcBef>
              <a:spcAft>
                <a:spcPts val="0"/>
              </a:spcAft>
              <a:buSzPts val="2500"/>
              <a:buFont typeface="Arial MT"/>
              <a:buChar char="•"/>
              <a:tabLst>
                <a:tab pos="715645" algn="l"/>
              </a:tabLst>
            </a:pPr>
            <a:endParaRPr lang="en-IN" sz="2400" dirty="0">
              <a:effectLst/>
              <a:latin typeface="Times New Roman" panose="02020603050405020304" pitchFamily="18" charset="0"/>
              <a:ea typeface="Arial MT"/>
              <a:cs typeface="Arial MT"/>
            </a:endParaRPr>
          </a:p>
          <a:p>
            <a:pPr marL="523240">
              <a:spcBef>
                <a:spcPts val="275"/>
              </a:spcBef>
              <a:spcAft>
                <a:spcPts val="0"/>
              </a:spcAft>
            </a:pPr>
            <a:endParaRPr lang="en-US" sz="2400" dirty="0">
              <a:latin typeface="Times New Roman" panose="02020603050405020304" pitchFamily="18" charset="0"/>
              <a:ea typeface="Times New Roman" panose="02020603050405020304" pitchFamily="18" charset="0"/>
            </a:endParaRPr>
          </a:p>
          <a:p>
            <a:pPr marL="523240">
              <a:spcBef>
                <a:spcPts val="275"/>
              </a:spcBef>
              <a:spcAft>
                <a:spcPts val="0"/>
              </a:spcAft>
            </a:pPr>
            <a:endParaRPr lang="en-IN" sz="2400" dirty="0">
              <a:effectLst/>
              <a:latin typeface="Times New Roman" panose="02020603050405020304" pitchFamily="18" charset="0"/>
              <a:ea typeface="Times New Roman" panose="02020603050405020304" pitchFamily="18" charset="0"/>
            </a:endParaRPr>
          </a:p>
          <a:p>
            <a:pPr marL="0" indent="0">
              <a:buNone/>
            </a:pPr>
            <a:endParaRPr lang="en-IN" sz="1800" dirty="0">
              <a:effectLst/>
              <a:latin typeface="Times New Roman" panose="02020603050405020304" pitchFamily="18" charset="0"/>
              <a:ea typeface="Times New Roman" panose="02020603050405020304" pitchFamily="18" charset="0"/>
            </a:endParaRPr>
          </a:p>
        </p:txBody>
      </p:sp>
      <p:pic>
        <p:nvPicPr>
          <p:cNvPr id="7" name="Picture 6">
            <a:extLst>
              <a:ext uri="{FF2B5EF4-FFF2-40B4-BE49-F238E27FC236}">
                <a16:creationId xmlns:a16="http://schemas.microsoft.com/office/drawing/2014/main" id="{705CD45D-C157-06E2-ECDC-98CCF8B29E9E}"/>
              </a:ext>
            </a:extLst>
          </p:cNvPr>
          <p:cNvPicPr>
            <a:picLocks noChangeAspect="1"/>
          </p:cNvPicPr>
          <p:nvPr/>
        </p:nvPicPr>
        <p:blipFill>
          <a:blip r:embed="rId2"/>
          <a:stretch>
            <a:fillRect/>
          </a:stretch>
        </p:blipFill>
        <p:spPr>
          <a:xfrm>
            <a:off x="2398711" y="1277936"/>
            <a:ext cx="5442581" cy="1440211"/>
          </a:xfrm>
          <a:prstGeom prst="rect">
            <a:avLst/>
          </a:prstGeom>
        </p:spPr>
      </p:pic>
    </p:spTree>
    <p:extLst>
      <p:ext uri="{BB962C8B-B14F-4D97-AF65-F5344CB8AC3E}">
        <p14:creationId xmlns:p14="http://schemas.microsoft.com/office/powerpoint/2010/main" val="303082627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97EA326A-FE4E-82A1-88FC-8D443006337A}"/>
              </a:ext>
            </a:extLst>
          </p:cNvPr>
          <p:cNvSpPr>
            <a:spLocks noGrp="1"/>
          </p:cNvSpPr>
          <p:nvPr>
            <p:ph idx="1"/>
          </p:nvPr>
        </p:nvSpPr>
        <p:spPr>
          <a:xfrm>
            <a:off x="214313" y="414338"/>
            <a:ext cx="11139487" cy="5762626"/>
          </a:xfrm>
        </p:spPr>
        <p:txBody>
          <a:bodyPr/>
          <a:lstStyle/>
          <a:p>
            <a:pPr marL="523240" algn="just">
              <a:spcBef>
                <a:spcPts val="265"/>
              </a:spcBef>
            </a:pPr>
            <a:r>
              <a:rPr lang="en-US" sz="2400" b="1" dirty="0">
                <a:effectLst/>
                <a:latin typeface="Times New Roman" panose="02020603050405020304" pitchFamily="18" charset="0"/>
                <a:ea typeface="Times New Roman" panose="02020603050405020304" pitchFamily="18" charset="0"/>
              </a:rPr>
              <a:t>Applying</a:t>
            </a:r>
            <a:r>
              <a:rPr lang="en-US" sz="2400" b="1" spc="-50" dirty="0">
                <a:effectLst/>
                <a:latin typeface="Times New Roman" panose="02020603050405020304" pitchFamily="18" charset="0"/>
                <a:ea typeface="Times New Roman" panose="02020603050405020304" pitchFamily="18" charset="0"/>
              </a:rPr>
              <a:t> </a:t>
            </a:r>
            <a:r>
              <a:rPr lang="en-US" sz="2400" b="1" dirty="0">
                <a:effectLst/>
                <a:latin typeface="Times New Roman" panose="02020603050405020304" pitchFamily="18" charset="0"/>
                <a:ea typeface="Times New Roman" panose="02020603050405020304" pitchFamily="18" charset="0"/>
              </a:rPr>
              <a:t>Bayes'</a:t>
            </a:r>
            <a:r>
              <a:rPr lang="en-US" sz="2400" b="1" spc="-60" dirty="0">
                <a:effectLst/>
                <a:latin typeface="Times New Roman" panose="02020603050405020304" pitchFamily="18" charset="0"/>
                <a:ea typeface="Times New Roman" panose="02020603050405020304" pitchFamily="18" charset="0"/>
              </a:rPr>
              <a:t> </a:t>
            </a:r>
            <a:r>
              <a:rPr lang="en-US" sz="2400" b="1" dirty="0">
                <a:effectLst/>
                <a:latin typeface="Times New Roman" panose="02020603050405020304" pitchFamily="18" charset="0"/>
                <a:ea typeface="Times New Roman" panose="02020603050405020304" pitchFamily="18" charset="0"/>
              </a:rPr>
              <a:t>Rule:</a:t>
            </a:r>
            <a:endParaRPr lang="en-IN" sz="2400" b="1" dirty="0">
              <a:effectLst/>
              <a:latin typeface="Times New Roman" panose="02020603050405020304" pitchFamily="18" charset="0"/>
              <a:ea typeface="Times New Roman" panose="02020603050405020304" pitchFamily="18" charset="0"/>
            </a:endParaRPr>
          </a:p>
          <a:p>
            <a:pPr marL="867410" marR="363855" indent="570230" algn="just">
              <a:lnSpc>
                <a:spcPct val="103000"/>
              </a:lnSpc>
              <a:spcBef>
                <a:spcPts val="955"/>
              </a:spcBef>
              <a:spcAft>
                <a:spcPts val="0"/>
              </a:spcAft>
            </a:pPr>
            <a:r>
              <a:rPr lang="en-US" sz="2400" dirty="0">
                <a:effectLst/>
                <a:latin typeface="Times New Roman" panose="02020603050405020304" pitchFamily="18" charset="0"/>
                <a:ea typeface="Times New Roman" panose="02020603050405020304" pitchFamily="18" charset="0"/>
              </a:rPr>
              <a:t>Bayes' rule allows us to compute the single</a:t>
            </a:r>
            <a:r>
              <a:rPr lang="en-US" sz="2400" spc="5" dirty="0">
                <a:effectLst/>
                <a:latin typeface="Times New Roman" panose="02020603050405020304" pitchFamily="18" charset="0"/>
                <a:ea typeface="Times New Roman" panose="02020603050405020304" pitchFamily="18" charset="0"/>
              </a:rPr>
              <a:t> </a:t>
            </a:r>
            <a:r>
              <a:rPr lang="en-US" sz="2400" dirty="0">
                <a:effectLst/>
                <a:latin typeface="Times New Roman" panose="02020603050405020304" pitchFamily="18" charset="0"/>
                <a:ea typeface="Times New Roman" panose="02020603050405020304" pitchFamily="18" charset="0"/>
              </a:rPr>
              <a:t>term</a:t>
            </a:r>
            <a:r>
              <a:rPr lang="en-US" sz="2400" spc="5" dirty="0">
                <a:effectLst/>
                <a:latin typeface="Times New Roman" panose="02020603050405020304" pitchFamily="18" charset="0"/>
                <a:ea typeface="Times New Roman" panose="02020603050405020304" pitchFamily="18" charset="0"/>
              </a:rPr>
              <a:t> </a:t>
            </a:r>
            <a:r>
              <a:rPr lang="en-US" sz="2400" dirty="0">
                <a:effectLst/>
                <a:latin typeface="Times New Roman" panose="02020603050405020304" pitchFamily="18" charset="0"/>
                <a:ea typeface="Times New Roman" panose="02020603050405020304" pitchFamily="18" charset="0"/>
              </a:rPr>
              <a:t>P(B|A)</a:t>
            </a:r>
            <a:r>
              <a:rPr lang="en-US" sz="2400" spc="5" dirty="0">
                <a:effectLst/>
                <a:latin typeface="Times New Roman" panose="02020603050405020304" pitchFamily="18" charset="0"/>
                <a:ea typeface="Times New Roman" panose="02020603050405020304" pitchFamily="18" charset="0"/>
              </a:rPr>
              <a:t> </a:t>
            </a:r>
            <a:r>
              <a:rPr lang="en-US" sz="2400" dirty="0">
                <a:effectLst/>
                <a:latin typeface="Times New Roman" panose="02020603050405020304" pitchFamily="18" charset="0"/>
                <a:ea typeface="Times New Roman" panose="02020603050405020304" pitchFamily="18" charset="0"/>
              </a:rPr>
              <a:t>in</a:t>
            </a:r>
            <a:r>
              <a:rPr lang="en-US" sz="2400" spc="5" dirty="0">
                <a:effectLst/>
                <a:latin typeface="Times New Roman" panose="02020603050405020304" pitchFamily="18" charset="0"/>
                <a:ea typeface="Times New Roman" panose="02020603050405020304" pitchFamily="18" charset="0"/>
              </a:rPr>
              <a:t> </a:t>
            </a:r>
            <a:r>
              <a:rPr lang="en-US" sz="2400" dirty="0">
                <a:effectLst/>
                <a:latin typeface="Times New Roman" panose="02020603050405020304" pitchFamily="18" charset="0"/>
                <a:ea typeface="Times New Roman" panose="02020603050405020304" pitchFamily="18" charset="0"/>
              </a:rPr>
              <a:t>terms</a:t>
            </a:r>
            <a:r>
              <a:rPr lang="en-US" sz="2400" spc="5" dirty="0">
                <a:effectLst/>
                <a:latin typeface="Times New Roman" panose="02020603050405020304" pitchFamily="18" charset="0"/>
                <a:ea typeface="Times New Roman" panose="02020603050405020304" pitchFamily="18" charset="0"/>
              </a:rPr>
              <a:t> </a:t>
            </a:r>
            <a:r>
              <a:rPr lang="en-US" sz="2400" dirty="0">
                <a:effectLst/>
                <a:latin typeface="Times New Roman" panose="02020603050405020304" pitchFamily="18" charset="0"/>
                <a:ea typeface="Times New Roman" panose="02020603050405020304" pitchFamily="18" charset="0"/>
              </a:rPr>
              <a:t>of</a:t>
            </a:r>
            <a:r>
              <a:rPr lang="en-US" sz="2400" spc="5" dirty="0">
                <a:effectLst/>
                <a:latin typeface="Times New Roman" panose="02020603050405020304" pitchFamily="18" charset="0"/>
                <a:ea typeface="Times New Roman" panose="02020603050405020304" pitchFamily="18" charset="0"/>
              </a:rPr>
              <a:t> </a:t>
            </a:r>
            <a:r>
              <a:rPr lang="en-US" sz="2400" dirty="0">
                <a:effectLst/>
                <a:latin typeface="Times New Roman" panose="02020603050405020304" pitchFamily="18" charset="0"/>
                <a:ea typeface="Times New Roman" panose="02020603050405020304" pitchFamily="18" charset="0"/>
              </a:rPr>
              <a:t>P(A|B),</a:t>
            </a:r>
            <a:r>
              <a:rPr lang="en-US" sz="2400" spc="5" dirty="0">
                <a:effectLst/>
                <a:latin typeface="Times New Roman" panose="02020603050405020304" pitchFamily="18" charset="0"/>
                <a:ea typeface="Times New Roman" panose="02020603050405020304" pitchFamily="18" charset="0"/>
              </a:rPr>
              <a:t> </a:t>
            </a:r>
            <a:r>
              <a:rPr lang="en-US" sz="2400" dirty="0">
                <a:effectLst/>
                <a:latin typeface="Times New Roman" panose="02020603050405020304" pitchFamily="18" charset="0"/>
                <a:ea typeface="Times New Roman" panose="02020603050405020304" pitchFamily="18" charset="0"/>
              </a:rPr>
              <a:t>P(</a:t>
            </a:r>
            <a:r>
              <a:rPr lang="en-US" sz="2400" i="1" dirty="0">
                <a:effectLst/>
                <a:latin typeface="Times New Roman" panose="02020603050405020304" pitchFamily="18" charset="0"/>
                <a:ea typeface="Times New Roman" panose="02020603050405020304" pitchFamily="18" charset="0"/>
              </a:rPr>
              <a:t>B</a:t>
            </a:r>
            <a:r>
              <a:rPr lang="en-US" sz="2400" dirty="0">
                <a:effectLst/>
                <a:latin typeface="Times New Roman" panose="02020603050405020304" pitchFamily="18" charset="0"/>
                <a:ea typeface="Times New Roman" panose="02020603050405020304" pitchFamily="18" charset="0"/>
              </a:rPr>
              <a:t>),</a:t>
            </a:r>
            <a:r>
              <a:rPr lang="en-US" sz="2400" spc="5" dirty="0">
                <a:effectLst/>
                <a:latin typeface="Times New Roman" panose="02020603050405020304" pitchFamily="18" charset="0"/>
                <a:ea typeface="Times New Roman" panose="02020603050405020304" pitchFamily="18" charset="0"/>
              </a:rPr>
              <a:t> </a:t>
            </a:r>
            <a:r>
              <a:rPr lang="en-US" sz="2400" dirty="0">
                <a:effectLst/>
                <a:latin typeface="Times New Roman" panose="02020603050405020304" pitchFamily="18" charset="0"/>
                <a:ea typeface="Times New Roman" panose="02020603050405020304" pitchFamily="18" charset="0"/>
              </a:rPr>
              <a:t>and</a:t>
            </a:r>
            <a:r>
              <a:rPr lang="en-US" sz="2400" spc="5" dirty="0">
                <a:effectLst/>
                <a:latin typeface="Times New Roman" panose="02020603050405020304" pitchFamily="18" charset="0"/>
                <a:ea typeface="Times New Roman" panose="02020603050405020304" pitchFamily="18" charset="0"/>
              </a:rPr>
              <a:t> </a:t>
            </a:r>
            <a:r>
              <a:rPr lang="en-US" sz="2400" dirty="0">
                <a:effectLst/>
                <a:latin typeface="Times New Roman" panose="02020603050405020304" pitchFamily="18" charset="0"/>
                <a:ea typeface="Times New Roman" panose="02020603050405020304" pitchFamily="18" charset="0"/>
              </a:rPr>
              <a:t>P(A). This is very useful in cases where we</a:t>
            </a:r>
            <a:r>
              <a:rPr lang="en-US" sz="2400" spc="5" dirty="0">
                <a:effectLst/>
                <a:latin typeface="Times New Roman" panose="02020603050405020304" pitchFamily="18" charset="0"/>
                <a:ea typeface="Times New Roman" panose="02020603050405020304" pitchFamily="18" charset="0"/>
              </a:rPr>
              <a:t> </a:t>
            </a:r>
            <a:r>
              <a:rPr lang="en-US" sz="2400" dirty="0">
                <a:effectLst/>
                <a:latin typeface="Times New Roman" panose="02020603050405020304" pitchFamily="18" charset="0"/>
                <a:ea typeface="Times New Roman" panose="02020603050405020304" pitchFamily="18" charset="0"/>
              </a:rPr>
              <a:t>have a good probability of these three terms</a:t>
            </a:r>
            <a:r>
              <a:rPr lang="en-US" sz="2400" spc="5" dirty="0">
                <a:effectLst/>
                <a:latin typeface="Times New Roman" panose="02020603050405020304" pitchFamily="18" charset="0"/>
                <a:ea typeface="Times New Roman" panose="02020603050405020304" pitchFamily="18" charset="0"/>
              </a:rPr>
              <a:t> </a:t>
            </a:r>
            <a:r>
              <a:rPr lang="en-US" sz="2400" dirty="0">
                <a:effectLst/>
                <a:latin typeface="Times New Roman" panose="02020603050405020304" pitchFamily="18" charset="0"/>
                <a:ea typeface="Times New Roman" panose="02020603050405020304" pitchFamily="18" charset="0"/>
              </a:rPr>
              <a:t>and want to determine the fourth one. Suppose</a:t>
            </a:r>
            <a:r>
              <a:rPr lang="en-US" sz="2400" spc="5" dirty="0">
                <a:effectLst/>
                <a:latin typeface="Times New Roman" panose="02020603050405020304" pitchFamily="18" charset="0"/>
                <a:ea typeface="Times New Roman" panose="02020603050405020304" pitchFamily="18" charset="0"/>
              </a:rPr>
              <a:t> </a:t>
            </a:r>
            <a:r>
              <a:rPr lang="en-US" sz="2400" dirty="0">
                <a:effectLst/>
                <a:latin typeface="Times New Roman" panose="02020603050405020304" pitchFamily="18" charset="0"/>
                <a:ea typeface="Times New Roman" panose="02020603050405020304" pitchFamily="18" charset="0"/>
              </a:rPr>
              <a:t>we</a:t>
            </a:r>
            <a:r>
              <a:rPr lang="en-US" sz="2400" spc="5" dirty="0">
                <a:effectLst/>
                <a:latin typeface="Times New Roman" panose="02020603050405020304" pitchFamily="18" charset="0"/>
                <a:ea typeface="Times New Roman" panose="02020603050405020304" pitchFamily="18" charset="0"/>
              </a:rPr>
              <a:t> </a:t>
            </a:r>
            <a:r>
              <a:rPr lang="en-US" sz="2400" dirty="0">
                <a:effectLst/>
                <a:latin typeface="Times New Roman" panose="02020603050405020304" pitchFamily="18" charset="0"/>
                <a:ea typeface="Times New Roman" panose="02020603050405020304" pitchFamily="18" charset="0"/>
              </a:rPr>
              <a:t>want</a:t>
            </a:r>
            <a:r>
              <a:rPr lang="en-US" sz="2400" spc="5" dirty="0">
                <a:effectLst/>
                <a:latin typeface="Times New Roman" panose="02020603050405020304" pitchFamily="18" charset="0"/>
                <a:ea typeface="Times New Roman" panose="02020603050405020304" pitchFamily="18" charset="0"/>
              </a:rPr>
              <a:t> </a:t>
            </a:r>
            <a:r>
              <a:rPr lang="en-US" sz="2400" dirty="0">
                <a:effectLst/>
                <a:latin typeface="Times New Roman" panose="02020603050405020304" pitchFamily="18" charset="0"/>
                <a:ea typeface="Times New Roman" panose="02020603050405020304" pitchFamily="18" charset="0"/>
              </a:rPr>
              <a:t>to</a:t>
            </a:r>
            <a:r>
              <a:rPr lang="en-US" sz="2400" spc="5" dirty="0">
                <a:effectLst/>
                <a:latin typeface="Times New Roman" panose="02020603050405020304" pitchFamily="18" charset="0"/>
                <a:ea typeface="Times New Roman" panose="02020603050405020304" pitchFamily="18" charset="0"/>
              </a:rPr>
              <a:t> </a:t>
            </a:r>
            <a:r>
              <a:rPr lang="en-US" sz="2400" dirty="0">
                <a:effectLst/>
                <a:latin typeface="Times New Roman" panose="02020603050405020304" pitchFamily="18" charset="0"/>
                <a:ea typeface="Times New Roman" panose="02020603050405020304" pitchFamily="18" charset="0"/>
              </a:rPr>
              <a:t>perceive</a:t>
            </a:r>
            <a:r>
              <a:rPr lang="en-US" sz="2400" spc="5" dirty="0">
                <a:effectLst/>
                <a:latin typeface="Times New Roman" panose="02020603050405020304" pitchFamily="18" charset="0"/>
                <a:ea typeface="Times New Roman" panose="02020603050405020304" pitchFamily="18" charset="0"/>
              </a:rPr>
              <a:t> </a:t>
            </a:r>
            <a:r>
              <a:rPr lang="en-US" sz="2400" dirty="0">
                <a:effectLst/>
                <a:latin typeface="Times New Roman" panose="02020603050405020304" pitchFamily="18" charset="0"/>
                <a:ea typeface="Times New Roman" panose="02020603050405020304" pitchFamily="18" charset="0"/>
              </a:rPr>
              <a:t>the</a:t>
            </a:r>
            <a:r>
              <a:rPr lang="en-US" sz="2400" spc="5" dirty="0">
                <a:effectLst/>
                <a:latin typeface="Times New Roman" panose="02020603050405020304" pitchFamily="18" charset="0"/>
                <a:ea typeface="Times New Roman" panose="02020603050405020304" pitchFamily="18" charset="0"/>
              </a:rPr>
              <a:t> </a:t>
            </a:r>
            <a:r>
              <a:rPr lang="en-US" sz="2400" dirty="0">
                <a:effectLst/>
                <a:latin typeface="Times New Roman" panose="02020603050405020304" pitchFamily="18" charset="0"/>
                <a:ea typeface="Times New Roman" panose="02020603050405020304" pitchFamily="18" charset="0"/>
              </a:rPr>
              <a:t>effect</a:t>
            </a:r>
            <a:r>
              <a:rPr lang="en-US" sz="2400" spc="5" dirty="0">
                <a:effectLst/>
                <a:latin typeface="Times New Roman" panose="02020603050405020304" pitchFamily="18" charset="0"/>
                <a:ea typeface="Times New Roman" panose="02020603050405020304" pitchFamily="18" charset="0"/>
              </a:rPr>
              <a:t> </a:t>
            </a:r>
            <a:r>
              <a:rPr lang="en-US" sz="2400" dirty="0">
                <a:effectLst/>
                <a:latin typeface="Times New Roman" panose="02020603050405020304" pitchFamily="18" charset="0"/>
                <a:ea typeface="Times New Roman" panose="02020603050405020304" pitchFamily="18" charset="0"/>
              </a:rPr>
              <a:t>of</a:t>
            </a:r>
            <a:r>
              <a:rPr lang="en-US" sz="2400" spc="5" dirty="0">
                <a:effectLst/>
                <a:latin typeface="Times New Roman" panose="02020603050405020304" pitchFamily="18" charset="0"/>
                <a:ea typeface="Times New Roman" panose="02020603050405020304" pitchFamily="18" charset="0"/>
              </a:rPr>
              <a:t> </a:t>
            </a:r>
            <a:r>
              <a:rPr lang="en-US" sz="2400" dirty="0">
                <a:effectLst/>
                <a:latin typeface="Times New Roman" panose="02020603050405020304" pitchFamily="18" charset="0"/>
                <a:ea typeface="Times New Roman" panose="02020603050405020304" pitchFamily="18" charset="0"/>
              </a:rPr>
              <a:t>some</a:t>
            </a:r>
            <a:r>
              <a:rPr lang="en-US" sz="2400" spc="-785" dirty="0">
                <a:effectLst/>
                <a:latin typeface="Times New Roman" panose="02020603050405020304" pitchFamily="18" charset="0"/>
                <a:ea typeface="Times New Roman" panose="02020603050405020304" pitchFamily="18" charset="0"/>
              </a:rPr>
              <a:t> </a:t>
            </a:r>
            <a:r>
              <a:rPr lang="en-US" sz="2400" dirty="0">
                <a:effectLst/>
                <a:latin typeface="Times New Roman" panose="02020603050405020304" pitchFamily="18" charset="0"/>
                <a:ea typeface="Times New Roman" panose="02020603050405020304" pitchFamily="18" charset="0"/>
              </a:rPr>
              <a:t>unknown</a:t>
            </a:r>
            <a:r>
              <a:rPr lang="en-US" sz="2400" spc="5" dirty="0">
                <a:effectLst/>
                <a:latin typeface="Times New Roman" panose="02020603050405020304" pitchFamily="18" charset="0"/>
                <a:ea typeface="Times New Roman" panose="02020603050405020304" pitchFamily="18" charset="0"/>
              </a:rPr>
              <a:t> </a:t>
            </a:r>
            <a:r>
              <a:rPr lang="en-US" sz="2400" dirty="0">
                <a:effectLst/>
                <a:latin typeface="Times New Roman" panose="02020603050405020304" pitchFamily="18" charset="0"/>
                <a:ea typeface="Times New Roman" panose="02020603050405020304" pitchFamily="18" charset="0"/>
              </a:rPr>
              <a:t>cause,</a:t>
            </a:r>
            <a:r>
              <a:rPr lang="en-US" sz="2400" spc="5" dirty="0">
                <a:effectLst/>
                <a:latin typeface="Times New Roman" panose="02020603050405020304" pitchFamily="18" charset="0"/>
                <a:ea typeface="Times New Roman" panose="02020603050405020304" pitchFamily="18" charset="0"/>
              </a:rPr>
              <a:t> </a:t>
            </a:r>
            <a:r>
              <a:rPr lang="en-US" sz="2400" dirty="0">
                <a:effectLst/>
                <a:latin typeface="Times New Roman" panose="02020603050405020304" pitchFamily="18" charset="0"/>
                <a:ea typeface="Times New Roman" panose="02020603050405020304" pitchFamily="18" charset="0"/>
              </a:rPr>
              <a:t>and</a:t>
            </a:r>
            <a:r>
              <a:rPr lang="en-US" sz="2400" spc="5" dirty="0">
                <a:effectLst/>
                <a:latin typeface="Times New Roman" panose="02020603050405020304" pitchFamily="18" charset="0"/>
                <a:ea typeface="Times New Roman" panose="02020603050405020304" pitchFamily="18" charset="0"/>
              </a:rPr>
              <a:t> </a:t>
            </a:r>
            <a:r>
              <a:rPr lang="en-US" sz="2400" dirty="0">
                <a:effectLst/>
                <a:latin typeface="Times New Roman" panose="02020603050405020304" pitchFamily="18" charset="0"/>
                <a:ea typeface="Times New Roman" panose="02020603050405020304" pitchFamily="18" charset="0"/>
              </a:rPr>
              <a:t>want</a:t>
            </a:r>
            <a:r>
              <a:rPr lang="en-US" sz="2400" spc="5" dirty="0">
                <a:effectLst/>
                <a:latin typeface="Times New Roman" panose="02020603050405020304" pitchFamily="18" charset="0"/>
                <a:ea typeface="Times New Roman" panose="02020603050405020304" pitchFamily="18" charset="0"/>
              </a:rPr>
              <a:t> </a:t>
            </a:r>
            <a:r>
              <a:rPr lang="en-US" sz="2400" dirty="0">
                <a:effectLst/>
                <a:latin typeface="Times New Roman" panose="02020603050405020304" pitchFamily="18" charset="0"/>
                <a:ea typeface="Times New Roman" panose="02020603050405020304" pitchFamily="18" charset="0"/>
              </a:rPr>
              <a:t>to</a:t>
            </a:r>
            <a:r>
              <a:rPr lang="en-US" sz="2400" spc="5" dirty="0">
                <a:effectLst/>
                <a:latin typeface="Times New Roman" panose="02020603050405020304" pitchFamily="18" charset="0"/>
                <a:ea typeface="Times New Roman" panose="02020603050405020304" pitchFamily="18" charset="0"/>
              </a:rPr>
              <a:t> </a:t>
            </a:r>
            <a:r>
              <a:rPr lang="en-US" sz="2400" dirty="0">
                <a:effectLst/>
                <a:latin typeface="Times New Roman" panose="02020603050405020304" pitchFamily="18" charset="0"/>
                <a:ea typeface="Times New Roman" panose="02020603050405020304" pitchFamily="18" charset="0"/>
              </a:rPr>
              <a:t>compute</a:t>
            </a:r>
            <a:r>
              <a:rPr lang="en-US" sz="2400" spc="5" dirty="0">
                <a:effectLst/>
                <a:latin typeface="Times New Roman" panose="02020603050405020304" pitchFamily="18" charset="0"/>
                <a:ea typeface="Times New Roman" panose="02020603050405020304" pitchFamily="18" charset="0"/>
              </a:rPr>
              <a:t> </a:t>
            </a:r>
            <a:r>
              <a:rPr lang="en-US" sz="2400" dirty="0">
                <a:effectLst/>
                <a:latin typeface="Times New Roman" panose="02020603050405020304" pitchFamily="18" charset="0"/>
                <a:ea typeface="Times New Roman" panose="02020603050405020304" pitchFamily="18" charset="0"/>
              </a:rPr>
              <a:t>that</a:t>
            </a:r>
            <a:r>
              <a:rPr lang="en-US" sz="2400" spc="5" dirty="0">
                <a:effectLst/>
                <a:latin typeface="Times New Roman" panose="02020603050405020304" pitchFamily="18" charset="0"/>
                <a:ea typeface="Times New Roman" panose="02020603050405020304" pitchFamily="18" charset="0"/>
              </a:rPr>
              <a:t> </a:t>
            </a:r>
            <a:r>
              <a:rPr lang="en-US" sz="2400" dirty="0">
                <a:effectLst/>
                <a:latin typeface="Times New Roman" panose="02020603050405020304" pitchFamily="18" charset="0"/>
                <a:ea typeface="Times New Roman" panose="02020603050405020304" pitchFamily="18" charset="0"/>
              </a:rPr>
              <a:t>cause,</a:t>
            </a:r>
            <a:r>
              <a:rPr lang="en-US" sz="2400" spc="25" dirty="0">
                <a:effectLst/>
                <a:latin typeface="Times New Roman" panose="02020603050405020304" pitchFamily="18" charset="0"/>
                <a:ea typeface="Times New Roman" panose="02020603050405020304" pitchFamily="18" charset="0"/>
              </a:rPr>
              <a:t> </a:t>
            </a:r>
            <a:r>
              <a:rPr lang="en-US" sz="2400" dirty="0">
                <a:effectLst/>
                <a:latin typeface="Times New Roman" panose="02020603050405020304" pitchFamily="18" charset="0"/>
                <a:ea typeface="Times New Roman" panose="02020603050405020304" pitchFamily="18" charset="0"/>
              </a:rPr>
              <a:t>then</a:t>
            </a:r>
            <a:r>
              <a:rPr lang="en-US" sz="2400" spc="-25" dirty="0">
                <a:effectLst/>
                <a:latin typeface="Times New Roman" panose="02020603050405020304" pitchFamily="18" charset="0"/>
                <a:ea typeface="Times New Roman" panose="02020603050405020304" pitchFamily="18" charset="0"/>
              </a:rPr>
              <a:t> </a:t>
            </a:r>
            <a:r>
              <a:rPr lang="en-US" sz="2400" dirty="0">
                <a:effectLst/>
                <a:latin typeface="Times New Roman" panose="02020603050405020304" pitchFamily="18" charset="0"/>
                <a:ea typeface="Times New Roman" panose="02020603050405020304" pitchFamily="18" charset="0"/>
              </a:rPr>
              <a:t>the</a:t>
            </a:r>
            <a:r>
              <a:rPr lang="en-US" sz="2400" spc="-35" dirty="0">
                <a:effectLst/>
                <a:latin typeface="Times New Roman" panose="02020603050405020304" pitchFamily="18" charset="0"/>
                <a:ea typeface="Times New Roman" panose="02020603050405020304" pitchFamily="18" charset="0"/>
              </a:rPr>
              <a:t> </a:t>
            </a:r>
            <a:r>
              <a:rPr lang="en-US" sz="2400" dirty="0">
                <a:effectLst/>
                <a:latin typeface="Times New Roman" panose="02020603050405020304" pitchFamily="18" charset="0"/>
                <a:ea typeface="Times New Roman" panose="02020603050405020304" pitchFamily="18" charset="0"/>
              </a:rPr>
              <a:t>Bayes'</a:t>
            </a:r>
            <a:r>
              <a:rPr lang="en-US" sz="2400" spc="65" dirty="0">
                <a:effectLst/>
                <a:latin typeface="Times New Roman" panose="02020603050405020304" pitchFamily="18" charset="0"/>
                <a:ea typeface="Times New Roman" panose="02020603050405020304" pitchFamily="18" charset="0"/>
              </a:rPr>
              <a:t> </a:t>
            </a:r>
            <a:r>
              <a:rPr lang="en-US" sz="2400" dirty="0">
                <a:effectLst/>
                <a:latin typeface="Times New Roman" panose="02020603050405020304" pitchFamily="18" charset="0"/>
                <a:ea typeface="Times New Roman" panose="02020603050405020304" pitchFamily="18" charset="0"/>
              </a:rPr>
              <a:t>rule</a:t>
            </a:r>
            <a:r>
              <a:rPr lang="en-US" sz="2400" spc="-40" dirty="0">
                <a:effectLst/>
                <a:latin typeface="Times New Roman" panose="02020603050405020304" pitchFamily="18" charset="0"/>
                <a:ea typeface="Times New Roman" panose="02020603050405020304" pitchFamily="18" charset="0"/>
              </a:rPr>
              <a:t> </a:t>
            </a:r>
            <a:r>
              <a:rPr lang="en-US" sz="2400" dirty="0">
                <a:effectLst/>
                <a:latin typeface="Times New Roman" panose="02020603050405020304" pitchFamily="18" charset="0"/>
                <a:ea typeface="Times New Roman" panose="02020603050405020304" pitchFamily="18" charset="0"/>
              </a:rPr>
              <a:t>becomes:</a:t>
            </a:r>
            <a:endParaRPr lang="en-IN" sz="2400" dirty="0">
              <a:effectLst/>
              <a:latin typeface="Times New Roman" panose="02020603050405020304" pitchFamily="18" charset="0"/>
              <a:ea typeface="Times New Roman" panose="02020603050405020304" pitchFamily="18" charset="0"/>
            </a:endParaRPr>
          </a:p>
          <a:p>
            <a:pPr marL="0" indent="0">
              <a:buNone/>
            </a:pPr>
            <a:endParaRPr lang="en-IN" sz="1800" dirty="0">
              <a:effectLst/>
              <a:latin typeface="Times New Roman" panose="02020603050405020304" pitchFamily="18" charset="0"/>
              <a:ea typeface="Times New Roman" panose="02020603050405020304" pitchFamily="18" charset="0"/>
            </a:endParaRPr>
          </a:p>
        </p:txBody>
      </p:sp>
      <p:pic>
        <p:nvPicPr>
          <p:cNvPr id="6" name="image75.png">
            <a:extLst>
              <a:ext uri="{FF2B5EF4-FFF2-40B4-BE49-F238E27FC236}">
                <a16:creationId xmlns:a16="http://schemas.microsoft.com/office/drawing/2014/main" id="{6634909B-4B54-2D92-BE13-4667A4C1B141}"/>
              </a:ext>
            </a:extLst>
          </p:cNvPr>
          <p:cNvPicPr>
            <a:picLocks noChangeAspect="1"/>
          </p:cNvPicPr>
          <p:nvPr/>
        </p:nvPicPr>
        <p:blipFill>
          <a:blip r:embed="rId2" cstate="print"/>
          <a:stretch>
            <a:fillRect/>
          </a:stretch>
        </p:blipFill>
        <p:spPr>
          <a:xfrm>
            <a:off x="1776411" y="2993721"/>
            <a:ext cx="8657770" cy="1841325"/>
          </a:xfrm>
          <a:prstGeom prst="rect">
            <a:avLst/>
          </a:prstGeom>
        </p:spPr>
      </p:pic>
    </p:spTree>
    <p:extLst>
      <p:ext uri="{BB962C8B-B14F-4D97-AF65-F5344CB8AC3E}">
        <p14:creationId xmlns:p14="http://schemas.microsoft.com/office/powerpoint/2010/main" val="331297392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7FF47CB7-972F-479F-A36D-9E72D26EC8D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Freeform: Shape 10">
            <a:extLst>
              <a:ext uri="{FF2B5EF4-FFF2-40B4-BE49-F238E27FC236}">
                <a16:creationId xmlns:a16="http://schemas.microsoft.com/office/drawing/2014/main" id="{0D153B68-5844-490D-8E67-F616D6D721C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
            <a:ext cx="11766176" cy="2061837"/>
          </a:xfrm>
          <a:custGeom>
            <a:avLst/>
            <a:gdLst>
              <a:gd name="connsiteX0" fmla="*/ 0 w 10768629"/>
              <a:gd name="connsiteY0" fmla="*/ 0 h 1978172"/>
              <a:gd name="connsiteX1" fmla="*/ 10768629 w 10768629"/>
              <a:gd name="connsiteY1" fmla="*/ 0 h 1978172"/>
              <a:gd name="connsiteX2" fmla="*/ 10733254 w 10768629"/>
              <a:gd name="connsiteY2" fmla="*/ 31439 h 1978172"/>
              <a:gd name="connsiteX3" fmla="*/ 10727085 w 10768629"/>
              <a:gd name="connsiteY3" fmla="*/ 37910 h 1978172"/>
              <a:gd name="connsiteX4" fmla="*/ 10675953 w 10768629"/>
              <a:gd name="connsiteY4" fmla="*/ 68623 h 1978172"/>
              <a:gd name="connsiteX5" fmla="*/ 10637091 w 10768629"/>
              <a:gd name="connsiteY5" fmla="*/ 90361 h 1978172"/>
              <a:gd name="connsiteX6" fmla="*/ 10610971 w 10768629"/>
              <a:gd name="connsiteY6" fmla="*/ 110764 h 1978172"/>
              <a:gd name="connsiteX7" fmla="*/ 10532872 w 10768629"/>
              <a:gd name="connsiteY7" fmla="*/ 138028 h 1978172"/>
              <a:gd name="connsiteX8" fmla="*/ 10398558 w 10768629"/>
              <a:gd name="connsiteY8" fmla="*/ 172911 h 1978172"/>
              <a:gd name="connsiteX9" fmla="*/ 10371128 w 10768629"/>
              <a:gd name="connsiteY9" fmla="*/ 182609 h 1978172"/>
              <a:gd name="connsiteX10" fmla="*/ 10352178 w 10768629"/>
              <a:gd name="connsiteY10" fmla="*/ 199976 h 1978172"/>
              <a:gd name="connsiteX11" fmla="*/ 10351815 w 10768629"/>
              <a:gd name="connsiteY11" fmla="*/ 211879 h 1978172"/>
              <a:gd name="connsiteX12" fmla="*/ 10337471 w 10768629"/>
              <a:gd name="connsiteY12" fmla="*/ 218661 h 1978172"/>
              <a:gd name="connsiteX13" fmla="*/ 10334625 w 10768629"/>
              <a:gd name="connsiteY13" fmla="*/ 222351 h 1978172"/>
              <a:gd name="connsiteX14" fmla="*/ 10256365 w 10768629"/>
              <a:gd name="connsiteY14" fmla="*/ 235917 h 1978172"/>
              <a:gd name="connsiteX15" fmla="*/ 10201127 w 10768629"/>
              <a:gd name="connsiteY15" fmla="*/ 267448 h 1978172"/>
              <a:gd name="connsiteX16" fmla="*/ 9961218 w 10768629"/>
              <a:gd name="connsiteY16" fmla="*/ 326720 h 1978172"/>
              <a:gd name="connsiteX17" fmla="*/ 9859715 w 10768629"/>
              <a:gd name="connsiteY17" fmla="*/ 355698 h 1978172"/>
              <a:gd name="connsiteX18" fmla="*/ 9679867 w 10768629"/>
              <a:gd name="connsiteY18" fmla="*/ 399081 h 1978172"/>
              <a:gd name="connsiteX19" fmla="*/ 9490654 w 10768629"/>
              <a:gd name="connsiteY19" fmla="*/ 455225 h 1978172"/>
              <a:gd name="connsiteX20" fmla="*/ 9470837 w 10768629"/>
              <a:gd name="connsiteY20" fmla="*/ 452539 h 1978172"/>
              <a:gd name="connsiteX21" fmla="*/ 9469082 w 10768629"/>
              <a:gd name="connsiteY21" fmla="*/ 454891 h 1978172"/>
              <a:gd name="connsiteX22" fmla="*/ 9448038 w 10768629"/>
              <a:gd name="connsiteY22" fmla="*/ 459733 h 1978172"/>
              <a:gd name="connsiteX23" fmla="*/ 9396821 w 10768629"/>
              <a:gd name="connsiteY23" fmla="*/ 455795 h 1978172"/>
              <a:gd name="connsiteX24" fmla="*/ 9392197 w 10768629"/>
              <a:gd name="connsiteY24" fmla="*/ 459796 h 1978172"/>
              <a:gd name="connsiteX25" fmla="*/ 9347994 w 10768629"/>
              <a:gd name="connsiteY25" fmla="*/ 464462 h 1978172"/>
              <a:gd name="connsiteX26" fmla="*/ 9347889 w 10768629"/>
              <a:gd name="connsiteY26" fmla="*/ 466539 h 1978172"/>
              <a:gd name="connsiteX27" fmla="*/ 9337639 w 10768629"/>
              <a:gd name="connsiteY27" fmla="*/ 476654 h 1978172"/>
              <a:gd name="connsiteX28" fmla="*/ 9316893 w 10768629"/>
              <a:gd name="connsiteY28" fmla="*/ 491390 h 1978172"/>
              <a:gd name="connsiteX29" fmla="*/ 9229283 w 10768629"/>
              <a:gd name="connsiteY29" fmla="*/ 555377 h 1978172"/>
              <a:gd name="connsiteX30" fmla="*/ 9220274 w 10768629"/>
              <a:gd name="connsiteY30" fmla="*/ 557502 h 1978172"/>
              <a:gd name="connsiteX31" fmla="*/ 9220202 w 10768629"/>
              <a:gd name="connsiteY31" fmla="*/ 558001 h 1978172"/>
              <a:gd name="connsiteX32" fmla="*/ 9210908 w 10768629"/>
              <a:gd name="connsiteY32" fmla="*/ 561147 h 1978172"/>
              <a:gd name="connsiteX33" fmla="*/ 9186374 w 10768629"/>
              <a:gd name="connsiteY33" fmla="*/ 565502 h 1978172"/>
              <a:gd name="connsiteX34" fmla="*/ 9181058 w 10768629"/>
              <a:gd name="connsiteY34" fmla="*/ 569943 h 1978172"/>
              <a:gd name="connsiteX35" fmla="*/ 9179948 w 10768629"/>
              <a:gd name="connsiteY35" fmla="*/ 576062 h 1978172"/>
              <a:gd name="connsiteX36" fmla="*/ 9149110 w 10768629"/>
              <a:gd name="connsiteY36" fmla="*/ 598906 h 1978172"/>
              <a:gd name="connsiteX37" fmla="*/ 9078556 w 10768629"/>
              <a:gd name="connsiteY37" fmla="*/ 644039 h 1978172"/>
              <a:gd name="connsiteX38" fmla="*/ 8996399 w 10768629"/>
              <a:gd name="connsiteY38" fmla="*/ 690055 h 1978172"/>
              <a:gd name="connsiteX39" fmla="*/ 8803791 w 10768629"/>
              <a:gd name="connsiteY39" fmla="*/ 813860 h 1978172"/>
              <a:gd name="connsiteX40" fmla="*/ 8636202 w 10768629"/>
              <a:gd name="connsiteY40" fmla="*/ 848463 h 1978172"/>
              <a:gd name="connsiteX41" fmla="*/ 8555372 w 10768629"/>
              <a:gd name="connsiteY41" fmla="*/ 883171 h 1978172"/>
              <a:gd name="connsiteX42" fmla="*/ 8507229 w 10768629"/>
              <a:gd name="connsiteY42" fmla="*/ 901665 h 1978172"/>
              <a:gd name="connsiteX43" fmla="*/ 8428473 w 10768629"/>
              <a:gd name="connsiteY43" fmla="*/ 927985 h 1978172"/>
              <a:gd name="connsiteX44" fmla="*/ 8427914 w 10768629"/>
              <a:gd name="connsiteY44" fmla="*/ 933480 h 1978172"/>
              <a:gd name="connsiteX45" fmla="*/ 8420327 w 10768629"/>
              <a:gd name="connsiteY45" fmla="*/ 941984 h 1978172"/>
              <a:gd name="connsiteX46" fmla="*/ 8407128 w 10768629"/>
              <a:gd name="connsiteY46" fmla="*/ 961344 h 1978172"/>
              <a:gd name="connsiteX47" fmla="*/ 8380548 w 10768629"/>
              <a:gd name="connsiteY47" fmla="*/ 987916 h 1978172"/>
              <a:gd name="connsiteX48" fmla="*/ 8379462 w 10768629"/>
              <a:gd name="connsiteY48" fmla="*/ 987106 h 1978172"/>
              <a:gd name="connsiteX49" fmla="*/ 8369725 w 10768629"/>
              <a:gd name="connsiteY49" fmla="*/ 989186 h 1978172"/>
              <a:gd name="connsiteX50" fmla="*/ 8304438 w 10768629"/>
              <a:gd name="connsiteY50" fmla="*/ 996739 h 1978172"/>
              <a:gd name="connsiteX51" fmla="*/ 8280929 w 10768629"/>
              <a:gd name="connsiteY51" fmla="*/ 1023089 h 1978172"/>
              <a:gd name="connsiteX52" fmla="*/ 8275760 w 10768629"/>
              <a:gd name="connsiteY52" fmla="*/ 1027772 h 1978172"/>
              <a:gd name="connsiteX53" fmla="*/ 8275478 w 10768629"/>
              <a:gd name="connsiteY53" fmla="*/ 1027605 h 1978172"/>
              <a:gd name="connsiteX54" fmla="*/ 8269666 w 10768629"/>
              <a:gd name="connsiteY54" fmla="*/ 1032033 h 1978172"/>
              <a:gd name="connsiteX55" fmla="*/ 8203836 w 10768629"/>
              <a:gd name="connsiteY55" fmla="*/ 1037347 h 1978172"/>
              <a:gd name="connsiteX56" fmla="*/ 8122936 w 10768629"/>
              <a:gd name="connsiteY56" fmla="*/ 1063113 h 1978172"/>
              <a:gd name="connsiteX57" fmla="*/ 8043658 w 10768629"/>
              <a:gd name="connsiteY57" fmla="*/ 1092746 h 1978172"/>
              <a:gd name="connsiteX58" fmla="*/ 8015351 w 10768629"/>
              <a:gd name="connsiteY58" fmla="*/ 1105478 h 1978172"/>
              <a:gd name="connsiteX59" fmla="*/ 7963145 w 10768629"/>
              <a:gd name="connsiteY59" fmla="*/ 1119346 h 1978172"/>
              <a:gd name="connsiteX60" fmla="*/ 7938145 w 10768629"/>
              <a:gd name="connsiteY60" fmla="*/ 1120225 h 1978172"/>
              <a:gd name="connsiteX61" fmla="*/ 7937238 w 10768629"/>
              <a:gd name="connsiteY61" fmla="*/ 1121204 h 1978172"/>
              <a:gd name="connsiteX62" fmla="*/ 7934398 w 10768629"/>
              <a:gd name="connsiteY62" fmla="*/ 1118240 h 1978172"/>
              <a:gd name="connsiteX63" fmla="*/ 7918248 w 10768629"/>
              <a:gd name="connsiteY63" fmla="*/ 1124371 h 1978172"/>
              <a:gd name="connsiteX64" fmla="*/ 7914119 w 10768629"/>
              <a:gd name="connsiteY64" fmla="*/ 1127653 h 1978172"/>
              <a:gd name="connsiteX65" fmla="*/ 7907658 w 10768629"/>
              <a:gd name="connsiteY65" fmla="*/ 1130350 h 1978172"/>
              <a:gd name="connsiteX66" fmla="*/ 7907434 w 10768629"/>
              <a:gd name="connsiteY66" fmla="*/ 1130103 h 1978172"/>
              <a:gd name="connsiteX67" fmla="*/ 7901508 w 10768629"/>
              <a:gd name="connsiteY67" fmla="*/ 1133245 h 1978172"/>
              <a:gd name="connsiteX68" fmla="*/ 7873287 w 10768629"/>
              <a:gd name="connsiteY68" fmla="*/ 1152609 h 1978172"/>
              <a:gd name="connsiteX69" fmla="*/ 7834833 w 10768629"/>
              <a:gd name="connsiteY69" fmla="*/ 1153868 h 1978172"/>
              <a:gd name="connsiteX70" fmla="*/ 7828661 w 10768629"/>
              <a:gd name="connsiteY70" fmla="*/ 1139994 h 1978172"/>
              <a:gd name="connsiteX71" fmla="*/ 7823966 w 10768629"/>
              <a:gd name="connsiteY71" fmla="*/ 1143178 h 1978172"/>
              <a:gd name="connsiteX72" fmla="*/ 7815078 w 10768629"/>
              <a:gd name="connsiteY72" fmla="*/ 1151776 h 1978172"/>
              <a:gd name="connsiteX73" fmla="*/ 7812026 w 10768629"/>
              <a:gd name="connsiteY73" fmla="*/ 1151522 h 1978172"/>
              <a:gd name="connsiteX74" fmla="*/ 7782249 w 10768629"/>
              <a:gd name="connsiteY74" fmla="*/ 1160970 h 1978172"/>
              <a:gd name="connsiteX75" fmla="*/ 7773476 w 10768629"/>
              <a:gd name="connsiteY75" fmla="*/ 1157414 h 1978172"/>
              <a:gd name="connsiteX76" fmla="*/ 7769600 w 10768629"/>
              <a:gd name="connsiteY76" fmla="*/ 1157365 h 1978172"/>
              <a:gd name="connsiteX77" fmla="*/ 7752631 w 10768629"/>
              <a:gd name="connsiteY77" fmla="*/ 1172815 h 1978172"/>
              <a:gd name="connsiteX78" fmla="*/ 7743525 w 10768629"/>
              <a:gd name="connsiteY78" fmla="*/ 1179064 h 1978172"/>
              <a:gd name="connsiteX79" fmla="*/ 7685942 w 10768629"/>
              <a:gd name="connsiteY79" fmla="*/ 1233723 h 1978172"/>
              <a:gd name="connsiteX80" fmla="*/ 7586920 w 10768629"/>
              <a:gd name="connsiteY80" fmla="*/ 1261888 h 1978172"/>
              <a:gd name="connsiteX81" fmla="*/ 7486100 w 10768629"/>
              <a:gd name="connsiteY81" fmla="*/ 1292563 h 1978172"/>
              <a:gd name="connsiteX82" fmla="*/ 7407190 w 10768629"/>
              <a:gd name="connsiteY82" fmla="*/ 1314737 h 1978172"/>
              <a:gd name="connsiteX83" fmla="*/ 7240698 w 10768629"/>
              <a:gd name="connsiteY83" fmla="*/ 1438832 h 1978172"/>
              <a:gd name="connsiteX84" fmla="*/ 7197675 w 10768629"/>
              <a:gd name="connsiteY84" fmla="*/ 1447530 h 1978172"/>
              <a:gd name="connsiteX85" fmla="*/ 7164788 w 10768629"/>
              <a:gd name="connsiteY85" fmla="*/ 1480293 h 1978172"/>
              <a:gd name="connsiteX86" fmla="*/ 7147929 w 10768629"/>
              <a:gd name="connsiteY86" fmla="*/ 1477641 h 1978172"/>
              <a:gd name="connsiteX87" fmla="*/ 7144965 w 10768629"/>
              <a:gd name="connsiteY87" fmla="*/ 1476908 h 1978172"/>
              <a:gd name="connsiteX88" fmla="*/ 7134299 w 10768629"/>
              <a:gd name="connsiteY88" fmla="*/ 1479969 h 1978172"/>
              <a:gd name="connsiteX89" fmla="*/ 7129809 w 10768629"/>
              <a:gd name="connsiteY89" fmla="*/ 1473339 h 1978172"/>
              <a:gd name="connsiteX90" fmla="*/ 7112688 w 10768629"/>
              <a:gd name="connsiteY90" fmla="*/ 1472575 h 1978172"/>
              <a:gd name="connsiteX91" fmla="*/ 7093470 w 10768629"/>
              <a:gd name="connsiteY91" fmla="*/ 1480300 h 1978172"/>
              <a:gd name="connsiteX92" fmla="*/ 7025034 w 10768629"/>
              <a:gd name="connsiteY92" fmla="*/ 1506934 h 1978172"/>
              <a:gd name="connsiteX93" fmla="*/ 7014783 w 10768629"/>
              <a:gd name="connsiteY93" fmla="*/ 1515868 h 1978172"/>
              <a:gd name="connsiteX94" fmla="*/ 6979706 w 10768629"/>
              <a:gd name="connsiteY94" fmla="*/ 1523511 h 1978172"/>
              <a:gd name="connsiteX95" fmla="*/ 6977890 w 10768629"/>
              <a:gd name="connsiteY95" fmla="*/ 1525793 h 1978172"/>
              <a:gd name="connsiteX96" fmla="*/ 6944339 w 10768629"/>
              <a:gd name="connsiteY96" fmla="*/ 1536237 h 1978172"/>
              <a:gd name="connsiteX97" fmla="*/ 6886996 w 10768629"/>
              <a:gd name="connsiteY97" fmla="*/ 1563569 h 1978172"/>
              <a:gd name="connsiteX98" fmla="*/ 6874510 w 10768629"/>
              <a:gd name="connsiteY98" fmla="*/ 1558469 h 1978172"/>
              <a:gd name="connsiteX99" fmla="*/ 6871943 w 10768629"/>
              <a:gd name="connsiteY99" fmla="*/ 1554651 h 1978172"/>
              <a:gd name="connsiteX100" fmla="*/ 6856174 w 10768629"/>
              <a:gd name="connsiteY100" fmla="*/ 1562024 h 1978172"/>
              <a:gd name="connsiteX101" fmla="*/ 6842321 w 10768629"/>
              <a:gd name="connsiteY101" fmla="*/ 1560554 h 1978172"/>
              <a:gd name="connsiteX102" fmla="*/ 6832713 w 10768629"/>
              <a:gd name="connsiteY102" fmla="*/ 1569357 h 1978172"/>
              <a:gd name="connsiteX103" fmla="*/ 6816351 w 10768629"/>
              <a:gd name="connsiteY103" fmla="*/ 1571495 h 1978172"/>
              <a:gd name="connsiteX104" fmla="*/ 6795800 w 10768629"/>
              <a:gd name="connsiteY104" fmla="*/ 1572010 h 1978172"/>
              <a:gd name="connsiteX105" fmla="*/ 6777546 w 10768629"/>
              <a:gd name="connsiteY105" fmla="*/ 1568661 h 1978172"/>
              <a:gd name="connsiteX106" fmla="*/ 6751528 w 10768629"/>
              <a:gd name="connsiteY106" fmla="*/ 1574143 h 1978172"/>
              <a:gd name="connsiteX107" fmla="*/ 6691966 w 10768629"/>
              <a:gd name="connsiteY107" fmla="*/ 1582255 h 1978172"/>
              <a:gd name="connsiteX108" fmla="*/ 6646941 w 10768629"/>
              <a:gd name="connsiteY108" fmla="*/ 1588471 h 1978172"/>
              <a:gd name="connsiteX109" fmla="*/ 6568576 w 10768629"/>
              <a:gd name="connsiteY109" fmla="*/ 1606488 h 1978172"/>
              <a:gd name="connsiteX110" fmla="*/ 6554358 w 10768629"/>
              <a:gd name="connsiteY110" fmla="*/ 1621701 h 1978172"/>
              <a:gd name="connsiteX111" fmla="*/ 6516968 w 10768629"/>
              <a:gd name="connsiteY111" fmla="*/ 1617195 h 1978172"/>
              <a:gd name="connsiteX112" fmla="*/ 6506479 w 10768629"/>
              <a:gd name="connsiteY112" fmla="*/ 1602227 h 1978172"/>
              <a:gd name="connsiteX113" fmla="*/ 6458436 w 10768629"/>
              <a:gd name="connsiteY113" fmla="*/ 1607332 h 1978172"/>
              <a:gd name="connsiteX114" fmla="*/ 6414786 w 10768629"/>
              <a:gd name="connsiteY114" fmla="*/ 1628815 h 1978172"/>
              <a:gd name="connsiteX115" fmla="*/ 6357085 w 10768629"/>
              <a:gd name="connsiteY115" fmla="*/ 1640846 h 1978172"/>
              <a:gd name="connsiteX116" fmla="*/ 6322636 w 10768629"/>
              <a:gd name="connsiteY116" fmla="*/ 1648213 h 1978172"/>
              <a:gd name="connsiteX117" fmla="*/ 6226172 w 10768629"/>
              <a:gd name="connsiteY117" fmla="*/ 1654676 h 1978172"/>
              <a:gd name="connsiteX118" fmla="*/ 6221217 w 10768629"/>
              <a:gd name="connsiteY118" fmla="*/ 1654506 h 1978172"/>
              <a:gd name="connsiteX119" fmla="*/ 6204956 w 10768629"/>
              <a:gd name="connsiteY119" fmla="*/ 1664280 h 1978172"/>
              <a:gd name="connsiteX120" fmla="*/ 6204270 w 10768629"/>
              <a:gd name="connsiteY120" fmla="*/ 1666782 h 1978172"/>
              <a:gd name="connsiteX121" fmla="*/ 6143810 w 10768629"/>
              <a:gd name="connsiteY121" fmla="*/ 1661963 h 1978172"/>
              <a:gd name="connsiteX122" fmla="*/ 6136560 w 10768629"/>
              <a:gd name="connsiteY122" fmla="*/ 1665728 h 1978172"/>
              <a:gd name="connsiteX123" fmla="*/ 6096155 w 10768629"/>
              <a:gd name="connsiteY123" fmla="*/ 1656951 h 1978172"/>
              <a:gd name="connsiteX124" fmla="*/ 6075812 w 10768629"/>
              <a:gd name="connsiteY124" fmla="*/ 1655422 h 1978172"/>
              <a:gd name="connsiteX125" fmla="*/ 6039495 w 10768629"/>
              <a:gd name="connsiteY125" fmla="*/ 1649680 h 1978172"/>
              <a:gd name="connsiteX126" fmla="*/ 6036523 w 10768629"/>
              <a:gd name="connsiteY126" fmla="*/ 1652121 h 1978172"/>
              <a:gd name="connsiteX127" fmla="*/ 6029328 w 10768629"/>
              <a:gd name="connsiteY127" fmla="*/ 1649904 h 1978172"/>
              <a:gd name="connsiteX128" fmla="*/ 6024075 w 10768629"/>
              <a:gd name="connsiteY128" fmla="*/ 1652779 h 1978172"/>
              <a:gd name="connsiteX129" fmla="*/ 6018085 w 10768629"/>
              <a:gd name="connsiteY129" fmla="*/ 1652030 h 1978172"/>
              <a:gd name="connsiteX130" fmla="*/ 5955513 w 10768629"/>
              <a:gd name="connsiteY130" fmla="*/ 1663584 h 1978172"/>
              <a:gd name="connsiteX131" fmla="*/ 5941996 w 10768629"/>
              <a:gd name="connsiteY131" fmla="*/ 1661326 h 1978172"/>
              <a:gd name="connsiteX132" fmla="*/ 5931789 w 10768629"/>
              <a:gd name="connsiteY132" fmla="*/ 1669915 h 1978172"/>
              <a:gd name="connsiteX133" fmla="*/ 5888686 w 10768629"/>
              <a:gd name="connsiteY133" fmla="*/ 1672175 h 1978172"/>
              <a:gd name="connsiteX134" fmla="*/ 5873794 w 10768629"/>
              <a:gd name="connsiteY134" fmla="*/ 1665454 h 1978172"/>
              <a:gd name="connsiteX135" fmla="*/ 5860022 w 10768629"/>
              <a:gd name="connsiteY135" fmla="*/ 1660635 h 1978172"/>
              <a:gd name="connsiteX136" fmla="*/ 5858237 w 10768629"/>
              <a:gd name="connsiteY136" fmla="*/ 1660649 h 1978172"/>
              <a:gd name="connsiteX137" fmla="*/ 5840319 w 10768629"/>
              <a:gd name="connsiteY137" fmla="*/ 1660798 h 1978172"/>
              <a:gd name="connsiteX138" fmla="*/ 5806984 w 10768629"/>
              <a:gd name="connsiteY138" fmla="*/ 1661075 h 1978172"/>
              <a:gd name="connsiteX139" fmla="*/ 5742351 w 10768629"/>
              <a:gd name="connsiteY139" fmla="*/ 1667489 h 1978172"/>
              <a:gd name="connsiteX140" fmla="*/ 5529437 w 10768629"/>
              <a:gd name="connsiteY140" fmla="*/ 1636968 h 1978172"/>
              <a:gd name="connsiteX141" fmla="*/ 5440853 w 10768629"/>
              <a:gd name="connsiteY141" fmla="*/ 1657958 h 1978172"/>
              <a:gd name="connsiteX142" fmla="*/ 4945936 w 10768629"/>
              <a:gd name="connsiteY142" fmla="*/ 1713743 h 1978172"/>
              <a:gd name="connsiteX143" fmla="*/ 4818446 w 10768629"/>
              <a:gd name="connsiteY143" fmla="*/ 1726895 h 1978172"/>
              <a:gd name="connsiteX144" fmla="*/ 4813657 w 10768629"/>
              <a:gd name="connsiteY144" fmla="*/ 1730706 h 1978172"/>
              <a:gd name="connsiteX145" fmla="*/ 4759058 w 10768629"/>
              <a:gd name="connsiteY145" fmla="*/ 1766533 h 1978172"/>
              <a:gd name="connsiteX146" fmla="*/ 4719749 w 10768629"/>
              <a:gd name="connsiteY146" fmla="*/ 1771811 h 1978172"/>
              <a:gd name="connsiteX147" fmla="*/ 4568686 w 10768629"/>
              <a:gd name="connsiteY147" fmla="*/ 1786141 h 1978172"/>
              <a:gd name="connsiteX148" fmla="*/ 4418751 w 10768629"/>
              <a:gd name="connsiteY148" fmla="*/ 1796932 h 1978172"/>
              <a:gd name="connsiteX149" fmla="*/ 4378377 w 10768629"/>
              <a:gd name="connsiteY149" fmla="*/ 1815528 h 1978172"/>
              <a:gd name="connsiteX150" fmla="*/ 4320575 w 10768629"/>
              <a:gd name="connsiteY150" fmla="*/ 1832722 h 1978172"/>
              <a:gd name="connsiteX151" fmla="*/ 4220200 w 10768629"/>
              <a:gd name="connsiteY151" fmla="*/ 1873173 h 1978172"/>
              <a:gd name="connsiteX152" fmla="*/ 4105361 w 10768629"/>
              <a:gd name="connsiteY152" fmla="*/ 1894711 h 1978172"/>
              <a:gd name="connsiteX153" fmla="*/ 3973223 w 10768629"/>
              <a:gd name="connsiteY153" fmla="*/ 1881015 h 1978172"/>
              <a:gd name="connsiteX154" fmla="*/ 3900992 w 10768629"/>
              <a:gd name="connsiteY154" fmla="*/ 1880603 h 1978172"/>
              <a:gd name="connsiteX155" fmla="*/ 3662119 w 10768629"/>
              <a:gd name="connsiteY155" fmla="*/ 1876289 h 1978172"/>
              <a:gd name="connsiteX156" fmla="*/ 3496919 w 10768629"/>
              <a:gd name="connsiteY156" fmla="*/ 1873180 h 1978172"/>
              <a:gd name="connsiteX157" fmla="*/ 3449433 w 10768629"/>
              <a:gd name="connsiteY157" fmla="*/ 1889681 h 1978172"/>
              <a:gd name="connsiteX158" fmla="*/ 3369766 w 10768629"/>
              <a:gd name="connsiteY158" fmla="*/ 1916653 h 1978172"/>
              <a:gd name="connsiteX159" fmla="*/ 3290336 w 10768629"/>
              <a:gd name="connsiteY159" fmla="*/ 1925039 h 1978172"/>
              <a:gd name="connsiteX160" fmla="*/ 3224897 w 10768629"/>
              <a:gd name="connsiteY160" fmla="*/ 1943733 h 1978172"/>
              <a:gd name="connsiteX161" fmla="*/ 3161463 w 10768629"/>
              <a:gd name="connsiteY161" fmla="*/ 1946591 h 1978172"/>
              <a:gd name="connsiteX162" fmla="*/ 3157504 w 10768629"/>
              <a:gd name="connsiteY162" fmla="*/ 1957276 h 1978172"/>
              <a:gd name="connsiteX163" fmla="*/ 3115176 w 10768629"/>
              <a:gd name="connsiteY163" fmla="*/ 1943459 h 1978172"/>
              <a:gd name="connsiteX164" fmla="*/ 3038835 w 10768629"/>
              <a:gd name="connsiteY164" fmla="*/ 1920210 h 1978172"/>
              <a:gd name="connsiteX165" fmla="*/ 2897201 w 10768629"/>
              <a:gd name="connsiteY165" fmla="*/ 1926772 h 1978172"/>
              <a:gd name="connsiteX166" fmla="*/ 2783891 w 10768629"/>
              <a:gd name="connsiteY166" fmla="*/ 1931749 h 1978172"/>
              <a:gd name="connsiteX167" fmla="*/ 2712447 w 10768629"/>
              <a:gd name="connsiteY167" fmla="*/ 1933044 h 1978172"/>
              <a:gd name="connsiteX168" fmla="*/ 2560151 w 10768629"/>
              <a:gd name="connsiteY168" fmla="*/ 1963609 h 1978172"/>
              <a:gd name="connsiteX169" fmla="*/ 2367221 w 10768629"/>
              <a:gd name="connsiteY169" fmla="*/ 1971884 h 1978172"/>
              <a:gd name="connsiteX170" fmla="*/ 2272130 w 10768629"/>
              <a:gd name="connsiteY170" fmla="*/ 1961162 h 1978172"/>
              <a:gd name="connsiteX171" fmla="*/ 2189404 w 10768629"/>
              <a:gd name="connsiteY171" fmla="*/ 1978172 h 1978172"/>
              <a:gd name="connsiteX172" fmla="*/ 2077704 w 10768629"/>
              <a:gd name="connsiteY172" fmla="*/ 1965002 h 1978172"/>
              <a:gd name="connsiteX173" fmla="*/ 1967996 w 10768629"/>
              <a:gd name="connsiteY173" fmla="*/ 1953187 h 1978172"/>
              <a:gd name="connsiteX174" fmla="*/ 1855805 w 10768629"/>
              <a:gd name="connsiteY174" fmla="*/ 1926082 h 1978172"/>
              <a:gd name="connsiteX175" fmla="*/ 1790957 w 10768629"/>
              <a:gd name="connsiteY175" fmla="*/ 1919460 h 1978172"/>
              <a:gd name="connsiteX176" fmla="*/ 1613978 w 10768629"/>
              <a:gd name="connsiteY176" fmla="*/ 1891581 h 1978172"/>
              <a:gd name="connsiteX177" fmla="*/ 1436831 w 10768629"/>
              <a:gd name="connsiteY177" fmla="*/ 1856201 h 1978172"/>
              <a:gd name="connsiteX178" fmla="*/ 1332568 w 10768629"/>
              <a:gd name="connsiteY178" fmla="*/ 1793149 h 1978172"/>
              <a:gd name="connsiteX179" fmla="*/ 1186881 w 10768629"/>
              <a:gd name="connsiteY179" fmla="*/ 1768613 h 1978172"/>
              <a:gd name="connsiteX180" fmla="*/ 1162595 w 10768629"/>
              <a:gd name="connsiteY180" fmla="*/ 1758337 h 1978172"/>
              <a:gd name="connsiteX181" fmla="*/ 1128523 w 10768629"/>
              <a:gd name="connsiteY181" fmla="*/ 1763621 h 1978172"/>
              <a:gd name="connsiteX182" fmla="*/ 991903 w 10768629"/>
              <a:gd name="connsiteY182" fmla="*/ 1786741 h 1978172"/>
              <a:gd name="connsiteX183" fmla="*/ 883960 w 10768629"/>
              <a:gd name="connsiteY183" fmla="*/ 1822386 h 1978172"/>
              <a:gd name="connsiteX184" fmla="*/ 766531 w 10768629"/>
              <a:gd name="connsiteY184" fmla="*/ 1805053 h 1978172"/>
              <a:gd name="connsiteX185" fmla="*/ 669779 w 10768629"/>
              <a:gd name="connsiteY185" fmla="*/ 1800537 h 1978172"/>
              <a:gd name="connsiteX186" fmla="*/ 523898 w 10768629"/>
              <a:gd name="connsiteY186" fmla="*/ 1811085 h 1978172"/>
              <a:gd name="connsiteX187" fmla="*/ 360251 w 10768629"/>
              <a:gd name="connsiteY187" fmla="*/ 1830735 h 1978172"/>
              <a:gd name="connsiteX188" fmla="*/ 255207 w 10768629"/>
              <a:gd name="connsiteY188" fmla="*/ 1818275 h 1978172"/>
              <a:gd name="connsiteX189" fmla="*/ 101803 w 10768629"/>
              <a:gd name="connsiteY189" fmla="*/ 1870647 h 1978172"/>
              <a:gd name="connsiteX190" fmla="*/ 25397 w 10768629"/>
              <a:gd name="connsiteY190" fmla="*/ 1888443 h 1978172"/>
              <a:gd name="connsiteX191" fmla="*/ 2370 w 10768629"/>
              <a:gd name="connsiteY191" fmla="*/ 1878311 h 1978172"/>
              <a:gd name="connsiteX192" fmla="*/ 0 w 10768629"/>
              <a:gd name="connsiteY192" fmla="*/ 1878785 h 1978172"/>
              <a:gd name="connsiteX0" fmla="*/ 0 w 10768629"/>
              <a:gd name="connsiteY0" fmla="*/ 0 h 1978172"/>
              <a:gd name="connsiteX1" fmla="*/ 10768629 w 10768629"/>
              <a:gd name="connsiteY1" fmla="*/ 0 h 1978172"/>
              <a:gd name="connsiteX2" fmla="*/ 10733254 w 10768629"/>
              <a:gd name="connsiteY2" fmla="*/ 31439 h 1978172"/>
              <a:gd name="connsiteX3" fmla="*/ 10727085 w 10768629"/>
              <a:gd name="connsiteY3" fmla="*/ 37910 h 1978172"/>
              <a:gd name="connsiteX4" fmla="*/ 10675953 w 10768629"/>
              <a:gd name="connsiteY4" fmla="*/ 68623 h 1978172"/>
              <a:gd name="connsiteX5" fmla="*/ 10637091 w 10768629"/>
              <a:gd name="connsiteY5" fmla="*/ 90361 h 1978172"/>
              <a:gd name="connsiteX6" fmla="*/ 10610971 w 10768629"/>
              <a:gd name="connsiteY6" fmla="*/ 110764 h 1978172"/>
              <a:gd name="connsiteX7" fmla="*/ 10532872 w 10768629"/>
              <a:gd name="connsiteY7" fmla="*/ 138028 h 1978172"/>
              <a:gd name="connsiteX8" fmla="*/ 10398558 w 10768629"/>
              <a:gd name="connsiteY8" fmla="*/ 172911 h 1978172"/>
              <a:gd name="connsiteX9" fmla="*/ 10371128 w 10768629"/>
              <a:gd name="connsiteY9" fmla="*/ 182609 h 1978172"/>
              <a:gd name="connsiteX10" fmla="*/ 10352178 w 10768629"/>
              <a:gd name="connsiteY10" fmla="*/ 199976 h 1978172"/>
              <a:gd name="connsiteX11" fmla="*/ 10351815 w 10768629"/>
              <a:gd name="connsiteY11" fmla="*/ 211879 h 1978172"/>
              <a:gd name="connsiteX12" fmla="*/ 10337471 w 10768629"/>
              <a:gd name="connsiteY12" fmla="*/ 218661 h 1978172"/>
              <a:gd name="connsiteX13" fmla="*/ 10334625 w 10768629"/>
              <a:gd name="connsiteY13" fmla="*/ 222351 h 1978172"/>
              <a:gd name="connsiteX14" fmla="*/ 10256365 w 10768629"/>
              <a:gd name="connsiteY14" fmla="*/ 235917 h 1978172"/>
              <a:gd name="connsiteX15" fmla="*/ 10201127 w 10768629"/>
              <a:gd name="connsiteY15" fmla="*/ 267448 h 1978172"/>
              <a:gd name="connsiteX16" fmla="*/ 9961218 w 10768629"/>
              <a:gd name="connsiteY16" fmla="*/ 326720 h 1978172"/>
              <a:gd name="connsiteX17" fmla="*/ 9859715 w 10768629"/>
              <a:gd name="connsiteY17" fmla="*/ 355698 h 1978172"/>
              <a:gd name="connsiteX18" fmla="*/ 9679867 w 10768629"/>
              <a:gd name="connsiteY18" fmla="*/ 399081 h 1978172"/>
              <a:gd name="connsiteX19" fmla="*/ 9490654 w 10768629"/>
              <a:gd name="connsiteY19" fmla="*/ 455225 h 1978172"/>
              <a:gd name="connsiteX20" fmla="*/ 9470837 w 10768629"/>
              <a:gd name="connsiteY20" fmla="*/ 452539 h 1978172"/>
              <a:gd name="connsiteX21" fmla="*/ 9469082 w 10768629"/>
              <a:gd name="connsiteY21" fmla="*/ 454891 h 1978172"/>
              <a:gd name="connsiteX22" fmla="*/ 9448038 w 10768629"/>
              <a:gd name="connsiteY22" fmla="*/ 459733 h 1978172"/>
              <a:gd name="connsiteX23" fmla="*/ 9396821 w 10768629"/>
              <a:gd name="connsiteY23" fmla="*/ 455795 h 1978172"/>
              <a:gd name="connsiteX24" fmla="*/ 9392197 w 10768629"/>
              <a:gd name="connsiteY24" fmla="*/ 459796 h 1978172"/>
              <a:gd name="connsiteX25" fmla="*/ 9347994 w 10768629"/>
              <a:gd name="connsiteY25" fmla="*/ 464462 h 1978172"/>
              <a:gd name="connsiteX26" fmla="*/ 9347889 w 10768629"/>
              <a:gd name="connsiteY26" fmla="*/ 466539 h 1978172"/>
              <a:gd name="connsiteX27" fmla="*/ 9337639 w 10768629"/>
              <a:gd name="connsiteY27" fmla="*/ 476654 h 1978172"/>
              <a:gd name="connsiteX28" fmla="*/ 9316893 w 10768629"/>
              <a:gd name="connsiteY28" fmla="*/ 491390 h 1978172"/>
              <a:gd name="connsiteX29" fmla="*/ 9229283 w 10768629"/>
              <a:gd name="connsiteY29" fmla="*/ 555377 h 1978172"/>
              <a:gd name="connsiteX30" fmla="*/ 9220274 w 10768629"/>
              <a:gd name="connsiteY30" fmla="*/ 557502 h 1978172"/>
              <a:gd name="connsiteX31" fmla="*/ 9220202 w 10768629"/>
              <a:gd name="connsiteY31" fmla="*/ 558001 h 1978172"/>
              <a:gd name="connsiteX32" fmla="*/ 9210908 w 10768629"/>
              <a:gd name="connsiteY32" fmla="*/ 561147 h 1978172"/>
              <a:gd name="connsiteX33" fmla="*/ 9186374 w 10768629"/>
              <a:gd name="connsiteY33" fmla="*/ 565502 h 1978172"/>
              <a:gd name="connsiteX34" fmla="*/ 9181058 w 10768629"/>
              <a:gd name="connsiteY34" fmla="*/ 569943 h 1978172"/>
              <a:gd name="connsiteX35" fmla="*/ 9179948 w 10768629"/>
              <a:gd name="connsiteY35" fmla="*/ 576062 h 1978172"/>
              <a:gd name="connsiteX36" fmla="*/ 9149110 w 10768629"/>
              <a:gd name="connsiteY36" fmla="*/ 598906 h 1978172"/>
              <a:gd name="connsiteX37" fmla="*/ 9078556 w 10768629"/>
              <a:gd name="connsiteY37" fmla="*/ 644039 h 1978172"/>
              <a:gd name="connsiteX38" fmla="*/ 8996399 w 10768629"/>
              <a:gd name="connsiteY38" fmla="*/ 690055 h 1978172"/>
              <a:gd name="connsiteX39" fmla="*/ 8803791 w 10768629"/>
              <a:gd name="connsiteY39" fmla="*/ 813860 h 1978172"/>
              <a:gd name="connsiteX40" fmla="*/ 8636202 w 10768629"/>
              <a:gd name="connsiteY40" fmla="*/ 848463 h 1978172"/>
              <a:gd name="connsiteX41" fmla="*/ 8555372 w 10768629"/>
              <a:gd name="connsiteY41" fmla="*/ 883171 h 1978172"/>
              <a:gd name="connsiteX42" fmla="*/ 8507229 w 10768629"/>
              <a:gd name="connsiteY42" fmla="*/ 901665 h 1978172"/>
              <a:gd name="connsiteX43" fmla="*/ 8428473 w 10768629"/>
              <a:gd name="connsiteY43" fmla="*/ 927985 h 1978172"/>
              <a:gd name="connsiteX44" fmla="*/ 8427914 w 10768629"/>
              <a:gd name="connsiteY44" fmla="*/ 933480 h 1978172"/>
              <a:gd name="connsiteX45" fmla="*/ 8420327 w 10768629"/>
              <a:gd name="connsiteY45" fmla="*/ 941984 h 1978172"/>
              <a:gd name="connsiteX46" fmla="*/ 8407128 w 10768629"/>
              <a:gd name="connsiteY46" fmla="*/ 961344 h 1978172"/>
              <a:gd name="connsiteX47" fmla="*/ 8380548 w 10768629"/>
              <a:gd name="connsiteY47" fmla="*/ 987916 h 1978172"/>
              <a:gd name="connsiteX48" fmla="*/ 8379462 w 10768629"/>
              <a:gd name="connsiteY48" fmla="*/ 987106 h 1978172"/>
              <a:gd name="connsiteX49" fmla="*/ 8369725 w 10768629"/>
              <a:gd name="connsiteY49" fmla="*/ 989186 h 1978172"/>
              <a:gd name="connsiteX50" fmla="*/ 8304438 w 10768629"/>
              <a:gd name="connsiteY50" fmla="*/ 996739 h 1978172"/>
              <a:gd name="connsiteX51" fmla="*/ 8280929 w 10768629"/>
              <a:gd name="connsiteY51" fmla="*/ 1023089 h 1978172"/>
              <a:gd name="connsiteX52" fmla="*/ 8275760 w 10768629"/>
              <a:gd name="connsiteY52" fmla="*/ 1027772 h 1978172"/>
              <a:gd name="connsiteX53" fmla="*/ 8275478 w 10768629"/>
              <a:gd name="connsiteY53" fmla="*/ 1027605 h 1978172"/>
              <a:gd name="connsiteX54" fmla="*/ 8269666 w 10768629"/>
              <a:gd name="connsiteY54" fmla="*/ 1032033 h 1978172"/>
              <a:gd name="connsiteX55" fmla="*/ 8203836 w 10768629"/>
              <a:gd name="connsiteY55" fmla="*/ 1037347 h 1978172"/>
              <a:gd name="connsiteX56" fmla="*/ 8122936 w 10768629"/>
              <a:gd name="connsiteY56" fmla="*/ 1063113 h 1978172"/>
              <a:gd name="connsiteX57" fmla="*/ 8043658 w 10768629"/>
              <a:gd name="connsiteY57" fmla="*/ 1092746 h 1978172"/>
              <a:gd name="connsiteX58" fmla="*/ 8015351 w 10768629"/>
              <a:gd name="connsiteY58" fmla="*/ 1105478 h 1978172"/>
              <a:gd name="connsiteX59" fmla="*/ 7963145 w 10768629"/>
              <a:gd name="connsiteY59" fmla="*/ 1119346 h 1978172"/>
              <a:gd name="connsiteX60" fmla="*/ 7938145 w 10768629"/>
              <a:gd name="connsiteY60" fmla="*/ 1120225 h 1978172"/>
              <a:gd name="connsiteX61" fmla="*/ 7937238 w 10768629"/>
              <a:gd name="connsiteY61" fmla="*/ 1121204 h 1978172"/>
              <a:gd name="connsiteX62" fmla="*/ 7934398 w 10768629"/>
              <a:gd name="connsiteY62" fmla="*/ 1118240 h 1978172"/>
              <a:gd name="connsiteX63" fmla="*/ 7918248 w 10768629"/>
              <a:gd name="connsiteY63" fmla="*/ 1124371 h 1978172"/>
              <a:gd name="connsiteX64" fmla="*/ 7914119 w 10768629"/>
              <a:gd name="connsiteY64" fmla="*/ 1127653 h 1978172"/>
              <a:gd name="connsiteX65" fmla="*/ 7907658 w 10768629"/>
              <a:gd name="connsiteY65" fmla="*/ 1130350 h 1978172"/>
              <a:gd name="connsiteX66" fmla="*/ 7907434 w 10768629"/>
              <a:gd name="connsiteY66" fmla="*/ 1130103 h 1978172"/>
              <a:gd name="connsiteX67" fmla="*/ 7901508 w 10768629"/>
              <a:gd name="connsiteY67" fmla="*/ 1133245 h 1978172"/>
              <a:gd name="connsiteX68" fmla="*/ 7873287 w 10768629"/>
              <a:gd name="connsiteY68" fmla="*/ 1152609 h 1978172"/>
              <a:gd name="connsiteX69" fmla="*/ 7834833 w 10768629"/>
              <a:gd name="connsiteY69" fmla="*/ 1153868 h 1978172"/>
              <a:gd name="connsiteX70" fmla="*/ 7828661 w 10768629"/>
              <a:gd name="connsiteY70" fmla="*/ 1139994 h 1978172"/>
              <a:gd name="connsiteX71" fmla="*/ 7823966 w 10768629"/>
              <a:gd name="connsiteY71" fmla="*/ 1143178 h 1978172"/>
              <a:gd name="connsiteX72" fmla="*/ 7815078 w 10768629"/>
              <a:gd name="connsiteY72" fmla="*/ 1151776 h 1978172"/>
              <a:gd name="connsiteX73" fmla="*/ 7812026 w 10768629"/>
              <a:gd name="connsiteY73" fmla="*/ 1151522 h 1978172"/>
              <a:gd name="connsiteX74" fmla="*/ 7782249 w 10768629"/>
              <a:gd name="connsiteY74" fmla="*/ 1160970 h 1978172"/>
              <a:gd name="connsiteX75" fmla="*/ 7773476 w 10768629"/>
              <a:gd name="connsiteY75" fmla="*/ 1157414 h 1978172"/>
              <a:gd name="connsiteX76" fmla="*/ 7769600 w 10768629"/>
              <a:gd name="connsiteY76" fmla="*/ 1157365 h 1978172"/>
              <a:gd name="connsiteX77" fmla="*/ 7752631 w 10768629"/>
              <a:gd name="connsiteY77" fmla="*/ 1172815 h 1978172"/>
              <a:gd name="connsiteX78" fmla="*/ 7743525 w 10768629"/>
              <a:gd name="connsiteY78" fmla="*/ 1179064 h 1978172"/>
              <a:gd name="connsiteX79" fmla="*/ 7685942 w 10768629"/>
              <a:gd name="connsiteY79" fmla="*/ 1233723 h 1978172"/>
              <a:gd name="connsiteX80" fmla="*/ 7586920 w 10768629"/>
              <a:gd name="connsiteY80" fmla="*/ 1261888 h 1978172"/>
              <a:gd name="connsiteX81" fmla="*/ 7486100 w 10768629"/>
              <a:gd name="connsiteY81" fmla="*/ 1292563 h 1978172"/>
              <a:gd name="connsiteX82" fmla="*/ 7407190 w 10768629"/>
              <a:gd name="connsiteY82" fmla="*/ 1314737 h 1978172"/>
              <a:gd name="connsiteX83" fmla="*/ 7240698 w 10768629"/>
              <a:gd name="connsiteY83" fmla="*/ 1438832 h 1978172"/>
              <a:gd name="connsiteX84" fmla="*/ 7197675 w 10768629"/>
              <a:gd name="connsiteY84" fmla="*/ 1447530 h 1978172"/>
              <a:gd name="connsiteX85" fmla="*/ 7164788 w 10768629"/>
              <a:gd name="connsiteY85" fmla="*/ 1480293 h 1978172"/>
              <a:gd name="connsiteX86" fmla="*/ 7147929 w 10768629"/>
              <a:gd name="connsiteY86" fmla="*/ 1477641 h 1978172"/>
              <a:gd name="connsiteX87" fmla="*/ 7144965 w 10768629"/>
              <a:gd name="connsiteY87" fmla="*/ 1476908 h 1978172"/>
              <a:gd name="connsiteX88" fmla="*/ 7134299 w 10768629"/>
              <a:gd name="connsiteY88" fmla="*/ 1479969 h 1978172"/>
              <a:gd name="connsiteX89" fmla="*/ 7129809 w 10768629"/>
              <a:gd name="connsiteY89" fmla="*/ 1473339 h 1978172"/>
              <a:gd name="connsiteX90" fmla="*/ 7112688 w 10768629"/>
              <a:gd name="connsiteY90" fmla="*/ 1472575 h 1978172"/>
              <a:gd name="connsiteX91" fmla="*/ 7093470 w 10768629"/>
              <a:gd name="connsiteY91" fmla="*/ 1480300 h 1978172"/>
              <a:gd name="connsiteX92" fmla="*/ 7025034 w 10768629"/>
              <a:gd name="connsiteY92" fmla="*/ 1506934 h 1978172"/>
              <a:gd name="connsiteX93" fmla="*/ 7014783 w 10768629"/>
              <a:gd name="connsiteY93" fmla="*/ 1515868 h 1978172"/>
              <a:gd name="connsiteX94" fmla="*/ 6979706 w 10768629"/>
              <a:gd name="connsiteY94" fmla="*/ 1523511 h 1978172"/>
              <a:gd name="connsiteX95" fmla="*/ 6977890 w 10768629"/>
              <a:gd name="connsiteY95" fmla="*/ 1525793 h 1978172"/>
              <a:gd name="connsiteX96" fmla="*/ 6944339 w 10768629"/>
              <a:gd name="connsiteY96" fmla="*/ 1536237 h 1978172"/>
              <a:gd name="connsiteX97" fmla="*/ 6886996 w 10768629"/>
              <a:gd name="connsiteY97" fmla="*/ 1563569 h 1978172"/>
              <a:gd name="connsiteX98" fmla="*/ 6874510 w 10768629"/>
              <a:gd name="connsiteY98" fmla="*/ 1558469 h 1978172"/>
              <a:gd name="connsiteX99" fmla="*/ 6871943 w 10768629"/>
              <a:gd name="connsiteY99" fmla="*/ 1554651 h 1978172"/>
              <a:gd name="connsiteX100" fmla="*/ 6856174 w 10768629"/>
              <a:gd name="connsiteY100" fmla="*/ 1562024 h 1978172"/>
              <a:gd name="connsiteX101" fmla="*/ 6842321 w 10768629"/>
              <a:gd name="connsiteY101" fmla="*/ 1560554 h 1978172"/>
              <a:gd name="connsiteX102" fmla="*/ 6832713 w 10768629"/>
              <a:gd name="connsiteY102" fmla="*/ 1569357 h 1978172"/>
              <a:gd name="connsiteX103" fmla="*/ 6816351 w 10768629"/>
              <a:gd name="connsiteY103" fmla="*/ 1571495 h 1978172"/>
              <a:gd name="connsiteX104" fmla="*/ 6795800 w 10768629"/>
              <a:gd name="connsiteY104" fmla="*/ 1572010 h 1978172"/>
              <a:gd name="connsiteX105" fmla="*/ 6777546 w 10768629"/>
              <a:gd name="connsiteY105" fmla="*/ 1568661 h 1978172"/>
              <a:gd name="connsiteX106" fmla="*/ 6751528 w 10768629"/>
              <a:gd name="connsiteY106" fmla="*/ 1574143 h 1978172"/>
              <a:gd name="connsiteX107" fmla="*/ 6691966 w 10768629"/>
              <a:gd name="connsiteY107" fmla="*/ 1582255 h 1978172"/>
              <a:gd name="connsiteX108" fmla="*/ 6646941 w 10768629"/>
              <a:gd name="connsiteY108" fmla="*/ 1588471 h 1978172"/>
              <a:gd name="connsiteX109" fmla="*/ 6568576 w 10768629"/>
              <a:gd name="connsiteY109" fmla="*/ 1606488 h 1978172"/>
              <a:gd name="connsiteX110" fmla="*/ 6554358 w 10768629"/>
              <a:gd name="connsiteY110" fmla="*/ 1621701 h 1978172"/>
              <a:gd name="connsiteX111" fmla="*/ 6516968 w 10768629"/>
              <a:gd name="connsiteY111" fmla="*/ 1617195 h 1978172"/>
              <a:gd name="connsiteX112" fmla="*/ 6506479 w 10768629"/>
              <a:gd name="connsiteY112" fmla="*/ 1602227 h 1978172"/>
              <a:gd name="connsiteX113" fmla="*/ 6458436 w 10768629"/>
              <a:gd name="connsiteY113" fmla="*/ 1607332 h 1978172"/>
              <a:gd name="connsiteX114" fmla="*/ 6414786 w 10768629"/>
              <a:gd name="connsiteY114" fmla="*/ 1628815 h 1978172"/>
              <a:gd name="connsiteX115" fmla="*/ 6357085 w 10768629"/>
              <a:gd name="connsiteY115" fmla="*/ 1640846 h 1978172"/>
              <a:gd name="connsiteX116" fmla="*/ 6322636 w 10768629"/>
              <a:gd name="connsiteY116" fmla="*/ 1648213 h 1978172"/>
              <a:gd name="connsiteX117" fmla="*/ 6226172 w 10768629"/>
              <a:gd name="connsiteY117" fmla="*/ 1654676 h 1978172"/>
              <a:gd name="connsiteX118" fmla="*/ 6221217 w 10768629"/>
              <a:gd name="connsiteY118" fmla="*/ 1654506 h 1978172"/>
              <a:gd name="connsiteX119" fmla="*/ 6204956 w 10768629"/>
              <a:gd name="connsiteY119" fmla="*/ 1664280 h 1978172"/>
              <a:gd name="connsiteX120" fmla="*/ 6204270 w 10768629"/>
              <a:gd name="connsiteY120" fmla="*/ 1666782 h 1978172"/>
              <a:gd name="connsiteX121" fmla="*/ 6143810 w 10768629"/>
              <a:gd name="connsiteY121" fmla="*/ 1661963 h 1978172"/>
              <a:gd name="connsiteX122" fmla="*/ 6136560 w 10768629"/>
              <a:gd name="connsiteY122" fmla="*/ 1665728 h 1978172"/>
              <a:gd name="connsiteX123" fmla="*/ 6096155 w 10768629"/>
              <a:gd name="connsiteY123" fmla="*/ 1656951 h 1978172"/>
              <a:gd name="connsiteX124" fmla="*/ 6075812 w 10768629"/>
              <a:gd name="connsiteY124" fmla="*/ 1655422 h 1978172"/>
              <a:gd name="connsiteX125" fmla="*/ 6039495 w 10768629"/>
              <a:gd name="connsiteY125" fmla="*/ 1649680 h 1978172"/>
              <a:gd name="connsiteX126" fmla="*/ 6036523 w 10768629"/>
              <a:gd name="connsiteY126" fmla="*/ 1652121 h 1978172"/>
              <a:gd name="connsiteX127" fmla="*/ 6029328 w 10768629"/>
              <a:gd name="connsiteY127" fmla="*/ 1649904 h 1978172"/>
              <a:gd name="connsiteX128" fmla="*/ 6024075 w 10768629"/>
              <a:gd name="connsiteY128" fmla="*/ 1652779 h 1978172"/>
              <a:gd name="connsiteX129" fmla="*/ 6018085 w 10768629"/>
              <a:gd name="connsiteY129" fmla="*/ 1652030 h 1978172"/>
              <a:gd name="connsiteX130" fmla="*/ 5955513 w 10768629"/>
              <a:gd name="connsiteY130" fmla="*/ 1663584 h 1978172"/>
              <a:gd name="connsiteX131" fmla="*/ 5941996 w 10768629"/>
              <a:gd name="connsiteY131" fmla="*/ 1661326 h 1978172"/>
              <a:gd name="connsiteX132" fmla="*/ 5931789 w 10768629"/>
              <a:gd name="connsiteY132" fmla="*/ 1669915 h 1978172"/>
              <a:gd name="connsiteX133" fmla="*/ 5888686 w 10768629"/>
              <a:gd name="connsiteY133" fmla="*/ 1672175 h 1978172"/>
              <a:gd name="connsiteX134" fmla="*/ 5873794 w 10768629"/>
              <a:gd name="connsiteY134" fmla="*/ 1665454 h 1978172"/>
              <a:gd name="connsiteX135" fmla="*/ 5860022 w 10768629"/>
              <a:gd name="connsiteY135" fmla="*/ 1660635 h 1978172"/>
              <a:gd name="connsiteX136" fmla="*/ 5858237 w 10768629"/>
              <a:gd name="connsiteY136" fmla="*/ 1660649 h 1978172"/>
              <a:gd name="connsiteX137" fmla="*/ 5840319 w 10768629"/>
              <a:gd name="connsiteY137" fmla="*/ 1660798 h 1978172"/>
              <a:gd name="connsiteX138" fmla="*/ 5806984 w 10768629"/>
              <a:gd name="connsiteY138" fmla="*/ 1661075 h 1978172"/>
              <a:gd name="connsiteX139" fmla="*/ 5742351 w 10768629"/>
              <a:gd name="connsiteY139" fmla="*/ 1667489 h 1978172"/>
              <a:gd name="connsiteX140" fmla="*/ 5529437 w 10768629"/>
              <a:gd name="connsiteY140" fmla="*/ 1636968 h 1978172"/>
              <a:gd name="connsiteX141" fmla="*/ 5440853 w 10768629"/>
              <a:gd name="connsiteY141" fmla="*/ 1657958 h 1978172"/>
              <a:gd name="connsiteX142" fmla="*/ 4945936 w 10768629"/>
              <a:gd name="connsiteY142" fmla="*/ 1713743 h 1978172"/>
              <a:gd name="connsiteX143" fmla="*/ 4818446 w 10768629"/>
              <a:gd name="connsiteY143" fmla="*/ 1726895 h 1978172"/>
              <a:gd name="connsiteX144" fmla="*/ 4809524 w 10768629"/>
              <a:gd name="connsiteY144" fmla="*/ 1761033 h 1978172"/>
              <a:gd name="connsiteX145" fmla="*/ 4759058 w 10768629"/>
              <a:gd name="connsiteY145" fmla="*/ 1766533 h 1978172"/>
              <a:gd name="connsiteX146" fmla="*/ 4719749 w 10768629"/>
              <a:gd name="connsiteY146" fmla="*/ 1771811 h 1978172"/>
              <a:gd name="connsiteX147" fmla="*/ 4568686 w 10768629"/>
              <a:gd name="connsiteY147" fmla="*/ 1786141 h 1978172"/>
              <a:gd name="connsiteX148" fmla="*/ 4418751 w 10768629"/>
              <a:gd name="connsiteY148" fmla="*/ 1796932 h 1978172"/>
              <a:gd name="connsiteX149" fmla="*/ 4378377 w 10768629"/>
              <a:gd name="connsiteY149" fmla="*/ 1815528 h 1978172"/>
              <a:gd name="connsiteX150" fmla="*/ 4320575 w 10768629"/>
              <a:gd name="connsiteY150" fmla="*/ 1832722 h 1978172"/>
              <a:gd name="connsiteX151" fmla="*/ 4220200 w 10768629"/>
              <a:gd name="connsiteY151" fmla="*/ 1873173 h 1978172"/>
              <a:gd name="connsiteX152" fmla="*/ 4105361 w 10768629"/>
              <a:gd name="connsiteY152" fmla="*/ 1894711 h 1978172"/>
              <a:gd name="connsiteX153" fmla="*/ 3973223 w 10768629"/>
              <a:gd name="connsiteY153" fmla="*/ 1881015 h 1978172"/>
              <a:gd name="connsiteX154" fmla="*/ 3900992 w 10768629"/>
              <a:gd name="connsiteY154" fmla="*/ 1880603 h 1978172"/>
              <a:gd name="connsiteX155" fmla="*/ 3662119 w 10768629"/>
              <a:gd name="connsiteY155" fmla="*/ 1876289 h 1978172"/>
              <a:gd name="connsiteX156" fmla="*/ 3496919 w 10768629"/>
              <a:gd name="connsiteY156" fmla="*/ 1873180 h 1978172"/>
              <a:gd name="connsiteX157" fmla="*/ 3449433 w 10768629"/>
              <a:gd name="connsiteY157" fmla="*/ 1889681 h 1978172"/>
              <a:gd name="connsiteX158" fmla="*/ 3369766 w 10768629"/>
              <a:gd name="connsiteY158" fmla="*/ 1916653 h 1978172"/>
              <a:gd name="connsiteX159" fmla="*/ 3290336 w 10768629"/>
              <a:gd name="connsiteY159" fmla="*/ 1925039 h 1978172"/>
              <a:gd name="connsiteX160" fmla="*/ 3224897 w 10768629"/>
              <a:gd name="connsiteY160" fmla="*/ 1943733 h 1978172"/>
              <a:gd name="connsiteX161" fmla="*/ 3161463 w 10768629"/>
              <a:gd name="connsiteY161" fmla="*/ 1946591 h 1978172"/>
              <a:gd name="connsiteX162" fmla="*/ 3157504 w 10768629"/>
              <a:gd name="connsiteY162" fmla="*/ 1957276 h 1978172"/>
              <a:gd name="connsiteX163" fmla="*/ 3115176 w 10768629"/>
              <a:gd name="connsiteY163" fmla="*/ 1943459 h 1978172"/>
              <a:gd name="connsiteX164" fmla="*/ 3038835 w 10768629"/>
              <a:gd name="connsiteY164" fmla="*/ 1920210 h 1978172"/>
              <a:gd name="connsiteX165" fmla="*/ 2897201 w 10768629"/>
              <a:gd name="connsiteY165" fmla="*/ 1926772 h 1978172"/>
              <a:gd name="connsiteX166" fmla="*/ 2783891 w 10768629"/>
              <a:gd name="connsiteY166" fmla="*/ 1931749 h 1978172"/>
              <a:gd name="connsiteX167" fmla="*/ 2712447 w 10768629"/>
              <a:gd name="connsiteY167" fmla="*/ 1933044 h 1978172"/>
              <a:gd name="connsiteX168" fmla="*/ 2560151 w 10768629"/>
              <a:gd name="connsiteY168" fmla="*/ 1963609 h 1978172"/>
              <a:gd name="connsiteX169" fmla="*/ 2367221 w 10768629"/>
              <a:gd name="connsiteY169" fmla="*/ 1971884 h 1978172"/>
              <a:gd name="connsiteX170" fmla="*/ 2272130 w 10768629"/>
              <a:gd name="connsiteY170" fmla="*/ 1961162 h 1978172"/>
              <a:gd name="connsiteX171" fmla="*/ 2189404 w 10768629"/>
              <a:gd name="connsiteY171" fmla="*/ 1978172 h 1978172"/>
              <a:gd name="connsiteX172" fmla="*/ 2077704 w 10768629"/>
              <a:gd name="connsiteY172" fmla="*/ 1965002 h 1978172"/>
              <a:gd name="connsiteX173" fmla="*/ 1967996 w 10768629"/>
              <a:gd name="connsiteY173" fmla="*/ 1953187 h 1978172"/>
              <a:gd name="connsiteX174" fmla="*/ 1855805 w 10768629"/>
              <a:gd name="connsiteY174" fmla="*/ 1926082 h 1978172"/>
              <a:gd name="connsiteX175" fmla="*/ 1790957 w 10768629"/>
              <a:gd name="connsiteY175" fmla="*/ 1919460 h 1978172"/>
              <a:gd name="connsiteX176" fmla="*/ 1613978 w 10768629"/>
              <a:gd name="connsiteY176" fmla="*/ 1891581 h 1978172"/>
              <a:gd name="connsiteX177" fmla="*/ 1436831 w 10768629"/>
              <a:gd name="connsiteY177" fmla="*/ 1856201 h 1978172"/>
              <a:gd name="connsiteX178" fmla="*/ 1332568 w 10768629"/>
              <a:gd name="connsiteY178" fmla="*/ 1793149 h 1978172"/>
              <a:gd name="connsiteX179" fmla="*/ 1186881 w 10768629"/>
              <a:gd name="connsiteY179" fmla="*/ 1768613 h 1978172"/>
              <a:gd name="connsiteX180" fmla="*/ 1162595 w 10768629"/>
              <a:gd name="connsiteY180" fmla="*/ 1758337 h 1978172"/>
              <a:gd name="connsiteX181" fmla="*/ 1128523 w 10768629"/>
              <a:gd name="connsiteY181" fmla="*/ 1763621 h 1978172"/>
              <a:gd name="connsiteX182" fmla="*/ 991903 w 10768629"/>
              <a:gd name="connsiteY182" fmla="*/ 1786741 h 1978172"/>
              <a:gd name="connsiteX183" fmla="*/ 883960 w 10768629"/>
              <a:gd name="connsiteY183" fmla="*/ 1822386 h 1978172"/>
              <a:gd name="connsiteX184" fmla="*/ 766531 w 10768629"/>
              <a:gd name="connsiteY184" fmla="*/ 1805053 h 1978172"/>
              <a:gd name="connsiteX185" fmla="*/ 669779 w 10768629"/>
              <a:gd name="connsiteY185" fmla="*/ 1800537 h 1978172"/>
              <a:gd name="connsiteX186" fmla="*/ 523898 w 10768629"/>
              <a:gd name="connsiteY186" fmla="*/ 1811085 h 1978172"/>
              <a:gd name="connsiteX187" fmla="*/ 360251 w 10768629"/>
              <a:gd name="connsiteY187" fmla="*/ 1830735 h 1978172"/>
              <a:gd name="connsiteX188" fmla="*/ 255207 w 10768629"/>
              <a:gd name="connsiteY188" fmla="*/ 1818275 h 1978172"/>
              <a:gd name="connsiteX189" fmla="*/ 101803 w 10768629"/>
              <a:gd name="connsiteY189" fmla="*/ 1870647 h 1978172"/>
              <a:gd name="connsiteX190" fmla="*/ 25397 w 10768629"/>
              <a:gd name="connsiteY190" fmla="*/ 1888443 h 1978172"/>
              <a:gd name="connsiteX191" fmla="*/ 2370 w 10768629"/>
              <a:gd name="connsiteY191" fmla="*/ 1878311 h 1978172"/>
              <a:gd name="connsiteX192" fmla="*/ 0 w 10768629"/>
              <a:gd name="connsiteY192" fmla="*/ 1878785 h 1978172"/>
              <a:gd name="connsiteX193" fmla="*/ 0 w 10768629"/>
              <a:gd name="connsiteY193" fmla="*/ 0 h 1978172"/>
              <a:gd name="connsiteX0" fmla="*/ 0 w 10768629"/>
              <a:gd name="connsiteY0" fmla="*/ 0 h 1978172"/>
              <a:gd name="connsiteX1" fmla="*/ 10768629 w 10768629"/>
              <a:gd name="connsiteY1" fmla="*/ 0 h 1978172"/>
              <a:gd name="connsiteX2" fmla="*/ 10733254 w 10768629"/>
              <a:gd name="connsiteY2" fmla="*/ 31439 h 1978172"/>
              <a:gd name="connsiteX3" fmla="*/ 10727085 w 10768629"/>
              <a:gd name="connsiteY3" fmla="*/ 37910 h 1978172"/>
              <a:gd name="connsiteX4" fmla="*/ 10675953 w 10768629"/>
              <a:gd name="connsiteY4" fmla="*/ 68623 h 1978172"/>
              <a:gd name="connsiteX5" fmla="*/ 10637091 w 10768629"/>
              <a:gd name="connsiteY5" fmla="*/ 90361 h 1978172"/>
              <a:gd name="connsiteX6" fmla="*/ 10610971 w 10768629"/>
              <a:gd name="connsiteY6" fmla="*/ 110764 h 1978172"/>
              <a:gd name="connsiteX7" fmla="*/ 10532872 w 10768629"/>
              <a:gd name="connsiteY7" fmla="*/ 138028 h 1978172"/>
              <a:gd name="connsiteX8" fmla="*/ 10398558 w 10768629"/>
              <a:gd name="connsiteY8" fmla="*/ 172911 h 1978172"/>
              <a:gd name="connsiteX9" fmla="*/ 10371128 w 10768629"/>
              <a:gd name="connsiteY9" fmla="*/ 182609 h 1978172"/>
              <a:gd name="connsiteX10" fmla="*/ 10352178 w 10768629"/>
              <a:gd name="connsiteY10" fmla="*/ 199976 h 1978172"/>
              <a:gd name="connsiteX11" fmla="*/ 10351815 w 10768629"/>
              <a:gd name="connsiteY11" fmla="*/ 211879 h 1978172"/>
              <a:gd name="connsiteX12" fmla="*/ 10337471 w 10768629"/>
              <a:gd name="connsiteY12" fmla="*/ 218661 h 1978172"/>
              <a:gd name="connsiteX13" fmla="*/ 10334625 w 10768629"/>
              <a:gd name="connsiteY13" fmla="*/ 222351 h 1978172"/>
              <a:gd name="connsiteX14" fmla="*/ 10256365 w 10768629"/>
              <a:gd name="connsiteY14" fmla="*/ 235917 h 1978172"/>
              <a:gd name="connsiteX15" fmla="*/ 10201127 w 10768629"/>
              <a:gd name="connsiteY15" fmla="*/ 267448 h 1978172"/>
              <a:gd name="connsiteX16" fmla="*/ 9961218 w 10768629"/>
              <a:gd name="connsiteY16" fmla="*/ 326720 h 1978172"/>
              <a:gd name="connsiteX17" fmla="*/ 9859715 w 10768629"/>
              <a:gd name="connsiteY17" fmla="*/ 355698 h 1978172"/>
              <a:gd name="connsiteX18" fmla="*/ 9679867 w 10768629"/>
              <a:gd name="connsiteY18" fmla="*/ 399081 h 1978172"/>
              <a:gd name="connsiteX19" fmla="*/ 9490654 w 10768629"/>
              <a:gd name="connsiteY19" fmla="*/ 455225 h 1978172"/>
              <a:gd name="connsiteX20" fmla="*/ 9470837 w 10768629"/>
              <a:gd name="connsiteY20" fmla="*/ 452539 h 1978172"/>
              <a:gd name="connsiteX21" fmla="*/ 9469082 w 10768629"/>
              <a:gd name="connsiteY21" fmla="*/ 454891 h 1978172"/>
              <a:gd name="connsiteX22" fmla="*/ 9448038 w 10768629"/>
              <a:gd name="connsiteY22" fmla="*/ 459733 h 1978172"/>
              <a:gd name="connsiteX23" fmla="*/ 9396821 w 10768629"/>
              <a:gd name="connsiteY23" fmla="*/ 455795 h 1978172"/>
              <a:gd name="connsiteX24" fmla="*/ 9392197 w 10768629"/>
              <a:gd name="connsiteY24" fmla="*/ 459796 h 1978172"/>
              <a:gd name="connsiteX25" fmla="*/ 9347994 w 10768629"/>
              <a:gd name="connsiteY25" fmla="*/ 464462 h 1978172"/>
              <a:gd name="connsiteX26" fmla="*/ 9347889 w 10768629"/>
              <a:gd name="connsiteY26" fmla="*/ 466539 h 1978172"/>
              <a:gd name="connsiteX27" fmla="*/ 9337639 w 10768629"/>
              <a:gd name="connsiteY27" fmla="*/ 476654 h 1978172"/>
              <a:gd name="connsiteX28" fmla="*/ 9316893 w 10768629"/>
              <a:gd name="connsiteY28" fmla="*/ 491390 h 1978172"/>
              <a:gd name="connsiteX29" fmla="*/ 9229283 w 10768629"/>
              <a:gd name="connsiteY29" fmla="*/ 555377 h 1978172"/>
              <a:gd name="connsiteX30" fmla="*/ 9220274 w 10768629"/>
              <a:gd name="connsiteY30" fmla="*/ 557502 h 1978172"/>
              <a:gd name="connsiteX31" fmla="*/ 9220202 w 10768629"/>
              <a:gd name="connsiteY31" fmla="*/ 558001 h 1978172"/>
              <a:gd name="connsiteX32" fmla="*/ 9210908 w 10768629"/>
              <a:gd name="connsiteY32" fmla="*/ 561147 h 1978172"/>
              <a:gd name="connsiteX33" fmla="*/ 9186374 w 10768629"/>
              <a:gd name="connsiteY33" fmla="*/ 565502 h 1978172"/>
              <a:gd name="connsiteX34" fmla="*/ 9181058 w 10768629"/>
              <a:gd name="connsiteY34" fmla="*/ 569943 h 1978172"/>
              <a:gd name="connsiteX35" fmla="*/ 9179948 w 10768629"/>
              <a:gd name="connsiteY35" fmla="*/ 576062 h 1978172"/>
              <a:gd name="connsiteX36" fmla="*/ 9149110 w 10768629"/>
              <a:gd name="connsiteY36" fmla="*/ 598906 h 1978172"/>
              <a:gd name="connsiteX37" fmla="*/ 9078556 w 10768629"/>
              <a:gd name="connsiteY37" fmla="*/ 644039 h 1978172"/>
              <a:gd name="connsiteX38" fmla="*/ 8996399 w 10768629"/>
              <a:gd name="connsiteY38" fmla="*/ 690055 h 1978172"/>
              <a:gd name="connsiteX39" fmla="*/ 8803791 w 10768629"/>
              <a:gd name="connsiteY39" fmla="*/ 813860 h 1978172"/>
              <a:gd name="connsiteX40" fmla="*/ 8636202 w 10768629"/>
              <a:gd name="connsiteY40" fmla="*/ 848463 h 1978172"/>
              <a:gd name="connsiteX41" fmla="*/ 8555372 w 10768629"/>
              <a:gd name="connsiteY41" fmla="*/ 883171 h 1978172"/>
              <a:gd name="connsiteX42" fmla="*/ 8507229 w 10768629"/>
              <a:gd name="connsiteY42" fmla="*/ 901665 h 1978172"/>
              <a:gd name="connsiteX43" fmla="*/ 8428473 w 10768629"/>
              <a:gd name="connsiteY43" fmla="*/ 927985 h 1978172"/>
              <a:gd name="connsiteX44" fmla="*/ 8427914 w 10768629"/>
              <a:gd name="connsiteY44" fmla="*/ 933480 h 1978172"/>
              <a:gd name="connsiteX45" fmla="*/ 8420327 w 10768629"/>
              <a:gd name="connsiteY45" fmla="*/ 941984 h 1978172"/>
              <a:gd name="connsiteX46" fmla="*/ 8407128 w 10768629"/>
              <a:gd name="connsiteY46" fmla="*/ 961344 h 1978172"/>
              <a:gd name="connsiteX47" fmla="*/ 8380548 w 10768629"/>
              <a:gd name="connsiteY47" fmla="*/ 987916 h 1978172"/>
              <a:gd name="connsiteX48" fmla="*/ 8379462 w 10768629"/>
              <a:gd name="connsiteY48" fmla="*/ 987106 h 1978172"/>
              <a:gd name="connsiteX49" fmla="*/ 8369725 w 10768629"/>
              <a:gd name="connsiteY49" fmla="*/ 989186 h 1978172"/>
              <a:gd name="connsiteX50" fmla="*/ 8304438 w 10768629"/>
              <a:gd name="connsiteY50" fmla="*/ 996739 h 1978172"/>
              <a:gd name="connsiteX51" fmla="*/ 8280929 w 10768629"/>
              <a:gd name="connsiteY51" fmla="*/ 1023089 h 1978172"/>
              <a:gd name="connsiteX52" fmla="*/ 8275760 w 10768629"/>
              <a:gd name="connsiteY52" fmla="*/ 1027772 h 1978172"/>
              <a:gd name="connsiteX53" fmla="*/ 8275478 w 10768629"/>
              <a:gd name="connsiteY53" fmla="*/ 1027605 h 1978172"/>
              <a:gd name="connsiteX54" fmla="*/ 8269666 w 10768629"/>
              <a:gd name="connsiteY54" fmla="*/ 1032033 h 1978172"/>
              <a:gd name="connsiteX55" fmla="*/ 8203836 w 10768629"/>
              <a:gd name="connsiteY55" fmla="*/ 1037347 h 1978172"/>
              <a:gd name="connsiteX56" fmla="*/ 8122936 w 10768629"/>
              <a:gd name="connsiteY56" fmla="*/ 1063113 h 1978172"/>
              <a:gd name="connsiteX57" fmla="*/ 8043658 w 10768629"/>
              <a:gd name="connsiteY57" fmla="*/ 1092746 h 1978172"/>
              <a:gd name="connsiteX58" fmla="*/ 8015351 w 10768629"/>
              <a:gd name="connsiteY58" fmla="*/ 1105478 h 1978172"/>
              <a:gd name="connsiteX59" fmla="*/ 7963145 w 10768629"/>
              <a:gd name="connsiteY59" fmla="*/ 1119346 h 1978172"/>
              <a:gd name="connsiteX60" fmla="*/ 7938145 w 10768629"/>
              <a:gd name="connsiteY60" fmla="*/ 1120225 h 1978172"/>
              <a:gd name="connsiteX61" fmla="*/ 7937238 w 10768629"/>
              <a:gd name="connsiteY61" fmla="*/ 1121204 h 1978172"/>
              <a:gd name="connsiteX62" fmla="*/ 7934398 w 10768629"/>
              <a:gd name="connsiteY62" fmla="*/ 1118240 h 1978172"/>
              <a:gd name="connsiteX63" fmla="*/ 7918248 w 10768629"/>
              <a:gd name="connsiteY63" fmla="*/ 1124371 h 1978172"/>
              <a:gd name="connsiteX64" fmla="*/ 7914119 w 10768629"/>
              <a:gd name="connsiteY64" fmla="*/ 1127653 h 1978172"/>
              <a:gd name="connsiteX65" fmla="*/ 7907658 w 10768629"/>
              <a:gd name="connsiteY65" fmla="*/ 1130350 h 1978172"/>
              <a:gd name="connsiteX66" fmla="*/ 7907434 w 10768629"/>
              <a:gd name="connsiteY66" fmla="*/ 1130103 h 1978172"/>
              <a:gd name="connsiteX67" fmla="*/ 7901508 w 10768629"/>
              <a:gd name="connsiteY67" fmla="*/ 1133245 h 1978172"/>
              <a:gd name="connsiteX68" fmla="*/ 7873287 w 10768629"/>
              <a:gd name="connsiteY68" fmla="*/ 1152609 h 1978172"/>
              <a:gd name="connsiteX69" fmla="*/ 7834833 w 10768629"/>
              <a:gd name="connsiteY69" fmla="*/ 1153868 h 1978172"/>
              <a:gd name="connsiteX70" fmla="*/ 7828661 w 10768629"/>
              <a:gd name="connsiteY70" fmla="*/ 1139994 h 1978172"/>
              <a:gd name="connsiteX71" fmla="*/ 7823966 w 10768629"/>
              <a:gd name="connsiteY71" fmla="*/ 1143178 h 1978172"/>
              <a:gd name="connsiteX72" fmla="*/ 7815078 w 10768629"/>
              <a:gd name="connsiteY72" fmla="*/ 1151776 h 1978172"/>
              <a:gd name="connsiteX73" fmla="*/ 7812026 w 10768629"/>
              <a:gd name="connsiteY73" fmla="*/ 1151522 h 1978172"/>
              <a:gd name="connsiteX74" fmla="*/ 7782249 w 10768629"/>
              <a:gd name="connsiteY74" fmla="*/ 1160970 h 1978172"/>
              <a:gd name="connsiteX75" fmla="*/ 7773476 w 10768629"/>
              <a:gd name="connsiteY75" fmla="*/ 1157414 h 1978172"/>
              <a:gd name="connsiteX76" fmla="*/ 7769600 w 10768629"/>
              <a:gd name="connsiteY76" fmla="*/ 1157365 h 1978172"/>
              <a:gd name="connsiteX77" fmla="*/ 7752631 w 10768629"/>
              <a:gd name="connsiteY77" fmla="*/ 1172815 h 1978172"/>
              <a:gd name="connsiteX78" fmla="*/ 7743525 w 10768629"/>
              <a:gd name="connsiteY78" fmla="*/ 1179064 h 1978172"/>
              <a:gd name="connsiteX79" fmla="*/ 7685942 w 10768629"/>
              <a:gd name="connsiteY79" fmla="*/ 1233723 h 1978172"/>
              <a:gd name="connsiteX80" fmla="*/ 7586920 w 10768629"/>
              <a:gd name="connsiteY80" fmla="*/ 1261888 h 1978172"/>
              <a:gd name="connsiteX81" fmla="*/ 7486100 w 10768629"/>
              <a:gd name="connsiteY81" fmla="*/ 1292563 h 1978172"/>
              <a:gd name="connsiteX82" fmla="*/ 7407190 w 10768629"/>
              <a:gd name="connsiteY82" fmla="*/ 1314737 h 1978172"/>
              <a:gd name="connsiteX83" fmla="*/ 7240698 w 10768629"/>
              <a:gd name="connsiteY83" fmla="*/ 1438832 h 1978172"/>
              <a:gd name="connsiteX84" fmla="*/ 7197675 w 10768629"/>
              <a:gd name="connsiteY84" fmla="*/ 1447530 h 1978172"/>
              <a:gd name="connsiteX85" fmla="*/ 7164788 w 10768629"/>
              <a:gd name="connsiteY85" fmla="*/ 1480293 h 1978172"/>
              <a:gd name="connsiteX86" fmla="*/ 7147929 w 10768629"/>
              <a:gd name="connsiteY86" fmla="*/ 1477641 h 1978172"/>
              <a:gd name="connsiteX87" fmla="*/ 7144965 w 10768629"/>
              <a:gd name="connsiteY87" fmla="*/ 1476908 h 1978172"/>
              <a:gd name="connsiteX88" fmla="*/ 7134299 w 10768629"/>
              <a:gd name="connsiteY88" fmla="*/ 1479969 h 1978172"/>
              <a:gd name="connsiteX89" fmla="*/ 7129809 w 10768629"/>
              <a:gd name="connsiteY89" fmla="*/ 1473339 h 1978172"/>
              <a:gd name="connsiteX90" fmla="*/ 7112688 w 10768629"/>
              <a:gd name="connsiteY90" fmla="*/ 1472575 h 1978172"/>
              <a:gd name="connsiteX91" fmla="*/ 7093470 w 10768629"/>
              <a:gd name="connsiteY91" fmla="*/ 1480300 h 1978172"/>
              <a:gd name="connsiteX92" fmla="*/ 7025034 w 10768629"/>
              <a:gd name="connsiteY92" fmla="*/ 1506934 h 1978172"/>
              <a:gd name="connsiteX93" fmla="*/ 7014783 w 10768629"/>
              <a:gd name="connsiteY93" fmla="*/ 1515868 h 1978172"/>
              <a:gd name="connsiteX94" fmla="*/ 6979706 w 10768629"/>
              <a:gd name="connsiteY94" fmla="*/ 1523511 h 1978172"/>
              <a:gd name="connsiteX95" fmla="*/ 6977890 w 10768629"/>
              <a:gd name="connsiteY95" fmla="*/ 1525793 h 1978172"/>
              <a:gd name="connsiteX96" fmla="*/ 6944339 w 10768629"/>
              <a:gd name="connsiteY96" fmla="*/ 1536237 h 1978172"/>
              <a:gd name="connsiteX97" fmla="*/ 6886996 w 10768629"/>
              <a:gd name="connsiteY97" fmla="*/ 1563569 h 1978172"/>
              <a:gd name="connsiteX98" fmla="*/ 6874510 w 10768629"/>
              <a:gd name="connsiteY98" fmla="*/ 1558469 h 1978172"/>
              <a:gd name="connsiteX99" fmla="*/ 6871943 w 10768629"/>
              <a:gd name="connsiteY99" fmla="*/ 1554651 h 1978172"/>
              <a:gd name="connsiteX100" fmla="*/ 6856174 w 10768629"/>
              <a:gd name="connsiteY100" fmla="*/ 1562024 h 1978172"/>
              <a:gd name="connsiteX101" fmla="*/ 6842321 w 10768629"/>
              <a:gd name="connsiteY101" fmla="*/ 1560554 h 1978172"/>
              <a:gd name="connsiteX102" fmla="*/ 6832713 w 10768629"/>
              <a:gd name="connsiteY102" fmla="*/ 1569357 h 1978172"/>
              <a:gd name="connsiteX103" fmla="*/ 6816351 w 10768629"/>
              <a:gd name="connsiteY103" fmla="*/ 1571495 h 1978172"/>
              <a:gd name="connsiteX104" fmla="*/ 6795800 w 10768629"/>
              <a:gd name="connsiteY104" fmla="*/ 1572010 h 1978172"/>
              <a:gd name="connsiteX105" fmla="*/ 6777546 w 10768629"/>
              <a:gd name="connsiteY105" fmla="*/ 1568661 h 1978172"/>
              <a:gd name="connsiteX106" fmla="*/ 6751528 w 10768629"/>
              <a:gd name="connsiteY106" fmla="*/ 1574143 h 1978172"/>
              <a:gd name="connsiteX107" fmla="*/ 6691966 w 10768629"/>
              <a:gd name="connsiteY107" fmla="*/ 1582255 h 1978172"/>
              <a:gd name="connsiteX108" fmla="*/ 6646941 w 10768629"/>
              <a:gd name="connsiteY108" fmla="*/ 1588471 h 1978172"/>
              <a:gd name="connsiteX109" fmla="*/ 6568576 w 10768629"/>
              <a:gd name="connsiteY109" fmla="*/ 1606488 h 1978172"/>
              <a:gd name="connsiteX110" fmla="*/ 6554358 w 10768629"/>
              <a:gd name="connsiteY110" fmla="*/ 1621701 h 1978172"/>
              <a:gd name="connsiteX111" fmla="*/ 6516968 w 10768629"/>
              <a:gd name="connsiteY111" fmla="*/ 1617195 h 1978172"/>
              <a:gd name="connsiteX112" fmla="*/ 6506479 w 10768629"/>
              <a:gd name="connsiteY112" fmla="*/ 1602227 h 1978172"/>
              <a:gd name="connsiteX113" fmla="*/ 6458436 w 10768629"/>
              <a:gd name="connsiteY113" fmla="*/ 1607332 h 1978172"/>
              <a:gd name="connsiteX114" fmla="*/ 6414786 w 10768629"/>
              <a:gd name="connsiteY114" fmla="*/ 1628815 h 1978172"/>
              <a:gd name="connsiteX115" fmla="*/ 6357085 w 10768629"/>
              <a:gd name="connsiteY115" fmla="*/ 1640846 h 1978172"/>
              <a:gd name="connsiteX116" fmla="*/ 6322636 w 10768629"/>
              <a:gd name="connsiteY116" fmla="*/ 1648213 h 1978172"/>
              <a:gd name="connsiteX117" fmla="*/ 6226172 w 10768629"/>
              <a:gd name="connsiteY117" fmla="*/ 1654676 h 1978172"/>
              <a:gd name="connsiteX118" fmla="*/ 6221217 w 10768629"/>
              <a:gd name="connsiteY118" fmla="*/ 1654506 h 1978172"/>
              <a:gd name="connsiteX119" fmla="*/ 6204956 w 10768629"/>
              <a:gd name="connsiteY119" fmla="*/ 1664280 h 1978172"/>
              <a:gd name="connsiteX120" fmla="*/ 6204270 w 10768629"/>
              <a:gd name="connsiteY120" fmla="*/ 1666782 h 1978172"/>
              <a:gd name="connsiteX121" fmla="*/ 6143810 w 10768629"/>
              <a:gd name="connsiteY121" fmla="*/ 1661963 h 1978172"/>
              <a:gd name="connsiteX122" fmla="*/ 6136560 w 10768629"/>
              <a:gd name="connsiteY122" fmla="*/ 1665728 h 1978172"/>
              <a:gd name="connsiteX123" fmla="*/ 6096155 w 10768629"/>
              <a:gd name="connsiteY123" fmla="*/ 1656951 h 1978172"/>
              <a:gd name="connsiteX124" fmla="*/ 6075812 w 10768629"/>
              <a:gd name="connsiteY124" fmla="*/ 1655422 h 1978172"/>
              <a:gd name="connsiteX125" fmla="*/ 6039495 w 10768629"/>
              <a:gd name="connsiteY125" fmla="*/ 1649680 h 1978172"/>
              <a:gd name="connsiteX126" fmla="*/ 6036523 w 10768629"/>
              <a:gd name="connsiteY126" fmla="*/ 1652121 h 1978172"/>
              <a:gd name="connsiteX127" fmla="*/ 6029328 w 10768629"/>
              <a:gd name="connsiteY127" fmla="*/ 1649904 h 1978172"/>
              <a:gd name="connsiteX128" fmla="*/ 6024075 w 10768629"/>
              <a:gd name="connsiteY128" fmla="*/ 1652779 h 1978172"/>
              <a:gd name="connsiteX129" fmla="*/ 6018085 w 10768629"/>
              <a:gd name="connsiteY129" fmla="*/ 1652030 h 1978172"/>
              <a:gd name="connsiteX130" fmla="*/ 5955513 w 10768629"/>
              <a:gd name="connsiteY130" fmla="*/ 1663584 h 1978172"/>
              <a:gd name="connsiteX131" fmla="*/ 5941996 w 10768629"/>
              <a:gd name="connsiteY131" fmla="*/ 1661326 h 1978172"/>
              <a:gd name="connsiteX132" fmla="*/ 5931789 w 10768629"/>
              <a:gd name="connsiteY132" fmla="*/ 1669915 h 1978172"/>
              <a:gd name="connsiteX133" fmla="*/ 5888686 w 10768629"/>
              <a:gd name="connsiteY133" fmla="*/ 1672175 h 1978172"/>
              <a:gd name="connsiteX134" fmla="*/ 5873794 w 10768629"/>
              <a:gd name="connsiteY134" fmla="*/ 1665454 h 1978172"/>
              <a:gd name="connsiteX135" fmla="*/ 5860022 w 10768629"/>
              <a:gd name="connsiteY135" fmla="*/ 1660635 h 1978172"/>
              <a:gd name="connsiteX136" fmla="*/ 5858237 w 10768629"/>
              <a:gd name="connsiteY136" fmla="*/ 1660649 h 1978172"/>
              <a:gd name="connsiteX137" fmla="*/ 5840319 w 10768629"/>
              <a:gd name="connsiteY137" fmla="*/ 1660798 h 1978172"/>
              <a:gd name="connsiteX138" fmla="*/ 5806984 w 10768629"/>
              <a:gd name="connsiteY138" fmla="*/ 1661075 h 1978172"/>
              <a:gd name="connsiteX139" fmla="*/ 5742351 w 10768629"/>
              <a:gd name="connsiteY139" fmla="*/ 1667489 h 1978172"/>
              <a:gd name="connsiteX140" fmla="*/ 5529437 w 10768629"/>
              <a:gd name="connsiteY140" fmla="*/ 1636968 h 1978172"/>
              <a:gd name="connsiteX141" fmla="*/ 5440853 w 10768629"/>
              <a:gd name="connsiteY141" fmla="*/ 1657958 h 1978172"/>
              <a:gd name="connsiteX142" fmla="*/ 4945936 w 10768629"/>
              <a:gd name="connsiteY142" fmla="*/ 1713743 h 1978172"/>
              <a:gd name="connsiteX143" fmla="*/ 4872172 w 10768629"/>
              <a:gd name="connsiteY143" fmla="*/ 1757222 h 1978172"/>
              <a:gd name="connsiteX144" fmla="*/ 4809524 w 10768629"/>
              <a:gd name="connsiteY144" fmla="*/ 1761033 h 1978172"/>
              <a:gd name="connsiteX145" fmla="*/ 4759058 w 10768629"/>
              <a:gd name="connsiteY145" fmla="*/ 1766533 h 1978172"/>
              <a:gd name="connsiteX146" fmla="*/ 4719749 w 10768629"/>
              <a:gd name="connsiteY146" fmla="*/ 1771811 h 1978172"/>
              <a:gd name="connsiteX147" fmla="*/ 4568686 w 10768629"/>
              <a:gd name="connsiteY147" fmla="*/ 1786141 h 1978172"/>
              <a:gd name="connsiteX148" fmla="*/ 4418751 w 10768629"/>
              <a:gd name="connsiteY148" fmla="*/ 1796932 h 1978172"/>
              <a:gd name="connsiteX149" fmla="*/ 4378377 w 10768629"/>
              <a:gd name="connsiteY149" fmla="*/ 1815528 h 1978172"/>
              <a:gd name="connsiteX150" fmla="*/ 4320575 w 10768629"/>
              <a:gd name="connsiteY150" fmla="*/ 1832722 h 1978172"/>
              <a:gd name="connsiteX151" fmla="*/ 4220200 w 10768629"/>
              <a:gd name="connsiteY151" fmla="*/ 1873173 h 1978172"/>
              <a:gd name="connsiteX152" fmla="*/ 4105361 w 10768629"/>
              <a:gd name="connsiteY152" fmla="*/ 1894711 h 1978172"/>
              <a:gd name="connsiteX153" fmla="*/ 3973223 w 10768629"/>
              <a:gd name="connsiteY153" fmla="*/ 1881015 h 1978172"/>
              <a:gd name="connsiteX154" fmla="*/ 3900992 w 10768629"/>
              <a:gd name="connsiteY154" fmla="*/ 1880603 h 1978172"/>
              <a:gd name="connsiteX155" fmla="*/ 3662119 w 10768629"/>
              <a:gd name="connsiteY155" fmla="*/ 1876289 h 1978172"/>
              <a:gd name="connsiteX156" fmla="*/ 3496919 w 10768629"/>
              <a:gd name="connsiteY156" fmla="*/ 1873180 h 1978172"/>
              <a:gd name="connsiteX157" fmla="*/ 3449433 w 10768629"/>
              <a:gd name="connsiteY157" fmla="*/ 1889681 h 1978172"/>
              <a:gd name="connsiteX158" fmla="*/ 3369766 w 10768629"/>
              <a:gd name="connsiteY158" fmla="*/ 1916653 h 1978172"/>
              <a:gd name="connsiteX159" fmla="*/ 3290336 w 10768629"/>
              <a:gd name="connsiteY159" fmla="*/ 1925039 h 1978172"/>
              <a:gd name="connsiteX160" fmla="*/ 3224897 w 10768629"/>
              <a:gd name="connsiteY160" fmla="*/ 1943733 h 1978172"/>
              <a:gd name="connsiteX161" fmla="*/ 3161463 w 10768629"/>
              <a:gd name="connsiteY161" fmla="*/ 1946591 h 1978172"/>
              <a:gd name="connsiteX162" fmla="*/ 3157504 w 10768629"/>
              <a:gd name="connsiteY162" fmla="*/ 1957276 h 1978172"/>
              <a:gd name="connsiteX163" fmla="*/ 3115176 w 10768629"/>
              <a:gd name="connsiteY163" fmla="*/ 1943459 h 1978172"/>
              <a:gd name="connsiteX164" fmla="*/ 3038835 w 10768629"/>
              <a:gd name="connsiteY164" fmla="*/ 1920210 h 1978172"/>
              <a:gd name="connsiteX165" fmla="*/ 2897201 w 10768629"/>
              <a:gd name="connsiteY165" fmla="*/ 1926772 h 1978172"/>
              <a:gd name="connsiteX166" fmla="*/ 2783891 w 10768629"/>
              <a:gd name="connsiteY166" fmla="*/ 1931749 h 1978172"/>
              <a:gd name="connsiteX167" fmla="*/ 2712447 w 10768629"/>
              <a:gd name="connsiteY167" fmla="*/ 1933044 h 1978172"/>
              <a:gd name="connsiteX168" fmla="*/ 2560151 w 10768629"/>
              <a:gd name="connsiteY168" fmla="*/ 1963609 h 1978172"/>
              <a:gd name="connsiteX169" fmla="*/ 2367221 w 10768629"/>
              <a:gd name="connsiteY169" fmla="*/ 1971884 h 1978172"/>
              <a:gd name="connsiteX170" fmla="*/ 2272130 w 10768629"/>
              <a:gd name="connsiteY170" fmla="*/ 1961162 h 1978172"/>
              <a:gd name="connsiteX171" fmla="*/ 2189404 w 10768629"/>
              <a:gd name="connsiteY171" fmla="*/ 1978172 h 1978172"/>
              <a:gd name="connsiteX172" fmla="*/ 2077704 w 10768629"/>
              <a:gd name="connsiteY172" fmla="*/ 1965002 h 1978172"/>
              <a:gd name="connsiteX173" fmla="*/ 1967996 w 10768629"/>
              <a:gd name="connsiteY173" fmla="*/ 1953187 h 1978172"/>
              <a:gd name="connsiteX174" fmla="*/ 1855805 w 10768629"/>
              <a:gd name="connsiteY174" fmla="*/ 1926082 h 1978172"/>
              <a:gd name="connsiteX175" fmla="*/ 1790957 w 10768629"/>
              <a:gd name="connsiteY175" fmla="*/ 1919460 h 1978172"/>
              <a:gd name="connsiteX176" fmla="*/ 1613978 w 10768629"/>
              <a:gd name="connsiteY176" fmla="*/ 1891581 h 1978172"/>
              <a:gd name="connsiteX177" fmla="*/ 1436831 w 10768629"/>
              <a:gd name="connsiteY177" fmla="*/ 1856201 h 1978172"/>
              <a:gd name="connsiteX178" fmla="*/ 1332568 w 10768629"/>
              <a:gd name="connsiteY178" fmla="*/ 1793149 h 1978172"/>
              <a:gd name="connsiteX179" fmla="*/ 1186881 w 10768629"/>
              <a:gd name="connsiteY179" fmla="*/ 1768613 h 1978172"/>
              <a:gd name="connsiteX180" fmla="*/ 1162595 w 10768629"/>
              <a:gd name="connsiteY180" fmla="*/ 1758337 h 1978172"/>
              <a:gd name="connsiteX181" fmla="*/ 1128523 w 10768629"/>
              <a:gd name="connsiteY181" fmla="*/ 1763621 h 1978172"/>
              <a:gd name="connsiteX182" fmla="*/ 991903 w 10768629"/>
              <a:gd name="connsiteY182" fmla="*/ 1786741 h 1978172"/>
              <a:gd name="connsiteX183" fmla="*/ 883960 w 10768629"/>
              <a:gd name="connsiteY183" fmla="*/ 1822386 h 1978172"/>
              <a:gd name="connsiteX184" fmla="*/ 766531 w 10768629"/>
              <a:gd name="connsiteY184" fmla="*/ 1805053 h 1978172"/>
              <a:gd name="connsiteX185" fmla="*/ 669779 w 10768629"/>
              <a:gd name="connsiteY185" fmla="*/ 1800537 h 1978172"/>
              <a:gd name="connsiteX186" fmla="*/ 523898 w 10768629"/>
              <a:gd name="connsiteY186" fmla="*/ 1811085 h 1978172"/>
              <a:gd name="connsiteX187" fmla="*/ 360251 w 10768629"/>
              <a:gd name="connsiteY187" fmla="*/ 1830735 h 1978172"/>
              <a:gd name="connsiteX188" fmla="*/ 255207 w 10768629"/>
              <a:gd name="connsiteY188" fmla="*/ 1818275 h 1978172"/>
              <a:gd name="connsiteX189" fmla="*/ 101803 w 10768629"/>
              <a:gd name="connsiteY189" fmla="*/ 1870647 h 1978172"/>
              <a:gd name="connsiteX190" fmla="*/ 25397 w 10768629"/>
              <a:gd name="connsiteY190" fmla="*/ 1888443 h 1978172"/>
              <a:gd name="connsiteX191" fmla="*/ 2370 w 10768629"/>
              <a:gd name="connsiteY191" fmla="*/ 1878311 h 1978172"/>
              <a:gd name="connsiteX192" fmla="*/ 0 w 10768629"/>
              <a:gd name="connsiteY192" fmla="*/ 1878785 h 1978172"/>
              <a:gd name="connsiteX193" fmla="*/ 0 w 10768629"/>
              <a:gd name="connsiteY193" fmla="*/ 0 h 1978172"/>
              <a:gd name="connsiteX0" fmla="*/ 0 w 10768629"/>
              <a:gd name="connsiteY0" fmla="*/ 0 h 1978172"/>
              <a:gd name="connsiteX1" fmla="*/ 10768629 w 10768629"/>
              <a:gd name="connsiteY1" fmla="*/ 0 h 1978172"/>
              <a:gd name="connsiteX2" fmla="*/ 10733254 w 10768629"/>
              <a:gd name="connsiteY2" fmla="*/ 31439 h 1978172"/>
              <a:gd name="connsiteX3" fmla="*/ 10727085 w 10768629"/>
              <a:gd name="connsiteY3" fmla="*/ 37910 h 1978172"/>
              <a:gd name="connsiteX4" fmla="*/ 10675953 w 10768629"/>
              <a:gd name="connsiteY4" fmla="*/ 68623 h 1978172"/>
              <a:gd name="connsiteX5" fmla="*/ 10637091 w 10768629"/>
              <a:gd name="connsiteY5" fmla="*/ 90361 h 1978172"/>
              <a:gd name="connsiteX6" fmla="*/ 10610971 w 10768629"/>
              <a:gd name="connsiteY6" fmla="*/ 110764 h 1978172"/>
              <a:gd name="connsiteX7" fmla="*/ 10532872 w 10768629"/>
              <a:gd name="connsiteY7" fmla="*/ 138028 h 1978172"/>
              <a:gd name="connsiteX8" fmla="*/ 10398558 w 10768629"/>
              <a:gd name="connsiteY8" fmla="*/ 172911 h 1978172"/>
              <a:gd name="connsiteX9" fmla="*/ 10371128 w 10768629"/>
              <a:gd name="connsiteY9" fmla="*/ 182609 h 1978172"/>
              <a:gd name="connsiteX10" fmla="*/ 10352178 w 10768629"/>
              <a:gd name="connsiteY10" fmla="*/ 199976 h 1978172"/>
              <a:gd name="connsiteX11" fmla="*/ 10351815 w 10768629"/>
              <a:gd name="connsiteY11" fmla="*/ 211879 h 1978172"/>
              <a:gd name="connsiteX12" fmla="*/ 10337471 w 10768629"/>
              <a:gd name="connsiteY12" fmla="*/ 218661 h 1978172"/>
              <a:gd name="connsiteX13" fmla="*/ 10334625 w 10768629"/>
              <a:gd name="connsiteY13" fmla="*/ 222351 h 1978172"/>
              <a:gd name="connsiteX14" fmla="*/ 10256365 w 10768629"/>
              <a:gd name="connsiteY14" fmla="*/ 235917 h 1978172"/>
              <a:gd name="connsiteX15" fmla="*/ 10201127 w 10768629"/>
              <a:gd name="connsiteY15" fmla="*/ 267448 h 1978172"/>
              <a:gd name="connsiteX16" fmla="*/ 9961218 w 10768629"/>
              <a:gd name="connsiteY16" fmla="*/ 326720 h 1978172"/>
              <a:gd name="connsiteX17" fmla="*/ 9859715 w 10768629"/>
              <a:gd name="connsiteY17" fmla="*/ 355698 h 1978172"/>
              <a:gd name="connsiteX18" fmla="*/ 9679867 w 10768629"/>
              <a:gd name="connsiteY18" fmla="*/ 399081 h 1978172"/>
              <a:gd name="connsiteX19" fmla="*/ 9490654 w 10768629"/>
              <a:gd name="connsiteY19" fmla="*/ 455225 h 1978172"/>
              <a:gd name="connsiteX20" fmla="*/ 9470837 w 10768629"/>
              <a:gd name="connsiteY20" fmla="*/ 452539 h 1978172"/>
              <a:gd name="connsiteX21" fmla="*/ 9469082 w 10768629"/>
              <a:gd name="connsiteY21" fmla="*/ 454891 h 1978172"/>
              <a:gd name="connsiteX22" fmla="*/ 9448038 w 10768629"/>
              <a:gd name="connsiteY22" fmla="*/ 459733 h 1978172"/>
              <a:gd name="connsiteX23" fmla="*/ 9396821 w 10768629"/>
              <a:gd name="connsiteY23" fmla="*/ 455795 h 1978172"/>
              <a:gd name="connsiteX24" fmla="*/ 9392197 w 10768629"/>
              <a:gd name="connsiteY24" fmla="*/ 459796 h 1978172"/>
              <a:gd name="connsiteX25" fmla="*/ 9347994 w 10768629"/>
              <a:gd name="connsiteY25" fmla="*/ 464462 h 1978172"/>
              <a:gd name="connsiteX26" fmla="*/ 9347889 w 10768629"/>
              <a:gd name="connsiteY26" fmla="*/ 466539 h 1978172"/>
              <a:gd name="connsiteX27" fmla="*/ 9337639 w 10768629"/>
              <a:gd name="connsiteY27" fmla="*/ 476654 h 1978172"/>
              <a:gd name="connsiteX28" fmla="*/ 9316893 w 10768629"/>
              <a:gd name="connsiteY28" fmla="*/ 491390 h 1978172"/>
              <a:gd name="connsiteX29" fmla="*/ 9229283 w 10768629"/>
              <a:gd name="connsiteY29" fmla="*/ 555377 h 1978172"/>
              <a:gd name="connsiteX30" fmla="*/ 9220274 w 10768629"/>
              <a:gd name="connsiteY30" fmla="*/ 557502 h 1978172"/>
              <a:gd name="connsiteX31" fmla="*/ 9220202 w 10768629"/>
              <a:gd name="connsiteY31" fmla="*/ 558001 h 1978172"/>
              <a:gd name="connsiteX32" fmla="*/ 9210908 w 10768629"/>
              <a:gd name="connsiteY32" fmla="*/ 561147 h 1978172"/>
              <a:gd name="connsiteX33" fmla="*/ 9186374 w 10768629"/>
              <a:gd name="connsiteY33" fmla="*/ 565502 h 1978172"/>
              <a:gd name="connsiteX34" fmla="*/ 9181058 w 10768629"/>
              <a:gd name="connsiteY34" fmla="*/ 569943 h 1978172"/>
              <a:gd name="connsiteX35" fmla="*/ 9179948 w 10768629"/>
              <a:gd name="connsiteY35" fmla="*/ 576062 h 1978172"/>
              <a:gd name="connsiteX36" fmla="*/ 9149110 w 10768629"/>
              <a:gd name="connsiteY36" fmla="*/ 598906 h 1978172"/>
              <a:gd name="connsiteX37" fmla="*/ 9078556 w 10768629"/>
              <a:gd name="connsiteY37" fmla="*/ 644039 h 1978172"/>
              <a:gd name="connsiteX38" fmla="*/ 8996399 w 10768629"/>
              <a:gd name="connsiteY38" fmla="*/ 690055 h 1978172"/>
              <a:gd name="connsiteX39" fmla="*/ 8803791 w 10768629"/>
              <a:gd name="connsiteY39" fmla="*/ 813860 h 1978172"/>
              <a:gd name="connsiteX40" fmla="*/ 8636202 w 10768629"/>
              <a:gd name="connsiteY40" fmla="*/ 848463 h 1978172"/>
              <a:gd name="connsiteX41" fmla="*/ 8555372 w 10768629"/>
              <a:gd name="connsiteY41" fmla="*/ 883171 h 1978172"/>
              <a:gd name="connsiteX42" fmla="*/ 8507229 w 10768629"/>
              <a:gd name="connsiteY42" fmla="*/ 901665 h 1978172"/>
              <a:gd name="connsiteX43" fmla="*/ 8428473 w 10768629"/>
              <a:gd name="connsiteY43" fmla="*/ 927985 h 1978172"/>
              <a:gd name="connsiteX44" fmla="*/ 8427914 w 10768629"/>
              <a:gd name="connsiteY44" fmla="*/ 933480 h 1978172"/>
              <a:gd name="connsiteX45" fmla="*/ 8420327 w 10768629"/>
              <a:gd name="connsiteY45" fmla="*/ 941984 h 1978172"/>
              <a:gd name="connsiteX46" fmla="*/ 8407128 w 10768629"/>
              <a:gd name="connsiteY46" fmla="*/ 961344 h 1978172"/>
              <a:gd name="connsiteX47" fmla="*/ 8380548 w 10768629"/>
              <a:gd name="connsiteY47" fmla="*/ 987916 h 1978172"/>
              <a:gd name="connsiteX48" fmla="*/ 8379462 w 10768629"/>
              <a:gd name="connsiteY48" fmla="*/ 987106 h 1978172"/>
              <a:gd name="connsiteX49" fmla="*/ 8369725 w 10768629"/>
              <a:gd name="connsiteY49" fmla="*/ 989186 h 1978172"/>
              <a:gd name="connsiteX50" fmla="*/ 8304438 w 10768629"/>
              <a:gd name="connsiteY50" fmla="*/ 996739 h 1978172"/>
              <a:gd name="connsiteX51" fmla="*/ 8280929 w 10768629"/>
              <a:gd name="connsiteY51" fmla="*/ 1023089 h 1978172"/>
              <a:gd name="connsiteX52" fmla="*/ 8275760 w 10768629"/>
              <a:gd name="connsiteY52" fmla="*/ 1027772 h 1978172"/>
              <a:gd name="connsiteX53" fmla="*/ 8275478 w 10768629"/>
              <a:gd name="connsiteY53" fmla="*/ 1027605 h 1978172"/>
              <a:gd name="connsiteX54" fmla="*/ 8269666 w 10768629"/>
              <a:gd name="connsiteY54" fmla="*/ 1032033 h 1978172"/>
              <a:gd name="connsiteX55" fmla="*/ 8203836 w 10768629"/>
              <a:gd name="connsiteY55" fmla="*/ 1037347 h 1978172"/>
              <a:gd name="connsiteX56" fmla="*/ 8122936 w 10768629"/>
              <a:gd name="connsiteY56" fmla="*/ 1063113 h 1978172"/>
              <a:gd name="connsiteX57" fmla="*/ 8043658 w 10768629"/>
              <a:gd name="connsiteY57" fmla="*/ 1092746 h 1978172"/>
              <a:gd name="connsiteX58" fmla="*/ 8015351 w 10768629"/>
              <a:gd name="connsiteY58" fmla="*/ 1105478 h 1978172"/>
              <a:gd name="connsiteX59" fmla="*/ 7963145 w 10768629"/>
              <a:gd name="connsiteY59" fmla="*/ 1119346 h 1978172"/>
              <a:gd name="connsiteX60" fmla="*/ 7938145 w 10768629"/>
              <a:gd name="connsiteY60" fmla="*/ 1120225 h 1978172"/>
              <a:gd name="connsiteX61" fmla="*/ 7937238 w 10768629"/>
              <a:gd name="connsiteY61" fmla="*/ 1121204 h 1978172"/>
              <a:gd name="connsiteX62" fmla="*/ 7934398 w 10768629"/>
              <a:gd name="connsiteY62" fmla="*/ 1118240 h 1978172"/>
              <a:gd name="connsiteX63" fmla="*/ 7918248 w 10768629"/>
              <a:gd name="connsiteY63" fmla="*/ 1124371 h 1978172"/>
              <a:gd name="connsiteX64" fmla="*/ 7914119 w 10768629"/>
              <a:gd name="connsiteY64" fmla="*/ 1127653 h 1978172"/>
              <a:gd name="connsiteX65" fmla="*/ 7907658 w 10768629"/>
              <a:gd name="connsiteY65" fmla="*/ 1130350 h 1978172"/>
              <a:gd name="connsiteX66" fmla="*/ 7907434 w 10768629"/>
              <a:gd name="connsiteY66" fmla="*/ 1130103 h 1978172"/>
              <a:gd name="connsiteX67" fmla="*/ 7901508 w 10768629"/>
              <a:gd name="connsiteY67" fmla="*/ 1133245 h 1978172"/>
              <a:gd name="connsiteX68" fmla="*/ 7873287 w 10768629"/>
              <a:gd name="connsiteY68" fmla="*/ 1152609 h 1978172"/>
              <a:gd name="connsiteX69" fmla="*/ 7834833 w 10768629"/>
              <a:gd name="connsiteY69" fmla="*/ 1153868 h 1978172"/>
              <a:gd name="connsiteX70" fmla="*/ 7828661 w 10768629"/>
              <a:gd name="connsiteY70" fmla="*/ 1139994 h 1978172"/>
              <a:gd name="connsiteX71" fmla="*/ 7823966 w 10768629"/>
              <a:gd name="connsiteY71" fmla="*/ 1143178 h 1978172"/>
              <a:gd name="connsiteX72" fmla="*/ 7815078 w 10768629"/>
              <a:gd name="connsiteY72" fmla="*/ 1151776 h 1978172"/>
              <a:gd name="connsiteX73" fmla="*/ 7812026 w 10768629"/>
              <a:gd name="connsiteY73" fmla="*/ 1151522 h 1978172"/>
              <a:gd name="connsiteX74" fmla="*/ 7782249 w 10768629"/>
              <a:gd name="connsiteY74" fmla="*/ 1160970 h 1978172"/>
              <a:gd name="connsiteX75" fmla="*/ 7773476 w 10768629"/>
              <a:gd name="connsiteY75" fmla="*/ 1157414 h 1978172"/>
              <a:gd name="connsiteX76" fmla="*/ 7769600 w 10768629"/>
              <a:gd name="connsiteY76" fmla="*/ 1157365 h 1978172"/>
              <a:gd name="connsiteX77" fmla="*/ 7752631 w 10768629"/>
              <a:gd name="connsiteY77" fmla="*/ 1172815 h 1978172"/>
              <a:gd name="connsiteX78" fmla="*/ 7743525 w 10768629"/>
              <a:gd name="connsiteY78" fmla="*/ 1179064 h 1978172"/>
              <a:gd name="connsiteX79" fmla="*/ 7685942 w 10768629"/>
              <a:gd name="connsiteY79" fmla="*/ 1233723 h 1978172"/>
              <a:gd name="connsiteX80" fmla="*/ 7586920 w 10768629"/>
              <a:gd name="connsiteY80" fmla="*/ 1261888 h 1978172"/>
              <a:gd name="connsiteX81" fmla="*/ 7486100 w 10768629"/>
              <a:gd name="connsiteY81" fmla="*/ 1292563 h 1978172"/>
              <a:gd name="connsiteX82" fmla="*/ 7407190 w 10768629"/>
              <a:gd name="connsiteY82" fmla="*/ 1314737 h 1978172"/>
              <a:gd name="connsiteX83" fmla="*/ 7240698 w 10768629"/>
              <a:gd name="connsiteY83" fmla="*/ 1438832 h 1978172"/>
              <a:gd name="connsiteX84" fmla="*/ 7197675 w 10768629"/>
              <a:gd name="connsiteY84" fmla="*/ 1447530 h 1978172"/>
              <a:gd name="connsiteX85" fmla="*/ 7164788 w 10768629"/>
              <a:gd name="connsiteY85" fmla="*/ 1480293 h 1978172"/>
              <a:gd name="connsiteX86" fmla="*/ 7147929 w 10768629"/>
              <a:gd name="connsiteY86" fmla="*/ 1477641 h 1978172"/>
              <a:gd name="connsiteX87" fmla="*/ 7144965 w 10768629"/>
              <a:gd name="connsiteY87" fmla="*/ 1476908 h 1978172"/>
              <a:gd name="connsiteX88" fmla="*/ 7134299 w 10768629"/>
              <a:gd name="connsiteY88" fmla="*/ 1479969 h 1978172"/>
              <a:gd name="connsiteX89" fmla="*/ 7129809 w 10768629"/>
              <a:gd name="connsiteY89" fmla="*/ 1473339 h 1978172"/>
              <a:gd name="connsiteX90" fmla="*/ 7112688 w 10768629"/>
              <a:gd name="connsiteY90" fmla="*/ 1472575 h 1978172"/>
              <a:gd name="connsiteX91" fmla="*/ 7093470 w 10768629"/>
              <a:gd name="connsiteY91" fmla="*/ 1480300 h 1978172"/>
              <a:gd name="connsiteX92" fmla="*/ 7025034 w 10768629"/>
              <a:gd name="connsiteY92" fmla="*/ 1506934 h 1978172"/>
              <a:gd name="connsiteX93" fmla="*/ 7014783 w 10768629"/>
              <a:gd name="connsiteY93" fmla="*/ 1515868 h 1978172"/>
              <a:gd name="connsiteX94" fmla="*/ 6979706 w 10768629"/>
              <a:gd name="connsiteY94" fmla="*/ 1523511 h 1978172"/>
              <a:gd name="connsiteX95" fmla="*/ 6977890 w 10768629"/>
              <a:gd name="connsiteY95" fmla="*/ 1525793 h 1978172"/>
              <a:gd name="connsiteX96" fmla="*/ 6944339 w 10768629"/>
              <a:gd name="connsiteY96" fmla="*/ 1536237 h 1978172"/>
              <a:gd name="connsiteX97" fmla="*/ 6886996 w 10768629"/>
              <a:gd name="connsiteY97" fmla="*/ 1563569 h 1978172"/>
              <a:gd name="connsiteX98" fmla="*/ 6874510 w 10768629"/>
              <a:gd name="connsiteY98" fmla="*/ 1558469 h 1978172"/>
              <a:gd name="connsiteX99" fmla="*/ 6871943 w 10768629"/>
              <a:gd name="connsiteY99" fmla="*/ 1554651 h 1978172"/>
              <a:gd name="connsiteX100" fmla="*/ 6856174 w 10768629"/>
              <a:gd name="connsiteY100" fmla="*/ 1562024 h 1978172"/>
              <a:gd name="connsiteX101" fmla="*/ 6842321 w 10768629"/>
              <a:gd name="connsiteY101" fmla="*/ 1560554 h 1978172"/>
              <a:gd name="connsiteX102" fmla="*/ 6832713 w 10768629"/>
              <a:gd name="connsiteY102" fmla="*/ 1569357 h 1978172"/>
              <a:gd name="connsiteX103" fmla="*/ 6816351 w 10768629"/>
              <a:gd name="connsiteY103" fmla="*/ 1571495 h 1978172"/>
              <a:gd name="connsiteX104" fmla="*/ 6795800 w 10768629"/>
              <a:gd name="connsiteY104" fmla="*/ 1572010 h 1978172"/>
              <a:gd name="connsiteX105" fmla="*/ 6777546 w 10768629"/>
              <a:gd name="connsiteY105" fmla="*/ 1568661 h 1978172"/>
              <a:gd name="connsiteX106" fmla="*/ 6751528 w 10768629"/>
              <a:gd name="connsiteY106" fmla="*/ 1574143 h 1978172"/>
              <a:gd name="connsiteX107" fmla="*/ 6691966 w 10768629"/>
              <a:gd name="connsiteY107" fmla="*/ 1582255 h 1978172"/>
              <a:gd name="connsiteX108" fmla="*/ 6646941 w 10768629"/>
              <a:gd name="connsiteY108" fmla="*/ 1588471 h 1978172"/>
              <a:gd name="connsiteX109" fmla="*/ 6568576 w 10768629"/>
              <a:gd name="connsiteY109" fmla="*/ 1606488 h 1978172"/>
              <a:gd name="connsiteX110" fmla="*/ 6554358 w 10768629"/>
              <a:gd name="connsiteY110" fmla="*/ 1621701 h 1978172"/>
              <a:gd name="connsiteX111" fmla="*/ 6516968 w 10768629"/>
              <a:gd name="connsiteY111" fmla="*/ 1617195 h 1978172"/>
              <a:gd name="connsiteX112" fmla="*/ 6506479 w 10768629"/>
              <a:gd name="connsiteY112" fmla="*/ 1602227 h 1978172"/>
              <a:gd name="connsiteX113" fmla="*/ 6458436 w 10768629"/>
              <a:gd name="connsiteY113" fmla="*/ 1607332 h 1978172"/>
              <a:gd name="connsiteX114" fmla="*/ 6414786 w 10768629"/>
              <a:gd name="connsiteY114" fmla="*/ 1628815 h 1978172"/>
              <a:gd name="connsiteX115" fmla="*/ 6357085 w 10768629"/>
              <a:gd name="connsiteY115" fmla="*/ 1640846 h 1978172"/>
              <a:gd name="connsiteX116" fmla="*/ 6322636 w 10768629"/>
              <a:gd name="connsiteY116" fmla="*/ 1648213 h 1978172"/>
              <a:gd name="connsiteX117" fmla="*/ 6226172 w 10768629"/>
              <a:gd name="connsiteY117" fmla="*/ 1654676 h 1978172"/>
              <a:gd name="connsiteX118" fmla="*/ 6221217 w 10768629"/>
              <a:gd name="connsiteY118" fmla="*/ 1654506 h 1978172"/>
              <a:gd name="connsiteX119" fmla="*/ 6204956 w 10768629"/>
              <a:gd name="connsiteY119" fmla="*/ 1664280 h 1978172"/>
              <a:gd name="connsiteX120" fmla="*/ 6204270 w 10768629"/>
              <a:gd name="connsiteY120" fmla="*/ 1666782 h 1978172"/>
              <a:gd name="connsiteX121" fmla="*/ 6143810 w 10768629"/>
              <a:gd name="connsiteY121" fmla="*/ 1661963 h 1978172"/>
              <a:gd name="connsiteX122" fmla="*/ 6136560 w 10768629"/>
              <a:gd name="connsiteY122" fmla="*/ 1665728 h 1978172"/>
              <a:gd name="connsiteX123" fmla="*/ 6096155 w 10768629"/>
              <a:gd name="connsiteY123" fmla="*/ 1656951 h 1978172"/>
              <a:gd name="connsiteX124" fmla="*/ 6075812 w 10768629"/>
              <a:gd name="connsiteY124" fmla="*/ 1655422 h 1978172"/>
              <a:gd name="connsiteX125" fmla="*/ 6039495 w 10768629"/>
              <a:gd name="connsiteY125" fmla="*/ 1649680 h 1978172"/>
              <a:gd name="connsiteX126" fmla="*/ 6036523 w 10768629"/>
              <a:gd name="connsiteY126" fmla="*/ 1652121 h 1978172"/>
              <a:gd name="connsiteX127" fmla="*/ 6029328 w 10768629"/>
              <a:gd name="connsiteY127" fmla="*/ 1649904 h 1978172"/>
              <a:gd name="connsiteX128" fmla="*/ 6024075 w 10768629"/>
              <a:gd name="connsiteY128" fmla="*/ 1652779 h 1978172"/>
              <a:gd name="connsiteX129" fmla="*/ 6018085 w 10768629"/>
              <a:gd name="connsiteY129" fmla="*/ 1652030 h 1978172"/>
              <a:gd name="connsiteX130" fmla="*/ 5955513 w 10768629"/>
              <a:gd name="connsiteY130" fmla="*/ 1663584 h 1978172"/>
              <a:gd name="connsiteX131" fmla="*/ 5941996 w 10768629"/>
              <a:gd name="connsiteY131" fmla="*/ 1661326 h 1978172"/>
              <a:gd name="connsiteX132" fmla="*/ 5931789 w 10768629"/>
              <a:gd name="connsiteY132" fmla="*/ 1669915 h 1978172"/>
              <a:gd name="connsiteX133" fmla="*/ 5888686 w 10768629"/>
              <a:gd name="connsiteY133" fmla="*/ 1672175 h 1978172"/>
              <a:gd name="connsiteX134" fmla="*/ 5873794 w 10768629"/>
              <a:gd name="connsiteY134" fmla="*/ 1665454 h 1978172"/>
              <a:gd name="connsiteX135" fmla="*/ 5860022 w 10768629"/>
              <a:gd name="connsiteY135" fmla="*/ 1660635 h 1978172"/>
              <a:gd name="connsiteX136" fmla="*/ 5858237 w 10768629"/>
              <a:gd name="connsiteY136" fmla="*/ 1660649 h 1978172"/>
              <a:gd name="connsiteX137" fmla="*/ 5840319 w 10768629"/>
              <a:gd name="connsiteY137" fmla="*/ 1660798 h 1978172"/>
              <a:gd name="connsiteX138" fmla="*/ 5806984 w 10768629"/>
              <a:gd name="connsiteY138" fmla="*/ 1661075 h 1978172"/>
              <a:gd name="connsiteX139" fmla="*/ 5742351 w 10768629"/>
              <a:gd name="connsiteY139" fmla="*/ 1667489 h 1978172"/>
              <a:gd name="connsiteX140" fmla="*/ 5529437 w 10768629"/>
              <a:gd name="connsiteY140" fmla="*/ 1636968 h 1978172"/>
              <a:gd name="connsiteX141" fmla="*/ 5440853 w 10768629"/>
              <a:gd name="connsiteY141" fmla="*/ 1657958 h 1978172"/>
              <a:gd name="connsiteX142" fmla="*/ 4950070 w 10768629"/>
              <a:gd name="connsiteY142" fmla="*/ 1748401 h 1978172"/>
              <a:gd name="connsiteX143" fmla="*/ 4872172 w 10768629"/>
              <a:gd name="connsiteY143" fmla="*/ 1757222 h 1978172"/>
              <a:gd name="connsiteX144" fmla="*/ 4809524 w 10768629"/>
              <a:gd name="connsiteY144" fmla="*/ 1761033 h 1978172"/>
              <a:gd name="connsiteX145" fmla="*/ 4759058 w 10768629"/>
              <a:gd name="connsiteY145" fmla="*/ 1766533 h 1978172"/>
              <a:gd name="connsiteX146" fmla="*/ 4719749 w 10768629"/>
              <a:gd name="connsiteY146" fmla="*/ 1771811 h 1978172"/>
              <a:gd name="connsiteX147" fmla="*/ 4568686 w 10768629"/>
              <a:gd name="connsiteY147" fmla="*/ 1786141 h 1978172"/>
              <a:gd name="connsiteX148" fmla="*/ 4418751 w 10768629"/>
              <a:gd name="connsiteY148" fmla="*/ 1796932 h 1978172"/>
              <a:gd name="connsiteX149" fmla="*/ 4378377 w 10768629"/>
              <a:gd name="connsiteY149" fmla="*/ 1815528 h 1978172"/>
              <a:gd name="connsiteX150" fmla="*/ 4320575 w 10768629"/>
              <a:gd name="connsiteY150" fmla="*/ 1832722 h 1978172"/>
              <a:gd name="connsiteX151" fmla="*/ 4220200 w 10768629"/>
              <a:gd name="connsiteY151" fmla="*/ 1873173 h 1978172"/>
              <a:gd name="connsiteX152" fmla="*/ 4105361 w 10768629"/>
              <a:gd name="connsiteY152" fmla="*/ 1894711 h 1978172"/>
              <a:gd name="connsiteX153" fmla="*/ 3973223 w 10768629"/>
              <a:gd name="connsiteY153" fmla="*/ 1881015 h 1978172"/>
              <a:gd name="connsiteX154" fmla="*/ 3900992 w 10768629"/>
              <a:gd name="connsiteY154" fmla="*/ 1880603 h 1978172"/>
              <a:gd name="connsiteX155" fmla="*/ 3662119 w 10768629"/>
              <a:gd name="connsiteY155" fmla="*/ 1876289 h 1978172"/>
              <a:gd name="connsiteX156" fmla="*/ 3496919 w 10768629"/>
              <a:gd name="connsiteY156" fmla="*/ 1873180 h 1978172"/>
              <a:gd name="connsiteX157" fmla="*/ 3449433 w 10768629"/>
              <a:gd name="connsiteY157" fmla="*/ 1889681 h 1978172"/>
              <a:gd name="connsiteX158" fmla="*/ 3369766 w 10768629"/>
              <a:gd name="connsiteY158" fmla="*/ 1916653 h 1978172"/>
              <a:gd name="connsiteX159" fmla="*/ 3290336 w 10768629"/>
              <a:gd name="connsiteY159" fmla="*/ 1925039 h 1978172"/>
              <a:gd name="connsiteX160" fmla="*/ 3224897 w 10768629"/>
              <a:gd name="connsiteY160" fmla="*/ 1943733 h 1978172"/>
              <a:gd name="connsiteX161" fmla="*/ 3161463 w 10768629"/>
              <a:gd name="connsiteY161" fmla="*/ 1946591 h 1978172"/>
              <a:gd name="connsiteX162" fmla="*/ 3157504 w 10768629"/>
              <a:gd name="connsiteY162" fmla="*/ 1957276 h 1978172"/>
              <a:gd name="connsiteX163" fmla="*/ 3115176 w 10768629"/>
              <a:gd name="connsiteY163" fmla="*/ 1943459 h 1978172"/>
              <a:gd name="connsiteX164" fmla="*/ 3038835 w 10768629"/>
              <a:gd name="connsiteY164" fmla="*/ 1920210 h 1978172"/>
              <a:gd name="connsiteX165" fmla="*/ 2897201 w 10768629"/>
              <a:gd name="connsiteY165" fmla="*/ 1926772 h 1978172"/>
              <a:gd name="connsiteX166" fmla="*/ 2783891 w 10768629"/>
              <a:gd name="connsiteY166" fmla="*/ 1931749 h 1978172"/>
              <a:gd name="connsiteX167" fmla="*/ 2712447 w 10768629"/>
              <a:gd name="connsiteY167" fmla="*/ 1933044 h 1978172"/>
              <a:gd name="connsiteX168" fmla="*/ 2560151 w 10768629"/>
              <a:gd name="connsiteY168" fmla="*/ 1963609 h 1978172"/>
              <a:gd name="connsiteX169" fmla="*/ 2367221 w 10768629"/>
              <a:gd name="connsiteY169" fmla="*/ 1971884 h 1978172"/>
              <a:gd name="connsiteX170" fmla="*/ 2272130 w 10768629"/>
              <a:gd name="connsiteY170" fmla="*/ 1961162 h 1978172"/>
              <a:gd name="connsiteX171" fmla="*/ 2189404 w 10768629"/>
              <a:gd name="connsiteY171" fmla="*/ 1978172 h 1978172"/>
              <a:gd name="connsiteX172" fmla="*/ 2077704 w 10768629"/>
              <a:gd name="connsiteY172" fmla="*/ 1965002 h 1978172"/>
              <a:gd name="connsiteX173" fmla="*/ 1967996 w 10768629"/>
              <a:gd name="connsiteY173" fmla="*/ 1953187 h 1978172"/>
              <a:gd name="connsiteX174" fmla="*/ 1855805 w 10768629"/>
              <a:gd name="connsiteY174" fmla="*/ 1926082 h 1978172"/>
              <a:gd name="connsiteX175" fmla="*/ 1790957 w 10768629"/>
              <a:gd name="connsiteY175" fmla="*/ 1919460 h 1978172"/>
              <a:gd name="connsiteX176" fmla="*/ 1613978 w 10768629"/>
              <a:gd name="connsiteY176" fmla="*/ 1891581 h 1978172"/>
              <a:gd name="connsiteX177" fmla="*/ 1436831 w 10768629"/>
              <a:gd name="connsiteY177" fmla="*/ 1856201 h 1978172"/>
              <a:gd name="connsiteX178" fmla="*/ 1332568 w 10768629"/>
              <a:gd name="connsiteY178" fmla="*/ 1793149 h 1978172"/>
              <a:gd name="connsiteX179" fmla="*/ 1186881 w 10768629"/>
              <a:gd name="connsiteY179" fmla="*/ 1768613 h 1978172"/>
              <a:gd name="connsiteX180" fmla="*/ 1162595 w 10768629"/>
              <a:gd name="connsiteY180" fmla="*/ 1758337 h 1978172"/>
              <a:gd name="connsiteX181" fmla="*/ 1128523 w 10768629"/>
              <a:gd name="connsiteY181" fmla="*/ 1763621 h 1978172"/>
              <a:gd name="connsiteX182" fmla="*/ 991903 w 10768629"/>
              <a:gd name="connsiteY182" fmla="*/ 1786741 h 1978172"/>
              <a:gd name="connsiteX183" fmla="*/ 883960 w 10768629"/>
              <a:gd name="connsiteY183" fmla="*/ 1822386 h 1978172"/>
              <a:gd name="connsiteX184" fmla="*/ 766531 w 10768629"/>
              <a:gd name="connsiteY184" fmla="*/ 1805053 h 1978172"/>
              <a:gd name="connsiteX185" fmla="*/ 669779 w 10768629"/>
              <a:gd name="connsiteY185" fmla="*/ 1800537 h 1978172"/>
              <a:gd name="connsiteX186" fmla="*/ 523898 w 10768629"/>
              <a:gd name="connsiteY186" fmla="*/ 1811085 h 1978172"/>
              <a:gd name="connsiteX187" fmla="*/ 360251 w 10768629"/>
              <a:gd name="connsiteY187" fmla="*/ 1830735 h 1978172"/>
              <a:gd name="connsiteX188" fmla="*/ 255207 w 10768629"/>
              <a:gd name="connsiteY188" fmla="*/ 1818275 h 1978172"/>
              <a:gd name="connsiteX189" fmla="*/ 101803 w 10768629"/>
              <a:gd name="connsiteY189" fmla="*/ 1870647 h 1978172"/>
              <a:gd name="connsiteX190" fmla="*/ 25397 w 10768629"/>
              <a:gd name="connsiteY190" fmla="*/ 1888443 h 1978172"/>
              <a:gd name="connsiteX191" fmla="*/ 2370 w 10768629"/>
              <a:gd name="connsiteY191" fmla="*/ 1878311 h 1978172"/>
              <a:gd name="connsiteX192" fmla="*/ 0 w 10768629"/>
              <a:gd name="connsiteY192" fmla="*/ 1878785 h 1978172"/>
              <a:gd name="connsiteX193" fmla="*/ 0 w 10768629"/>
              <a:gd name="connsiteY193" fmla="*/ 0 h 1978172"/>
              <a:gd name="connsiteX0" fmla="*/ 0 w 10768629"/>
              <a:gd name="connsiteY0" fmla="*/ 0 h 1978172"/>
              <a:gd name="connsiteX1" fmla="*/ 10768629 w 10768629"/>
              <a:gd name="connsiteY1" fmla="*/ 0 h 1978172"/>
              <a:gd name="connsiteX2" fmla="*/ 10733254 w 10768629"/>
              <a:gd name="connsiteY2" fmla="*/ 31439 h 1978172"/>
              <a:gd name="connsiteX3" fmla="*/ 10727085 w 10768629"/>
              <a:gd name="connsiteY3" fmla="*/ 37910 h 1978172"/>
              <a:gd name="connsiteX4" fmla="*/ 10675953 w 10768629"/>
              <a:gd name="connsiteY4" fmla="*/ 68623 h 1978172"/>
              <a:gd name="connsiteX5" fmla="*/ 10637091 w 10768629"/>
              <a:gd name="connsiteY5" fmla="*/ 90361 h 1978172"/>
              <a:gd name="connsiteX6" fmla="*/ 10610971 w 10768629"/>
              <a:gd name="connsiteY6" fmla="*/ 110764 h 1978172"/>
              <a:gd name="connsiteX7" fmla="*/ 10532872 w 10768629"/>
              <a:gd name="connsiteY7" fmla="*/ 138028 h 1978172"/>
              <a:gd name="connsiteX8" fmla="*/ 10398558 w 10768629"/>
              <a:gd name="connsiteY8" fmla="*/ 172911 h 1978172"/>
              <a:gd name="connsiteX9" fmla="*/ 10371128 w 10768629"/>
              <a:gd name="connsiteY9" fmla="*/ 182609 h 1978172"/>
              <a:gd name="connsiteX10" fmla="*/ 10352178 w 10768629"/>
              <a:gd name="connsiteY10" fmla="*/ 199976 h 1978172"/>
              <a:gd name="connsiteX11" fmla="*/ 10351815 w 10768629"/>
              <a:gd name="connsiteY11" fmla="*/ 211879 h 1978172"/>
              <a:gd name="connsiteX12" fmla="*/ 10337471 w 10768629"/>
              <a:gd name="connsiteY12" fmla="*/ 218661 h 1978172"/>
              <a:gd name="connsiteX13" fmla="*/ 10334625 w 10768629"/>
              <a:gd name="connsiteY13" fmla="*/ 222351 h 1978172"/>
              <a:gd name="connsiteX14" fmla="*/ 10256365 w 10768629"/>
              <a:gd name="connsiteY14" fmla="*/ 235917 h 1978172"/>
              <a:gd name="connsiteX15" fmla="*/ 10201127 w 10768629"/>
              <a:gd name="connsiteY15" fmla="*/ 267448 h 1978172"/>
              <a:gd name="connsiteX16" fmla="*/ 9961218 w 10768629"/>
              <a:gd name="connsiteY16" fmla="*/ 326720 h 1978172"/>
              <a:gd name="connsiteX17" fmla="*/ 9859715 w 10768629"/>
              <a:gd name="connsiteY17" fmla="*/ 355698 h 1978172"/>
              <a:gd name="connsiteX18" fmla="*/ 9679867 w 10768629"/>
              <a:gd name="connsiteY18" fmla="*/ 399081 h 1978172"/>
              <a:gd name="connsiteX19" fmla="*/ 9490654 w 10768629"/>
              <a:gd name="connsiteY19" fmla="*/ 455225 h 1978172"/>
              <a:gd name="connsiteX20" fmla="*/ 9470837 w 10768629"/>
              <a:gd name="connsiteY20" fmla="*/ 452539 h 1978172"/>
              <a:gd name="connsiteX21" fmla="*/ 9469082 w 10768629"/>
              <a:gd name="connsiteY21" fmla="*/ 454891 h 1978172"/>
              <a:gd name="connsiteX22" fmla="*/ 9448038 w 10768629"/>
              <a:gd name="connsiteY22" fmla="*/ 459733 h 1978172"/>
              <a:gd name="connsiteX23" fmla="*/ 9396821 w 10768629"/>
              <a:gd name="connsiteY23" fmla="*/ 455795 h 1978172"/>
              <a:gd name="connsiteX24" fmla="*/ 9392197 w 10768629"/>
              <a:gd name="connsiteY24" fmla="*/ 459796 h 1978172"/>
              <a:gd name="connsiteX25" fmla="*/ 9347994 w 10768629"/>
              <a:gd name="connsiteY25" fmla="*/ 464462 h 1978172"/>
              <a:gd name="connsiteX26" fmla="*/ 9347889 w 10768629"/>
              <a:gd name="connsiteY26" fmla="*/ 466539 h 1978172"/>
              <a:gd name="connsiteX27" fmla="*/ 9337639 w 10768629"/>
              <a:gd name="connsiteY27" fmla="*/ 476654 h 1978172"/>
              <a:gd name="connsiteX28" fmla="*/ 9316893 w 10768629"/>
              <a:gd name="connsiteY28" fmla="*/ 491390 h 1978172"/>
              <a:gd name="connsiteX29" fmla="*/ 9229283 w 10768629"/>
              <a:gd name="connsiteY29" fmla="*/ 555377 h 1978172"/>
              <a:gd name="connsiteX30" fmla="*/ 9220274 w 10768629"/>
              <a:gd name="connsiteY30" fmla="*/ 557502 h 1978172"/>
              <a:gd name="connsiteX31" fmla="*/ 9220202 w 10768629"/>
              <a:gd name="connsiteY31" fmla="*/ 558001 h 1978172"/>
              <a:gd name="connsiteX32" fmla="*/ 9210908 w 10768629"/>
              <a:gd name="connsiteY32" fmla="*/ 561147 h 1978172"/>
              <a:gd name="connsiteX33" fmla="*/ 9186374 w 10768629"/>
              <a:gd name="connsiteY33" fmla="*/ 565502 h 1978172"/>
              <a:gd name="connsiteX34" fmla="*/ 9181058 w 10768629"/>
              <a:gd name="connsiteY34" fmla="*/ 569943 h 1978172"/>
              <a:gd name="connsiteX35" fmla="*/ 9179948 w 10768629"/>
              <a:gd name="connsiteY35" fmla="*/ 576062 h 1978172"/>
              <a:gd name="connsiteX36" fmla="*/ 9149110 w 10768629"/>
              <a:gd name="connsiteY36" fmla="*/ 598906 h 1978172"/>
              <a:gd name="connsiteX37" fmla="*/ 9078556 w 10768629"/>
              <a:gd name="connsiteY37" fmla="*/ 644039 h 1978172"/>
              <a:gd name="connsiteX38" fmla="*/ 8996399 w 10768629"/>
              <a:gd name="connsiteY38" fmla="*/ 690055 h 1978172"/>
              <a:gd name="connsiteX39" fmla="*/ 8803791 w 10768629"/>
              <a:gd name="connsiteY39" fmla="*/ 813860 h 1978172"/>
              <a:gd name="connsiteX40" fmla="*/ 8636202 w 10768629"/>
              <a:gd name="connsiteY40" fmla="*/ 848463 h 1978172"/>
              <a:gd name="connsiteX41" fmla="*/ 8555372 w 10768629"/>
              <a:gd name="connsiteY41" fmla="*/ 883171 h 1978172"/>
              <a:gd name="connsiteX42" fmla="*/ 8507229 w 10768629"/>
              <a:gd name="connsiteY42" fmla="*/ 901665 h 1978172"/>
              <a:gd name="connsiteX43" fmla="*/ 8428473 w 10768629"/>
              <a:gd name="connsiteY43" fmla="*/ 927985 h 1978172"/>
              <a:gd name="connsiteX44" fmla="*/ 8427914 w 10768629"/>
              <a:gd name="connsiteY44" fmla="*/ 933480 h 1978172"/>
              <a:gd name="connsiteX45" fmla="*/ 8420327 w 10768629"/>
              <a:gd name="connsiteY45" fmla="*/ 941984 h 1978172"/>
              <a:gd name="connsiteX46" fmla="*/ 8407128 w 10768629"/>
              <a:gd name="connsiteY46" fmla="*/ 961344 h 1978172"/>
              <a:gd name="connsiteX47" fmla="*/ 8380548 w 10768629"/>
              <a:gd name="connsiteY47" fmla="*/ 987916 h 1978172"/>
              <a:gd name="connsiteX48" fmla="*/ 8379462 w 10768629"/>
              <a:gd name="connsiteY48" fmla="*/ 987106 h 1978172"/>
              <a:gd name="connsiteX49" fmla="*/ 8369725 w 10768629"/>
              <a:gd name="connsiteY49" fmla="*/ 989186 h 1978172"/>
              <a:gd name="connsiteX50" fmla="*/ 8304438 w 10768629"/>
              <a:gd name="connsiteY50" fmla="*/ 996739 h 1978172"/>
              <a:gd name="connsiteX51" fmla="*/ 8280929 w 10768629"/>
              <a:gd name="connsiteY51" fmla="*/ 1023089 h 1978172"/>
              <a:gd name="connsiteX52" fmla="*/ 8275760 w 10768629"/>
              <a:gd name="connsiteY52" fmla="*/ 1027772 h 1978172"/>
              <a:gd name="connsiteX53" fmla="*/ 8275478 w 10768629"/>
              <a:gd name="connsiteY53" fmla="*/ 1027605 h 1978172"/>
              <a:gd name="connsiteX54" fmla="*/ 8269666 w 10768629"/>
              <a:gd name="connsiteY54" fmla="*/ 1032033 h 1978172"/>
              <a:gd name="connsiteX55" fmla="*/ 8203836 w 10768629"/>
              <a:gd name="connsiteY55" fmla="*/ 1037347 h 1978172"/>
              <a:gd name="connsiteX56" fmla="*/ 8122936 w 10768629"/>
              <a:gd name="connsiteY56" fmla="*/ 1063113 h 1978172"/>
              <a:gd name="connsiteX57" fmla="*/ 8043658 w 10768629"/>
              <a:gd name="connsiteY57" fmla="*/ 1092746 h 1978172"/>
              <a:gd name="connsiteX58" fmla="*/ 8015351 w 10768629"/>
              <a:gd name="connsiteY58" fmla="*/ 1105478 h 1978172"/>
              <a:gd name="connsiteX59" fmla="*/ 7963145 w 10768629"/>
              <a:gd name="connsiteY59" fmla="*/ 1119346 h 1978172"/>
              <a:gd name="connsiteX60" fmla="*/ 7938145 w 10768629"/>
              <a:gd name="connsiteY60" fmla="*/ 1120225 h 1978172"/>
              <a:gd name="connsiteX61" fmla="*/ 7937238 w 10768629"/>
              <a:gd name="connsiteY61" fmla="*/ 1121204 h 1978172"/>
              <a:gd name="connsiteX62" fmla="*/ 7934398 w 10768629"/>
              <a:gd name="connsiteY62" fmla="*/ 1118240 h 1978172"/>
              <a:gd name="connsiteX63" fmla="*/ 7918248 w 10768629"/>
              <a:gd name="connsiteY63" fmla="*/ 1124371 h 1978172"/>
              <a:gd name="connsiteX64" fmla="*/ 7914119 w 10768629"/>
              <a:gd name="connsiteY64" fmla="*/ 1127653 h 1978172"/>
              <a:gd name="connsiteX65" fmla="*/ 7907658 w 10768629"/>
              <a:gd name="connsiteY65" fmla="*/ 1130350 h 1978172"/>
              <a:gd name="connsiteX66" fmla="*/ 7907434 w 10768629"/>
              <a:gd name="connsiteY66" fmla="*/ 1130103 h 1978172"/>
              <a:gd name="connsiteX67" fmla="*/ 7901508 w 10768629"/>
              <a:gd name="connsiteY67" fmla="*/ 1133245 h 1978172"/>
              <a:gd name="connsiteX68" fmla="*/ 7873287 w 10768629"/>
              <a:gd name="connsiteY68" fmla="*/ 1152609 h 1978172"/>
              <a:gd name="connsiteX69" fmla="*/ 7834833 w 10768629"/>
              <a:gd name="connsiteY69" fmla="*/ 1153868 h 1978172"/>
              <a:gd name="connsiteX70" fmla="*/ 7828661 w 10768629"/>
              <a:gd name="connsiteY70" fmla="*/ 1139994 h 1978172"/>
              <a:gd name="connsiteX71" fmla="*/ 7823966 w 10768629"/>
              <a:gd name="connsiteY71" fmla="*/ 1143178 h 1978172"/>
              <a:gd name="connsiteX72" fmla="*/ 7815078 w 10768629"/>
              <a:gd name="connsiteY72" fmla="*/ 1151776 h 1978172"/>
              <a:gd name="connsiteX73" fmla="*/ 7812026 w 10768629"/>
              <a:gd name="connsiteY73" fmla="*/ 1151522 h 1978172"/>
              <a:gd name="connsiteX74" fmla="*/ 7782249 w 10768629"/>
              <a:gd name="connsiteY74" fmla="*/ 1160970 h 1978172"/>
              <a:gd name="connsiteX75" fmla="*/ 7773476 w 10768629"/>
              <a:gd name="connsiteY75" fmla="*/ 1157414 h 1978172"/>
              <a:gd name="connsiteX76" fmla="*/ 7769600 w 10768629"/>
              <a:gd name="connsiteY76" fmla="*/ 1157365 h 1978172"/>
              <a:gd name="connsiteX77" fmla="*/ 7752631 w 10768629"/>
              <a:gd name="connsiteY77" fmla="*/ 1172815 h 1978172"/>
              <a:gd name="connsiteX78" fmla="*/ 7743525 w 10768629"/>
              <a:gd name="connsiteY78" fmla="*/ 1179064 h 1978172"/>
              <a:gd name="connsiteX79" fmla="*/ 7685942 w 10768629"/>
              <a:gd name="connsiteY79" fmla="*/ 1233723 h 1978172"/>
              <a:gd name="connsiteX80" fmla="*/ 7586920 w 10768629"/>
              <a:gd name="connsiteY80" fmla="*/ 1261888 h 1978172"/>
              <a:gd name="connsiteX81" fmla="*/ 7486100 w 10768629"/>
              <a:gd name="connsiteY81" fmla="*/ 1292563 h 1978172"/>
              <a:gd name="connsiteX82" fmla="*/ 7407190 w 10768629"/>
              <a:gd name="connsiteY82" fmla="*/ 1314737 h 1978172"/>
              <a:gd name="connsiteX83" fmla="*/ 7240698 w 10768629"/>
              <a:gd name="connsiteY83" fmla="*/ 1438832 h 1978172"/>
              <a:gd name="connsiteX84" fmla="*/ 7197675 w 10768629"/>
              <a:gd name="connsiteY84" fmla="*/ 1447530 h 1978172"/>
              <a:gd name="connsiteX85" fmla="*/ 7164788 w 10768629"/>
              <a:gd name="connsiteY85" fmla="*/ 1480293 h 1978172"/>
              <a:gd name="connsiteX86" fmla="*/ 7147929 w 10768629"/>
              <a:gd name="connsiteY86" fmla="*/ 1477641 h 1978172"/>
              <a:gd name="connsiteX87" fmla="*/ 7144965 w 10768629"/>
              <a:gd name="connsiteY87" fmla="*/ 1476908 h 1978172"/>
              <a:gd name="connsiteX88" fmla="*/ 7134299 w 10768629"/>
              <a:gd name="connsiteY88" fmla="*/ 1479969 h 1978172"/>
              <a:gd name="connsiteX89" fmla="*/ 7129809 w 10768629"/>
              <a:gd name="connsiteY89" fmla="*/ 1473339 h 1978172"/>
              <a:gd name="connsiteX90" fmla="*/ 7112688 w 10768629"/>
              <a:gd name="connsiteY90" fmla="*/ 1472575 h 1978172"/>
              <a:gd name="connsiteX91" fmla="*/ 7093470 w 10768629"/>
              <a:gd name="connsiteY91" fmla="*/ 1480300 h 1978172"/>
              <a:gd name="connsiteX92" fmla="*/ 7025034 w 10768629"/>
              <a:gd name="connsiteY92" fmla="*/ 1506934 h 1978172"/>
              <a:gd name="connsiteX93" fmla="*/ 7014783 w 10768629"/>
              <a:gd name="connsiteY93" fmla="*/ 1515868 h 1978172"/>
              <a:gd name="connsiteX94" fmla="*/ 6979706 w 10768629"/>
              <a:gd name="connsiteY94" fmla="*/ 1523511 h 1978172"/>
              <a:gd name="connsiteX95" fmla="*/ 6977890 w 10768629"/>
              <a:gd name="connsiteY95" fmla="*/ 1525793 h 1978172"/>
              <a:gd name="connsiteX96" fmla="*/ 6944339 w 10768629"/>
              <a:gd name="connsiteY96" fmla="*/ 1536237 h 1978172"/>
              <a:gd name="connsiteX97" fmla="*/ 6886996 w 10768629"/>
              <a:gd name="connsiteY97" fmla="*/ 1563569 h 1978172"/>
              <a:gd name="connsiteX98" fmla="*/ 6874510 w 10768629"/>
              <a:gd name="connsiteY98" fmla="*/ 1558469 h 1978172"/>
              <a:gd name="connsiteX99" fmla="*/ 6871943 w 10768629"/>
              <a:gd name="connsiteY99" fmla="*/ 1554651 h 1978172"/>
              <a:gd name="connsiteX100" fmla="*/ 6856174 w 10768629"/>
              <a:gd name="connsiteY100" fmla="*/ 1562024 h 1978172"/>
              <a:gd name="connsiteX101" fmla="*/ 6842321 w 10768629"/>
              <a:gd name="connsiteY101" fmla="*/ 1560554 h 1978172"/>
              <a:gd name="connsiteX102" fmla="*/ 6832713 w 10768629"/>
              <a:gd name="connsiteY102" fmla="*/ 1569357 h 1978172"/>
              <a:gd name="connsiteX103" fmla="*/ 6816351 w 10768629"/>
              <a:gd name="connsiteY103" fmla="*/ 1571495 h 1978172"/>
              <a:gd name="connsiteX104" fmla="*/ 6795800 w 10768629"/>
              <a:gd name="connsiteY104" fmla="*/ 1572010 h 1978172"/>
              <a:gd name="connsiteX105" fmla="*/ 6777546 w 10768629"/>
              <a:gd name="connsiteY105" fmla="*/ 1568661 h 1978172"/>
              <a:gd name="connsiteX106" fmla="*/ 6751528 w 10768629"/>
              <a:gd name="connsiteY106" fmla="*/ 1574143 h 1978172"/>
              <a:gd name="connsiteX107" fmla="*/ 6691966 w 10768629"/>
              <a:gd name="connsiteY107" fmla="*/ 1582255 h 1978172"/>
              <a:gd name="connsiteX108" fmla="*/ 6646941 w 10768629"/>
              <a:gd name="connsiteY108" fmla="*/ 1588471 h 1978172"/>
              <a:gd name="connsiteX109" fmla="*/ 6568576 w 10768629"/>
              <a:gd name="connsiteY109" fmla="*/ 1606488 h 1978172"/>
              <a:gd name="connsiteX110" fmla="*/ 6554358 w 10768629"/>
              <a:gd name="connsiteY110" fmla="*/ 1621701 h 1978172"/>
              <a:gd name="connsiteX111" fmla="*/ 6516968 w 10768629"/>
              <a:gd name="connsiteY111" fmla="*/ 1617195 h 1978172"/>
              <a:gd name="connsiteX112" fmla="*/ 6506479 w 10768629"/>
              <a:gd name="connsiteY112" fmla="*/ 1602227 h 1978172"/>
              <a:gd name="connsiteX113" fmla="*/ 6458436 w 10768629"/>
              <a:gd name="connsiteY113" fmla="*/ 1607332 h 1978172"/>
              <a:gd name="connsiteX114" fmla="*/ 6414786 w 10768629"/>
              <a:gd name="connsiteY114" fmla="*/ 1628815 h 1978172"/>
              <a:gd name="connsiteX115" fmla="*/ 6357085 w 10768629"/>
              <a:gd name="connsiteY115" fmla="*/ 1640846 h 1978172"/>
              <a:gd name="connsiteX116" fmla="*/ 6322636 w 10768629"/>
              <a:gd name="connsiteY116" fmla="*/ 1648213 h 1978172"/>
              <a:gd name="connsiteX117" fmla="*/ 6226172 w 10768629"/>
              <a:gd name="connsiteY117" fmla="*/ 1654676 h 1978172"/>
              <a:gd name="connsiteX118" fmla="*/ 6221217 w 10768629"/>
              <a:gd name="connsiteY118" fmla="*/ 1654506 h 1978172"/>
              <a:gd name="connsiteX119" fmla="*/ 6204956 w 10768629"/>
              <a:gd name="connsiteY119" fmla="*/ 1664280 h 1978172"/>
              <a:gd name="connsiteX120" fmla="*/ 6204270 w 10768629"/>
              <a:gd name="connsiteY120" fmla="*/ 1666782 h 1978172"/>
              <a:gd name="connsiteX121" fmla="*/ 6143810 w 10768629"/>
              <a:gd name="connsiteY121" fmla="*/ 1661963 h 1978172"/>
              <a:gd name="connsiteX122" fmla="*/ 6136560 w 10768629"/>
              <a:gd name="connsiteY122" fmla="*/ 1665728 h 1978172"/>
              <a:gd name="connsiteX123" fmla="*/ 6096155 w 10768629"/>
              <a:gd name="connsiteY123" fmla="*/ 1656951 h 1978172"/>
              <a:gd name="connsiteX124" fmla="*/ 6075812 w 10768629"/>
              <a:gd name="connsiteY124" fmla="*/ 1655422 h 1978172"/>
              <a:gd name="connsiteX125" fmla="*/ 6039495 w 10768629"/>
              <a:gd name="connsiteY125" fmla="*/ 1649680 h 1978172"/>
              <a:gd name="connsiteX126" fmla="*/ 6036523 w 10768629"/>
              <a:gd name="connsiteY126" fmla="*/ 1652121 h 1978172"/>
              <a:gd name="connsiteX127" fmla="*/ 6029328 w 10768629"/>
              <a:gd name="connsiteY127" fmla="*/ 1649904 h 1978172"/>
              <a:gd name="connsiteX128" fmla="*/ 6024075 w 10768629"/>
              <a:gd name="connsiteY128" fmla="*/ 1652779 h 1978172"/>
              <a:gd name="connsiteX129" fmla="*/ 6018085 w 10768629"/>
              <a:gd name="connsiteY129" fmla="*/ 1652030 h 1978172"/>
              <a:gd name="connsiteX130" fmla="*/ 5955513 w 10768629"/>
              <a:gd name="connsiteY130" fmla="*/ 1663584 h 1978172"/>
              <a:gd name="connsiteX131" fmla="*/ 5941996 w 10768629"/>
              <a:gd name="connsiteY131" fmla="*/ 1661326 h 1978172"/>
              <a:gd name="connsiteX132" fmla="*/ 5931789 w 10768629"/>
              <a:gd name="connsiteY132" fmla="*/ 1669915 h 1978172"/>
              <a:gd name="connsiteX133" fmla="*/ 5888686 w 10768629"/>
              <a:gd name="connsiteY133" fmla="*/ 1672175 h 1978172"/>
              <a:gd name="connsiteX134" fmla="*/ 5873794 w 10768629"/>
              <a:gd name="connsiteY134" fmla="*/ 1665454 h 1978172"/>
              <a:gd name="connsiteX135" fmla="*/ 5860022 w 10768629"/>
              <a:gd name="connsiteY135" fmla="*/ 1660635 h 1978172"/>
              <a:gd name="connsiteX136" fmla="*/ 5858237 w 10768629"/>
              <a:gd name="connsiteY136" fmla="*/ 1660649 h 1978172"/>
              <a:gd name="connsiteX137" fmla="*/ 5840319 w 10768629"/>
              <a:gd name="connsiteY137" fmla="*/ 1660798 h 1978172"/>
              <a:gd name="connsiteX138" fmla="*/ 5806984 w 10768629"/>
              <a:gd name="connsiteY138" fmla="*/ 1661075 h 1978172"/>
              <a:gd name="connsiteX139" fmla="*/ 5742351 w 10768629"/>
              <a:gd name="connsiteY139" fmla="*/ 1667489 h 1978172"/>
              <a:gd name="connsiteX140" fmla="*/ 5521171 w 10768629"/>
              <a:gd name="connsiteY140" fmla="*/ 1671626 h 1978172"/>
              <a:gd name="connsiteX141" fmla="*/ 5440853 w 10768629"/>
              <a:gd name="connsiteY141" fmla="*/ 1657958 h 1978172"/>
              <a:gd name="connsiteX142" fmla="*/ 4950070 w 10768629"/>
              <a:gd name="connsiteY142" fmla="*/ 1748401 h 1978172"/>
              <a:gd name="connsiteX143" fmla="*/ 4872172 w 10768629"/>
              <a:gd name="connsiteY143" fmla="*/ 1757222 h 1978172"/>
              <a:gd name="connsiteX144" fmla="*/ 4809524 w 10768629"/>
              <a:gd name="connsiteY144" fmla="*/ 1761033 h 1978172"/>
              <a:gd name="connsiteX145" fmla="*/ 4759058 w 10768629"/>
              <a:gd name="connsiteY145" fmla="*/ 1766533 h 1978172"/>
              <a:gd name="connsiteX146" fmla="*/ 4719749 w 10768629"/>
              <a:gd name="connsiteY146" fmla="*/ 1771811 h 1978172"/>
              <a:gd name="connsiteX147" fmla="*/ 4568686 w 10768629"/>
              <a:gd name="connsiteY147" fmla="*/ 1786141 h 1978172"/>
              <a:gd name="connsiteX148" fmla="*/ 4418751 w 10768629"/>
              <a:gd name="connsiteY148" fmla="*/ 1796932 h 1978172"/>
              <a:gd name="connsiteX149" fmla="*/ 4378377 w 10768629"/>
              <a:gd name="connsiteY149" fmla="*/ 1815528 h 1978172"/>
              <a:gd name="connsiteX150" fmla="*/ 4320575 w 10768629"/>
              <a:gd name="connsiteY150" fmla="*/ 1832722 h 1978172"/>
              <a:gd name="connsiteX151" fmla="*/ 4220200 w 10768629"/>
              <a:gd name="connsiteY151" fmla="*/ 1873173 h 1978172"/>
              <a:gd name="connsiteX152" fmla="*/ 4105361 w 10768629"/>
              <a:gd name="connsiteY152" fmla="*/ 1894711 h 1978172"/>
              <a:gd name="connsiteX153" fmla="*/ 3973223 w 10768629"/>
              <a:gd name="connsiteY153" fmla="*/ 1881015 h 1978172"/>
              <a:gd name="connsiteX154" fmla="*/ 3900992 w 10768629"/>
              <a:gd name="connsiteY154" fmla="*/ 1880603 h 1978172"/>
              <a:gd name="connsiteX155" fmla="*/ 3662119 w 10768629"/>
              <a:gd name="connsiteY155" fmla="*/ 1876289 h 1978172"/>
              <a:gd name="connsiteX156" fmla="*/ 3496919 w 10768629"/>
              <a:gd name="connsiteY156" fmla="*/ 1873180 h 1978172"/>
              <a:gd name="connsiteX157" fmla="*/ 3449433 w 10768629"/>
              <a:gd name="connsiteY157" fmla="*/ 1889681 h 1978172"/>
              <a:gd name="connsiteX158" fmla="*/ 3369766 w 10768629"/>
              <a:gd name="connsiteY158" fmla="*/ 1916653 h 1978172"/>
              <a:gd name="connsiteX159" fmla="*/ 3290336 w 10768629"/>
              <a:gd name="connsiteY159" fmla="*/ 1925039 h 1978172"/>
              <a:gd name="connsiteX160" fmla="*/ 3224897 w 10768629"/>
              <a:gd name="connsiteY160" fmla="*/ 1943733 h 1978172"/>
              <a:gd name="connsiteX161" fmla="*/ 3161463 w 10768629"/>
              <a:gd name="connsiteY161" fmla="*/ 1946591 h 1978172"/>
              <a:gd name="connsiteX162" fmla="*/ 3157504 w 10768629"/>
              <a:gd name="connsiteY162" fmla="*/ 1957276 h 1978172"/>
              <a:gd name="connsiteX163" fmla="*/ 3115176 w 10768629"/>
              <a:gd name="connsiteY163" fmla="*/ 1943459 h 1978172"/>
              <a:gd name="connsiteX164" fmla="*/ 3038835 w 10768629"/>
              <a:gd name="connsiteY164" fmla="*/ 1920210 h 1978172"/>
              <a:gd name="connsiteX165" fmla="*/ 2897201 w 10768629"/>
              <a:gd name="connsiteY165" fmla="*/ 1926772 h 1978172"/>
              <a:gd name="connsiteX166" fmla="*/ 2783891 w 10768629"/>
              <a:gd name="connsiteY166" fmla="*/ 1931749 h 1978172"/>
              <a:gd name="connsiteX167" fmla="*/ 2712447 w 10768629"/>
              <a:gd name="connsiteY167" fmla="*/ 1933044 h 1978172"/>
              <a:gd name="connsiteX168" fmla="*/ 2560151 w 10768629"/>
              <a:gd name="connsiteY168" fmla="*/ 1963609 h 1978172"/>
              <a:gd name="connsiteX169" fmla="*/ 2367221 w 10768629"/>
              <a:gd name="connsiteY169" fmla="*/ 1971884 h 1978172"/>
              <a:gd name="connsiteX170" fmla="*/ 2272130 w 10768629"/>
              <a:gd name="connsiteY170" fmla="*/ 1961162 h 1978172"/>
              <a:gd name="connsiteX171" fmla="*/ 2189404 w 10768629"/>
              <a:gd name="connsiteY171" fmla="*/ 1978172 h 1978172"/>
              <a:gd name="connsiteX172" fmla="*/ 2077704 w 10768629"/>
              <a:gd name="connsiteY172" fmla="*/ 1965002 h 1978172"/>
              <a:gd name="connsiteX173" fmla="*/ 1967996 w 10768629"/>
              <a:gd name="connsiteY173" fmla="*/ 1953187 h 1978172"/>
              <a:gd name="connsiteX174" fmla="*/ 1855805 w 10768629"/>
              <a:gd name="connsiteY174" fmla="*/ 1926082 h 1978172"/>
              <a:gd name="connsiteX175" fmla="*/ 1790957 w 10768629"/>
              <a:gd name="connsiteY175" fmla="*/ 1919460 h 1978172"/>
              <a:gd name="connsiteX176" fmla="*/ 1613978 w 10768629"/>
              <a:gd name="connsiteY176" fmla="*/ 1891581 h 1978172"/>
              <a:gd name="connsiteX177" fmla="*/ 1436831 w 10768629"/>
              <a:gd name="connsiteY177" fmla="*/ 1856201 h 1978172"/>
              <a:gd name="connsiteX178" fmla="*/ 1332568 w 10768629"/>
              <a:gd name="connsiteY178" fmla="*/ 1793149 h 1978172"/>
              <a:gd name="connsiteX179" fmla="*/ 1186881 w 10768629"/>
              <a:gd name="connsiteY179" fmla="*/ 1768613 h 1978172"/>
              <a:gd name="connsiteX180" fmla="*/ 1162595 w 10768629"/>
              <a:gd name="connsiteY180" fmla="*/ 1758337 h 1978172"/>
              <a:gd name="connsiteX181" fmla="*/ 1128523 w 10768629"/>
              <a:gd name="connsiteY181" fmla="*/ 1763621 h 1978172"/>
              <a:gd name="connsiteX182" fmla="*/ 991903 w 10768629"/>
              <a:gd name="connsiteY182" fmla="*/ 1786741 h 1978172"/>
              <a:gd name="connsiteX183" fmla="*/ 883960 w 10768629"/>
              <a:gd name="connsiteY183" fmla="*/ 1822386 h 1978172"/>
              <a:gd name="connsiteX184" fmla="*/ 766531 w 10768629"/>
              <a:gd name="connsiteY184" fmla="*/ 1805053 h 1978172"/>
              <a:gd name="connsiteX185" fmla="*/ 669779 w 10768629"/>
              <a:gd name="connsiteY185" fmla="*/ 1800537 h 1978172"/>
              <a:gd name="connsiteX186" fmla="*/ 523898 w 10768629"/>
              <a:gd name="connsiteY186" fmla="*/ 1811085 h 1978172"/>
              <a:gd name="connsiteX187" fmla="*/ 360251 w 10768629"/>
              <a:gd name="connsiteY187" fmla="*/ 1830735 h 1978172"/>
              <a:gd name="connsiteX188" fmla="*/ 255207 w 10768629"/>
              <a:gd name="connsiteY188" fmla="*/ 1818275 h 1978172"/>
              <a:gd name="connsiteX189" fmla="*/ 101803 w 10768629"/>
              <a:gd name="connsiteY189" fmla="*/ 1870647 h 1978172"/>
              <a:gd name="connsiteX190" fmla="*/ 25397 w 10768629"/>
              <a:gd name="connsiteY190" fmla="*/ 1888443 h 1978172"/>
              <a:gd name="connsiteX191" fmla="*/ 2370 w 10768629"/>
              <a:gd name="connsiteY191" fmla="*/ 1878311 h 1978172"/>
              <a:gd name="connsiteX192" fmla="*/ 0 w 10768629"/>
              <a:gd name="connsiteY192" fmla="*/ 1878785 h 1978172"/>
              <a:gd name="connsiteX193" fmla="*/ 0 w 10768629"/>
              <a:gd name="connsiteY193" fmla="*/ 0 h 1978172"/>
              <a:gd name="connsiteX0" fmla="*/ 0 w 10768629"/>
              <a:gd name="connsiteY0" fmla="*/ 0 h 1978172"/>
              <a:gd name="connsiteX1" fmla="*/ 10768629 w 10768629"/>
              <a:gd name="connsiteY1" fmla="*/ 0 h 1978172"/>
              <a:gd name="connsiteX2" fmla="*/ 10733254 w 10768629"/>
              <a:gd name="connsiteY2" fmla="*/ 31439 h 1978172"/>
              <a:gd name="connsiteX3" fmla="*/ 10727085 w 10768629"/>
              <a:gd name="connsiteY3" fmla="*/ 37910 h 1978172"/>
              <a:gd name="connsiteX4" fmla="*/ 10675953 w 10768629"/>
              <a:gd name="connsiteY4" fmla="*/ 68623 h 1978172"/>
              <a:gd name="connsiteX5" fmla="*/ 10637091 w 10768629"/>
              <a:gd name="connsiteY5" fmla="*/ 90361 h 1978172"/>
              <a:gd name="connsiteX6" fmla="*/ 10610971 w 10768629"/>
              <a:gd name="connsiteY6" fmla="*/ 110764 h 1978172"/>
              <a:gd name="connsiteX7" fmla="*/ 10532872 w 10768629"/>
              <a:gd name="connsiteY7" fmla="*/ 138028 h 1978172"/>
              <a:gd name="connsiteX8" fmla="*/ 10398558 w 10768629"/>
              <a:gd name="connsiteY8" fmla="*/ 172911 h 1978172"/>
              <a:gd name="connsiteX9" fmla="*/ 10371128 w 10768629"/>
              <a:gd name="connsiteY9" fmla="*/ 182609 h 1978172"/>
              <a:gd name="connsiteX10" fmla="*/ 10352178 w 10768629"/>
              <a:gd name="connsiteY10" fmla="*/ 199976 h 1978172"/>
              <a:gd name="connsiteX11" fmla="*/ 10351815 w 10768629"/>
              <a:gd name="connsiteY11" fmla="*/ 211879 h 1978172"/>
              <a:gd name="connsiteX12" fmla="*/ 10337471 w 10768629"/>
              <a:gd name="connsiteY12" fmla="*/ 218661 h 1978172"/>
              <a:gd name="connsiteX13" fmla="*/ 10334625 w 10768629"/>
              <a:gd name="connsiteY13" fmla="*/ 222351 h 1978172"/>
              <a:gd name="connsiteX14" fmla="*/ 10256365 w 10768629"/>
              <a:gd name="connsiteY14" fmla="*/ 235917 h 1978172"/>
              <a:gd name="connsiteX15" fmla="*/ 10201127 w 10768629"/>
              <a:gd name="connsiteY15" fmla="*/ 267448 h 1978172"/>
              <a:gd name="connsiteX16" fmla="*/ 9961218 w 10768629"/>
              <a:gd name="connsiteY16" fmla="*/ 326720 h 1978172"/>
              <a:gd name="connsiteX17" fmla="*/ 9859715 w 10768629"/>
              <a:gd name="connsiteY17" fmla="*/ 355698 h 1978172"/>
              <a:gd name="connsiteX18" fmla="*/ 9679867 w 10768629"/>
              <a:gd name="connsiteY18" fmla="*/ 399081 h 1978172"/>
              <a:gd name="connsiteX19" fmla="*/ 9490654 w 10768629"/>
              <a:gd name="connsiteY19" fmla="*/ 455225 h 1978172"/>
              <a:gd name="connsiteX20" fmla="*/ 9470837 w 10768629"/>
              <a:gd name="connsiteY20" fmla="*/ 452539 h 1978172"/>
              <a:gd name="connsiteX21" fmla="*/ 9469082 w 10768629"/>
              <a:gd name="connsiteY21" fmla="*/ 454891 h 1978172"/>
              <a:gd name="connsiteX22" fmla="*/ 9448038 w 10768629"/>
              <a:gd name="connsiteY22" fmla="*/ 459733 h 1978172"/>
              <a:gd name="connsiteX23" fmla="*/ 9396821 w 10768629"/>
              <a:gd name="connsiteY23" fmla="*/ 455795 h 1978172"/>
              <a:gd name="connsiteX24" fmla="*/ 9392197 w 10768629"/>
              <a:gd name="connsiteY24" fmla="*/ 459796 h 1978172"/>
              <a:gd name="connsiteX25" fmla="*/ 9347994 w 10768629"/>
              <a:gd name="connsiteY25" fmla="*/ 464462 h 1978172"/>
              <a:gd name="connsiteX26" fmla="*/ 9347889 w 10768629"/>
              <a:gd name="connsiteY26" fmla="*/ 466539 h 1978172"/>
              <a:gd name="connsiteX27" fmla="*/ 9337639 w 10768629"/>
              <a:gd name="connsiteY27" fmla="*/ 476654 h 1978172"/>
              <a:gd name="connsiteX28" fmla="*/ 9316893 w 10768629"/>
              <a:gd name="connsiteY28" fmla="*/ 491390 h 1978172"/>
              <a:gd name="connsiteX29" fmla="*/ 9229283 w 10768629"/>
              <a:gd name="connsiteY29" fmla="*/ 555377 h 1978172"/>
              <a:gd name="connsiteX30" fmla="*/ 9220274 w 10768629"/>
              <a:gd name="connsiteY30" fmla="*/ 557502 h 1978172"/>
              <a:gd name="connsiteX31" fmla="*/ 9220202 w 10768629"/>
              <a:gd name="connsiteY31" fmla="*/ 558001 h 1978172"/>
              <a:gd name="connsiteX32" fmla="*/ 9210908 w 10768629"/>
              <a:gd name="connsiteY32" fmla="*/ 561147 h 1978172"/>
              <a:gd name="connsiteX33" fmla="*/ 9186374 w 10768629"/>
              <a:gd name="connsiteY33" fmla="*/ 565502 h 1978172"/>
              <a:gd name="connsiteX34" fmla="*/ 9181058 w 10768629"/>
              <a:gd name="connsiteY34" fmla="*/ 569943 h 1978172"/>
              <a:gd name="connsiteX35" fmla="*/ 9179948 w 10768629"/>
              <a:gd name="connsiteY35" fmla="*/ 576062 h 1978172"/>
              <a:gd name="connsiteX36" fmla="*/ 9149110 w 10768629"/>
              <a:gd name="connsiteY36" fmla="*/ 598906 h 1978172"/>
              <a:gd name="connsiteX37" fmla="*/ 9078556 w 10768629"/>
              <a:gd name="connsiteY37" fmla="*/ 644039 h 1978172"/>
              <a:gd name="connsiteX38" fmla="*/ 8996399 w 10768629"/>
              <a:gd name="connsiteY38" fmla="*/ 690055 h 1978172"/>
              <a:gd name="connsiteX39" fmla="*/ 8803791 w 10768629"/>
              <a:gd name="connsiteY39" fmla="*/ 813860 h 1978172"/>
              <a:gd name="connsiteX40" fmla="*/ 8636202 w 10768629"/>
              <a:gd name="connsiteY40" fmla="*/ 848463 h 1978172"/>
              <a:gd name="connsiteX41" fmla="*/ 8555372 w 10768629"/>
              <a:gd name="connsiteY41" fmla="*/ 883171 h 1978172"/>
              <a:gd name="connsiteX42" fmla="*/ 8507229 w 10768629"/>
              <a:gd name="connsiteY42" fmla="*/ 901665 h 1978172"/>
              <a:gd name="connsiteX43" fmla="*/ 8428473 w 10768629"/>
              <a:gd name="connsiteY43" fmla="*/ 927985 h 1978172"/>
              <a:gd name="connsiteX44" fmla="*/ 8427914 w 10768629"/>
              <a:gd name="connsiteY44" fmla="*/ 933480 h 1978172"/>
              <a:gd name="connsiteX45" fmla="*/ 8420327 w 10768629"/>
              <a:gd name="connsiteY45" fmla="*/ 941984 h 1978172"/>
              <a:gd name="connsiteX46" fmla="*/ 8407128 w 10768629"/>
              <a:gd name="connsiteY46" fmla="*/ 961344 h 1978172"/>
              <a:gd name="connsiteX47" fmla="*/ 8380548 w 10768629"/>
              <a:gd name="connsiteY47" fmla="*/ 987916 h 1978172"/>
              <a:gd name="connsiteX48" fmla="*/ 8379462 w 10768629"/>
              <a:gd name="connsiteY48" fmla="*/ 987106 h 1978172"/>
              <a:gd name="connsiteX49" fmla="*/ 8369725 w 10768629"/>
              <a:gd name="connsiteY49" fmla="*/ 989186 h 1978172"/>
              <a:gd name="connsiteX50" fmla="*/ 8304438 w 10768629"/>
              <a:gd name="connsiteY50" fmla="*/ 996739 h 1978172"/>
              <a:gd name="connsiteX51" fmla="*/ 8280929 w 10768629"/>
              <a:gd name="connsiteY51" fmla="*/ 1023089 h 1978172"/>
              <a:gd name="connsiteX52" fmla="*/ 8275760 w 10768629"/>
              <a:gd name="connsiteY52" fmla="*/ 1027772 h 1978172"/>
              <a:gd name="connsiteX53" fmla="*/ 8275478 w 10768629"/>
              <a:gd name="connsiteY53" fmla="*/ 1027605 h 1978172"/>
              <a:gd name="connsiteX54" fmla="*/ 8269666 w 10768629"/>
              <a:gd name="connsiteY54" fmla="*/ 1032033 h 1978172"/>
              <a:gd name="connsiteX55" fmla="*/ 8203836 w 10768629"/>
              <a:gd name="connsiteY55" fmla="*/ 1037347 h 1978172"/>
              <a:gd name="connsiteX56" fmla="*/ 8122936 w 10768629"/>
              <a:gd name="connsiteY56" fmla="*/ 1063113 h 1978172"/>
              <a:gd name="connsiteX57" fmla="*/ 8043658 w 10768629"/>
              <a:gd name="connsiteY57" fmla="*/ 1092746 h 1978172"/>
              <a:gd name="connsiteX58" fmla="*/ 8015351 w 10768629"/>
              <a:gd name="connsiteY58" fmla="*/ 1105478 h 1978172"/>
              <a:gd name="connsiteX59" fmla="*/ 7963145 w 10768629"/>
              <a:gd name="connsiteY59" fmla="*/ 1119346 h 1978172"/>
              <a:gd name="connsiteX60" fmla="*/ 7938145 w 10768629"/>
              <a:gd name="connsiteY60" fmla="*/ 1120225 h 1978172"/>
              <a:gd name="connsiteX61" fmla="*/ 7937238 w 10768629"/>
              <a:gd name="connsiteY61" fmla="*/ 1121204 h 1978172"/>
              <a:gd name="connsiteX62" fmla="*/ 7934398 w 10768629"/>
              <a:gd name="connsiteY62" fmla="*/ 1118240 h 1978172"/>
              <a:gd name="connsiteX63" fmla="*/ 7918248 w 10768629"/>
              <a:gd name="connsiteY63" fmla="*/ 1124371 h 1978172"/>
              <a:gd name="connsiteX64" fmla="*/ 7914119 w 10768629"/>
              <a:gd name="connsiteY64" fmla="*/ 1127653 h 1978172"/>
              <a:gd name="connsiteX65" fmla="*/ 7907658 w 10768629"/>
              <a:gd name="connsiteY65" fmla="*/ 1130350 h 1978172"/>
              <a:gd name="connsiteX66" fmla="*/ 7907434 w 10768629"/>
              <a:gd name="connsiteY66" fmla="*/ 1130103 h 1978172"/>
              <a:gd name="connsiteX67" fmla="*/ 7901508 w 10768629"/>
              <a:gd name="connsiteY67" fmla="*/ 1133245 h 1978172"/>
              <a:gd name="connsiteX68" fmla="*/ 7873287 w 10768629"/>
              <a:gd name="connsiteY68" fmla="*/ 1152609 h 1978172"/>
              <a:gd name="connsiteX69" fmla="*/ 7834833 w 10768629"/>
              <a:gd name="connsiteY69" fmla="*/ 1153868 h 1978172"/>
              <a:gd name="connsiteX70" fmla="*/ 7828661 w 10768629"/>
              <a:gd name="connsiteY70" fmla="*/ 1139994 h 1978172"/>
              <a:gd name="connsiteX71" fmla="*/ 7823966 w 10768629"/>
              <a:gd name="connsiteY71" fmla="*/ 1143178 h 1978172"/>
              <a:gd name="connsiteX72" fmla="*/ 7815078 w 10768629"/>
              <a:gd name="connsiteY72" fmla="*/ 1151776 h 1978172"/>
              <a:gd name="connsiteX73" fmla="*/ 7812026 w 10768629"/>
              <a:gd name="connsiteY73" fmla="*/ 1151522 h 1978172"/>
              <a:gd name="connsiteX74" fmla="*/ 7782249 w 10768629"/>
              <a:gd name="connsiteY74" fmla="*/ 1160970 h 1978172"/>
              <a:gd name="connsiteX75" fmla="*/ 7773476 w 10768629"/>
              <a:gd name="connsiteY75" fmla="*/ 1157414 h 1978172"/>
              <a:gd name="connsiteX76" fmla="*/ 7769600 w 10768629"/>
              <a:gd name="connsiteY76" fmla="*/ 1157365 h 1978172"/>
              <a:gd name="connsiteX77" fmla="*/ 7752631 w 10768629"/>
              <a:gd name="connsiteY77" fmla="*/ 1172815 h 1978172"/>
              <a:gd name="connsiteX78" fmla="*/ 7743525 w 10768629"/>
              <a:gd name="connsiteY78" fmla="*/ 1179064 h 1978172"/>
              <a:gd name="connsiteX79" fmla="*/ 7685942 w 10768629"/>
              <a:gd name="connsiteY79" fmla="*/ 1233723 h 1978172"/>
              <a:gd name="connsiteX80" fmla="*/ 7586920 w 10768629"/>
              <a:gd name="connsiteY80" fmla="*/ 1261888 h 1978172"/>
              <a:gd name="connsiteX81" fmla="*/ 7486100 w 10768629"/>
              <a:gd name="connsiteY81" fmla="*/ 1292563 h 1978172"/>
              <a:gd name="connsiteX82" fmla="*/ 7407190 w 10768629"/>
              <a:gd name="connsiteY82" fmla="*/ 1314737 h 1978172"/>
              <a:gd name="connsiteX83" fmla="*/ 7240698 w 10768629"/>
              <a:gd name="connsiteY83" fmla="*/ 1438832 h 1978172"/>
              <a:gd name="connsiteX84" fmla="*/ 7197675 w 10768629"/>
              <a:gd name="connsiteY84" fmla="*/ 1447530 h 1978172"/>
              <a:gd name="connsiteX85" fmla="*/ 7164788 w 10768629"/>
              <a:gd name="connsiteY85" fmla="*/ 1480293 h 1978172"/>
              <a:gd name="connsiteX86" fmla="*/ 7147929 w 10768629"/>
              <a:gd name="connsiteY86" fmla="*/ 1477641 h 1978172"/>
              <a:gd name="connsiteX87" fmla="*/ 7144965 w 10768629"/>
              <a:gd name="connsiteY87" fmla="*/ 1476908 h 1978172"/>
              <a:gd name="connsiteX88" fmla="*/ 7134299 w 10768629"/>
              <a:gd name="connsiteY88" fmla="*/ 1479969 h 1978172"/>
              <a:gd name="connsiteX89" fmla="*/ 7129809 w 10768629"/>
              <a:gd name="connsiteY89" fmla="*/ 1473339 h 1978172"/>
              <a:gd name="connsiteX90" fmla="*/ 7112688 w 10768629"/>
              <a:gd name="connsiteY90" fmla="*/ 1472575 h 1978172"/>
              <a:gd name="connsiteX91" fmla="*/ 7093470 w 10768629"/>
              <a:gd name="connsiteY91" fmla="*/ 1480300 h 1978172"/>
              <a:gd name="connsiteX92" fmla="*/ 7025034 w 10768629"/>
              <a:gd name="connsiteY92" fmla="*/ 1506934 h 1978172"/>
              <a:gd name="connsiteX93" fmla="*/ 7014783 w 10768629"/>
              <a:gd name="connsiteY93" fmla="*/ 1515868 h 1978172"/>
              <a:gd name="connsiteX94" fmla="*/ 6979706 w 10768629"/>
              <a:gd name="connsiteY94" fmla="*/ 1523511 h 1978172"/>
              <a:gd name="connsiteX95" fmla="*/ 6977890 w 10768629"/>
              <a:gd name="connsiteY95" fmla="*/ 1525793 h 1978172"/>
              <a:gd name="connsiteX96" fmla="*/ 6944339 w 10768629"/>
              <a:gd name="connsiteY96" fmla="*/ 1536237 h 1978172"/>
              <a:gd name="connsiteX97" fmla="*/ 6886996 w 10768629"/>
              <a:gd name="connsiteY97" fmla="*/ 1563569 h 1978172"/>
              <a:gd name="connsiteX98" fmla="*/ 6874510 w 10768629"/>
              <a:gd name="connsiteY98" fmla="*/ 1558469 h 1978172"/>
              <a:gd name="connsiteX99" fmla="*/ 6871943 w 10768629"/>
              <a:gd name="connsiteY99" fmla="*/ 1554651 h 1978172"/>
              <a:gd name="connsiteX100" fmla="*/ 6856174 w 10768629"/>
              <a:gd name="connsiteY100" fmla="*/ 1562024 h 1978172"/>
              <a:gd name="connsiteX101" fmla="*/ 6842321 w 10768629"/>
              <a:gd name="connsiteY101" fmla="*/ 1560554 h 1978172"/>
              <a:gd name="connsiteX102" fmla="*/ 6832713 w 10768629"/>
              <a:gd name="connsiteY102" fmla="*/ 1569357 h 1978172"/>
              <a:gd name="connsiteX103" fmla="*/ 6816351 w 10768629"/>
              <a:gd name="connsiteY103" fmla="*/ 1571495 h 1978172"/>
              <a:gd name="connsiteX104" fmla="*/ 6795800 w 10768629"/>
              <a:gd name="connsiteY104" fmla="*/ 1572010 h 1978172"/>
              <a:gd name="connsiteX105" fmla="*/ 6777546 w 10768629"/>
              <a:gd name="connsiteY105" fmla="*/ 1568661 h 1978172"/>
              <a:gd name="connsiteX106" fmla="*/ 6751528 w 10768629"/>
              <a:gd name="connsiteY106" fmla="*/ 1574143 h 1978172"/>
              <a:gd name="connsiteX107" fmla="*/ 6691966 w 10768629"/>
              <a:gd name="connsiteY107" fmla="*/ 1582255 h 1978172"/>
              <a:gd name="connsiteX108" fmla="*/ 6646941 w 10768629"/>
              <a:gd name="connsiteY108" fmla="*/ 1588471 h 1978172"/>
              <a:gd name="connsiteX109" fmla="*/ 6568576 w 10768629"/>
              <a:gd name="connsiteY109" fmla="*/ 1606488 h 1978172"/>
              <a:gd name="connsiteX110" fmla="*/ 6554358 w 10768629"/>
              <a:gd name="connsiteY110" fmla="*/ 1621701 h 1978172"/>
              <a:gd name="connsiteX111" fmla="*/ 6516968 w 10768629"/>
              <a:gd name="connsiteY111" fmla="*/ 1617195 h 1978172"/>
              <a:gd name="connsiteX112" fmla="*/ 6506479 w 10768629"/>
              <a:gd name="connsiteY112" fmla="*/ 1602227 h 1978172"/>
              <a:gd name="connsiteX113" fmla="*/ 6458436 w 10768629"/>
              <a:gd name="connsiteY113" fmla="*/ 1607332 h 1978172"/>
              <a:gd name="connsiteX114" fmla="*/ 6414786 w 10768629"/>
              <a:gd name="connsiteY114" fmla="*/ 1628815 h 1978172"/>
              <a:gd name="connsiteX115" fmla="*/ 6357085 w 10768629"/>
              <a:gd name="connsiteY115" fmla="*/ 1640846 h 1978172"/>
              <a:gd name="connsiteX116" fmla="*/ 6322636 w 10768629"/>
              <a:gd name="connsiteY116" fmla="*/ 1648213 h 1978172"/>
              <a:gd name="connsiteX117" fmla="*/ 6226172 w 10768629"/>
              <a:gd name="connsiteY117" fmla="*/ 1654676 h 1978172"/>
              <a:gd name="connsiteX118" fmla="*/ 6221217 w 10768629"/>
              <a:gd name="connsiteY118" fmla="*/ 1654506 h 1978172"/>
              <a:gd name="connsiteX119" fmla="*/ 6204956 w 10768629"/>
              <a:gd name="connsiteY119" fmla="*/ 1664280 h 1978172"/>
              <a:gd name="connsiteX120" fmla="*/ 6204270 w 10768629"/>
              <a:gd name="connsiteY120" fmla="*/ 1666782 h 1978172"/>
              <a:gd name="connsiteX121" fmla="*/ 6143810 w 10768629"/>
              <a:gd name="connsiteY121" fmla="*/ 1661963 h 1978172"/>
              <a:gd name="connsiteX122" fmla="*/ 6136560 w 10768629"/>
              <a:gd name="connsiteY122" fmla="*/ 1665728 h 1978172"/>
              <a:gd name="connsiteX123" fmla="*/ 6096155 w 10768629"/>
              <a:gd name="connsiteY123" fmla="*/ 1656951 h 1978172"/>
              <a:gd name="connsiteX124" fmla="*/ 6075812 w 10768629"/>
              <a:gd name="connsiteY124" fmla="*/ 1655422 h 1978172"/>
              <a:gd name="connsiteX125" fmla="*/ 6039495 w 10768629"/>
              <a:gd name="connsiteY125" fmla="*/ 1649680 h 1978172"/>
              <a:gd name="connsiteX126" fmla="*/ 6036523 w 10768629"/>
              <a:gd name="connsiteY126" fmla="*/ 1652121 h 1978172"/>
              <a:gd name="connsiteX127" fmla="*/ 6029328 w 10768629"/>
              <a:gd name="connsiteY127" fmla="*/ 1649904 h 1978172"/>
              <a:gd name="connsiteX128" fmla="*/ 6024075 w 10768629"/>
              <a:gd name="connsiteY128" fmla="*/ 1652779 h 1978172"/>
              <a:gd name="connsiteX129" fmla="*/ 6018085 w 10768629"/>
              <a:gd name="connsiteY129" fmla="*/ 1652030 h 1978172"/>
              <a:gd name="connsiteX130" fmla="*/ 5955513 w 10768629"/>
              <a:gd name="connsiteY130" fmla="*/ 1663584 h 1978172"/>
              <a:gd name="connsiteX131" fmla="*/ 5941996 w 10768629"/>
              <a:gd name="connsiteY131" fmla="*/ 1661326 h 1978172"/>
              <a:gd name="connsiteX132" fmla="*/ 5931789 w 10768629"/>
              <a:gd name="connsiteY132" fmla="*/ 1669915 h 1978172"/>
              <a:gd name="connsiteX133" fmla="*/ 5888686 w 10768629"/>
              <a:gd name="connsiteY133" fmla="*/ 1672175 h 1978172"/>
              <a:gd name="connsiteX134" fmla="*/ 5873794 w 10768629"/>
              <a:gd name="connsiteY134" fmla="*/ 1665454 h 1978172"/>
              <a:gd name="connsiteX135" fmla="*/ 5860022 w 10768629"/>
              <a:gd name="connsiteY135" fmla="*/ 1660635 h 1978172"/>
              <a:gd name="connsiteX136" fmla="*/ 5858237 w 10768629"/>
              <a:gd name="connsiteY136" fmla="*/ 1660649 h 1978172"/>
              <a:gd name="connsiteX137" fmla="*/ 5840319 w 10768629"/>
              <a:gd name="connsiteY137" fmla="*/ 1660798 h 1978172"/>
              <a:gd name="connsiteX138" fmla="*/ 5806984 w 10768629"/>
              <a:gd name="connsiteY138" fmla="*/ 1661075 h 1978172"/>
              <a:gd name="connsiteX139" fmla="*/ 5742351 w 10768629"/>
              <a:gd name="connsiteY139" fmla="*/ 1667489 h 1978172"/>
              <a:gd name="connsiteX140" fmla="*/ 5521171 w 10768629"/>
              <a:gd name="connsiteY140" fmla="*/ 1671626 h 1978172"/>
              <a:gd name="connsiteX141" fmla="*/ 5457384 w 10768629"/>
              <a:gd name="connsiteY141" fmla="*/ 1683952 h 1978172"/>
              <a:gd name="connsiteX142" fmla="*/ 4950070 w 10768629"/>
              <a:gd name="connsiteY142" fmla="*/ 1748401 h 1978172"/>
              <a:gd name="connsiteX143" fmla="*/ 4872172 w 10768629"/>
              <a:gd name="connsiteY143" fmla="*/ 1757222 h 1978172"/>
              <a:gd name="connsiteX144" fmla="*/ 4809524 w 10768629"/>
              <a:gd name="connsiteY144" fmla="*/ 1761033 h 1978172"/>
              <a:gd name="connsiteX145" fmla="*/ 4759058 w 10768629"/>
              <a:gd name="connsiteY145" fmla="*/ 1766533 h 1978172"/>
              <a:gd name="connsiteX146" fmla="*/ 4719749 w 10768629"/>
              <a:gd name="connsiteY146" fmla="*/ 1771811 h 1978172"/>
              <a:gd name="connsiteX147" fmla="*/ 4568686 w 10768629"/>
              <a:gd name="connsiteY147" fmla="*/ 1786141 h 1978172"/>
              <a:gd name="connsiteX148" fmla="*/ 4418751 w 10768629"/>
              <a:gd name="connsiteY148" fmla="*/ 1796932 h 1978172"/>
              <a:gd name="connsiteX149" fmla="*/ 4378377 w 10768629"/>
              <a:gd name="connsiteY149" fmla="*/ 1815528 h 1978172"/>
              <a:gd name="connsiteX150" fmla="*/ 4320575 w 10768629"/>
              <a:gd name="connsiteY150" fmla="*/ 1832722 h 1978172"/>
              <a:gd name="connsiteX151" fmla="*/ 4220200 w 10768629"/>
              <a:gd name="connsiteY151" fmla="*/ 1873173 h 1978172"/>
              <a:gd name="connsiteX152" fmla="*/ 4105361 w 10768629"/>
              <a:gd name="connsiteY152" fmla="*/ 1894711 h 1978172"/>
              <a:gd name="connsiteX153" fmla="*/ 3973223 w 10768629"/>
              <a:gd name="connsiteY153" fmla="*/ 1881015 h 1978172"/>
              <a:gd name="connsiteX154" fmla="*/ 3900992 w 10768629"/>
              <a:gd name="connsiteY154" fmla="*/ 1880603 h 1978172"/>
              <a:gd name="connsiteX155" fmla="*/ 3662119 w 10768629"/>
              <a:gd name="connsiteY155" fmla="*/ 1876289 h 1978172"/>
              <a:gd name="connsiteX156" fmla="*/ 3496919 w 10768629"/>
              <a:gd name="connsiteY156" fmla="*/ 1873180 h 1978172"/>
              <a:gd name="connsiteX157" fmla="*/ 3449433 w 10768629"/>
              <a:gd name="connsiteY157" fmla="*/ 1889681 h 1978172"/>
              <a:gd name="connsiteX158" fmla="*/ 3369766 w 10768629"/>
              <a:gd name="connsiteY158" fmla="*/ 1916653 h 1978172"/>
              <a:gd name="connsiteX159" fmla="*/ 3290336 w 10768629"/>
              <a:gd name="connsiteY159" fmla="*/ 1925039 h 1978172"/>
              <a:gd name="connsiteX160" fmla="*/ 3224897 w 10768629"/>
              <a:gd name="connsiteY160" fmla="*/ 1943733 h 1978172"/>
              <a:gd name="connsiteX161" fmla="*/ 3161463 w 10768629"/>
              <a:gd name="connsiteY161" fmla="*/ 1946591 h 1978172"/>
              <a:gd name="connsiteX162" fmla="*/ 3157504 w 10768629"/>
              <a:gd name="connsiteY162" fmla="*/ 1957276 h 1978172"/>
              <a:gd name="connsiteX163" fmla="*/ 3115176 w 10768629"/>
              <a:gd name="connsiteY163" fmla="*/ 1943459 h 1978172"/>
              <a:gd name="connsiteX164" fmla="*/ 3038835 w 10768629"/>
              <a:gd name="connsiteY164" fmla="*/ 1920210 h 1978172"/>
              <a:gd name="connsiteX165" fmla="*/ 2897201 w 10768629"/>
              <a:gd name="connsiteY165" fmla="*/ 1926772 h 1978172"/>
              <a:gd name="connsiteX166" fmla="*/ 2783891 w 10768629"/>
              <a:gd name="connsiteY166" fmla="*/ 1931749 h 1978172"/>
              <a:gd name="connsiteX167" fmla="*/ 2712447 w 10768629"/>
              <a:gd name="connsiteY167" fmla="*/ 1933044 h 1978172"/>
              <a:gd name="connsiteX168" fmla="*/ 2560151 w 10768629"/>
              <a:gd name="connsiteY168" fmla="*/ 1963609 h 1978172"/>
              <a:gd name="connsiteX169" fmla="*/ 2367221 w 10768629"/>
              <a:gd name="connsiteY169" fmla="*/ 1971884 h 1978172"/>
              <a:gd name="connsiteX170" fmla="*/ 2272130 w 10768629"/>
              <a:gd name="connsiteY170" fmla="*/ 1961162 h 1978172"/>
              <a:gd name="connsiteX171" fmla="*/ 2189404 w 10768629"/>
              <a:gd name="connsiteY171" fmla="*/ 1978172 h 1978172"/>
              <a:gd name="connsiteX172" fmla="*/ 2077704 w 10768629"/>
              <a:gd name="connsiteY172" fmla="*/ 1965002 h 1978172"/>
              <a:gd name="connsiteX173" fmla="*/ 1967996 w 10768629"/>
              <a:gd name="connsiteY173" fmla="*/ 1953187 h 1978172"/>
              <a:gd name="connsiteX174" fmla="*/ 1855805 w 10768629"/>
              <a:gd name="connsiteY174" fmla="*/ 1926082 h 1978172"/>
              <a:gd name="connsiteX175" fmla="*/ 1790957 w 10768629"/>
              <a:gd name="connsiteY175" fmla="*/ 1919460 h 1978172"/>
              <a:gd name="connsiteX176" fmla="*/ 1613978 w 10768629"/>
              <a:gd name="connsiteY176" fmla="*/ 1891581 h 1978172"/>
              <a:gd name="connsiteX177" fmla="*/ 1436831 w 10768629"/>
              <a:gd name="connsiteY177" fmla="*/ 1856201 h 1978172"/>
              <a:gd name="connsiteX178" fmla="*/ 1332568 w 10768629"/>
              <a:gd name="connsiteY178" fmla="*/ 1793149 h 1978172"/>
              <a:gd name="connsiteX179" fmla="*/ 1186881 w 10768629"/>
              <a:gd name="connsiteY179" fmla="*/ 1768613 h 1978172"/>
              <a:gd name="connsiteX180" fmla="*/ 1162595 w 10768629"/>
              <a:gd name="connsiteY180" fmla="*/ 1758337 h 1978172"/>
              <a:gd name="connsiteX181" fmla="*/ 1128523 w 10768629"/>
              <a:gd name="connsiteY181" fmla="*/ 1763621 h 1978172"/>
              <a:gd name="connsiteX182" fmla="*/ 991903 w 10768629"/>
              <a:gd name="connsiteY182" fmla="*/ 1786741 h 1978172"/>
              <a:gd name="connsiteX183" fmla="*/ 883960 w 10768629"/>
              <a:gd name="connsiteY183" fmla="*/ 1822386 h 1978172"/>
              <a:gd name="connsiteX184" fmla="*/ 766531 w 10768629"/>
              <a:gd name="connsiteY184" fmla="*/ 1805053 h 1978172"/>
              <a:gd name="connsiteX185" fmla="*/ 669779 w 10768629"/>
              <a:gd name="connsiteY185" fmla="*/ 1800537 h 1978172"/>
              <a:gd name="connsiteX186" fmla="*/ 523898 w 10768629"/>
              <a:gd name="connsiteY186" fmla="*/ 1811085 h 1978172"/>
              <a:gd name="connsiteX187" fmla="*/ 360251 w 10768629"/>
              <a:gd name="connsiteY187" fmla="*/ 1830735 h 1978172"/>
              <a:gd name="connsiteX188" fmla="*/ 255207 w 10768629"/>
              <a:gd name="connsiteY188" fmla="*/ 1818275 h 1978172"/>
              <a:gd name="connsiteX189" fmla="*/ 101803 w 10768629"/>
              <a:gd name="connsiteY189" fmla="*/ 1870647 h 1978172"/>
              <a:gd name="connsiteX190" fmla="*/ 25397 w 10768629"/>
              <a:gd name="connsiteY190" fmla="*/ 1888443 h 1978172"/>
              <a:gd name="connsiteX191" fmla="*/ 2370 w 10768629"/>
              <a:gd name="connsiteY191" fmla="*/ 1878311 h 1978172"/>
              <a:gd name="connsiteX192" fmla="*/ 0 w 10768629"/>
              <a:gd name="connsiteY192" fmla="*/ 1878785 h 1978172"/>
              <a:gd name="connsiteX193" fmla="*/ 0 w 10768629"/>
              <a:gd name="connsiteY193" fmla="*/ 0 h 1978172"/>
              <a:gd name="connsiteX0" fmla="*/ 0 w 10768629"/>
              <a:gd name="connsiteY0" fmla="*/ 0 h 1978172"/>
              <a:gd name="connsiteX1" fmla="*/ 10768629 w 10768629"/>
              <a:gd name="connsiteY1" fmla="*/ 0 h 1978172"/>
              <a:gd name="connsiteX2" fmla="*/ 10733254 w 10768629"/>
              <a:gd name="connsiteY2" fmla="*/ 31439 h 1978172"/>
              <a:gd name="connsiteX3" fmla="*/ 10727085 w 10768629"/>
              <a:gd name="connsiteY3" fmla="*/ 37910 h 1978172"/>
              <a:gd name="connsiteX4" fmla="*/ 10675953 w 10768629"/>
              <a:gd name="connsiteY4" fmla="*/ 68623 h 1978172"/>
              <a:gd name="connsiteX5" fmla="*/ 10637091 w 10768629"/>
              <a:gd name="connsiteY5" fmla="*/ 90361 h 1978172"/>
              <a:gd name="connsiteX6" fmla="*/ 10610971 w 10768629"/>
              <a:gd name="connsiteY6" fmla="*/ 110764 h 1978172"/>
              <a:gd name="connsiteX7" fmla="*/ 10532872 w 10768629"/>
              <a:gd name="connsiteY7" fmla="*/ 138028 h 1978172"/>
              <a:gd name="connsiteX8" fmla="*/ 10398558 w 10768629"/>
              <a:gd name="connsiteY8" fmla="*/ 172911 h 1978172"/>
              <a:gd name="connsiteX9" fmla="*/ 10371128 w 10768629"/>
              <a:gd name="connsiteY9" fmla="*/ 182609 h 1978172"/>
              <a:gd name="connsiteX10" fmla="*/ 10352178 w 10768629"/>
              <a:gd name="connsiteY10" fmla="*/ 199976 h 1978172"/>
              <a:gd name="connsiteX11" fmla="*/ 10351815 w 10768629"/>
              <a:gd name="connsiteY11" fmla="*/ 211879 h 1978172"/>
              <a:gd name="connsiteX12" fmla="*/ 10337471 w 10768629"/>
              <a:gd name="connsiteY12" fmla="*/ 218661 h 1978172"/>
              <a:gd name="connsiteX13" fmla="*/ 10334625 w 10768629"/>
              <a:gd name="connsiteY13" fmla="*/ 222351 h 1978172"/>
              <a:gd name="connsiteX14" fmla="*/ 10256365 w 10768629"/>
              <a:gd name="connsiteY14" fmla="*/ 235917 h 1978172"/>
              <a:gd name="connsiteX15" fmla="*/ 10201127 w 10768629"/>
              <a:gd name="connsiteY15" fmla="*/ 267448 h 1978172"/>
              <a:gd name="connsiteX16" fmla="*/ 9961218 w 10768629"/>
              <a:gd name="connsiteY16" fmla="*/ 326720 h 1978172"/>
              <a:gd name="connsiteX17" fmla="*/ 9859715 w 10768629"/>
              <a:gd name="connsiteY17" fmla="*/ 355698 h 1978172"/>
              <a:gd name="connsiteX18" fmla="*/ 9679867 w 10768629"/>
              <a:gd name="connsiteY18" fmla="*/ 399081 h 1978172"/>
              <a:gd name="connsiteX19" fmla="*/ 9490654 w 10768629"/>
              <a:gd name="connsiteY19" fmla="*/ 455225 h 1978172"/>
              <a:gd name="connsiteX20" fmla="*/ 9470837 w 10768629"/>
              <a:gd name="connsiteY20" fmla="*/ 452539 h 1978172"/>
              <a:gd name="connsiteX21" fmla="*/ 9469082 w 10768629"/>
              <a:gd name="connsiteY21" fmla="*/ 454891 h 1978172"/>
              <a:gd name="connsiteX22" fmla="*/ 9448038 w 10768629"/>
              <a:gd name="connsiteY22" fmla="*/ 459733 h 1978172"/>
              <a:gd name="connsiteX23" fmla="*/ 9396821 w 10768629"/>
              <a:gd name="connsiteY23" fmla="*/ 455795 h 1978172"/>
              <a:gd name="connsiteX24" fmla="*/ 9392197 w 10768629"/>
              <a:gd name="connsiteY24" fmla="*/ 459796 h 1978172"/>
              <a:gd name="connsiteX25" fmla="*/ 9347994 w 10768629"/>
              <a:gd name="connsiteY25" fmla="*/ 464462 h 1978172"/>
              <a:gd name="connsiteX26" fmla="*/ 9347889 w 10768629"/>
              <a:gd name="connsiteY26" fmla="*/ 466539 h 1978172"/>
              <a:gd name="connsiteX27" fmla="*/ 9337639 w 10768629"/>
              <a:gd name="connsiteY27" fmla="*/ 476654 h 1978172"/>
              <a:gd name="connsiteX28" fmla="*/ 9316893 w 10768629"/>
              <a:gd name="connsiteY28" fmla="*/ 491390 h 1978172"/>
              <a:gd name="connsiteX29" fmla="*/ 9229283 w 10768629"/>
              <a:gd name="connsiteY29" fmla="*/ 555377 h 1978172"/>
              <a:gd name="connsiteX30" fmla="*/ 9220274 w 10768629"/>
              <a:gd name="connsiteY30" fmla="*/ 557502 h 1978172"/>
              <a:gd name="connsiteX31" fmla="*/ 9220202 w 10768629"/>
              <a:gd name="connsiteY31" fmla="*/ 558001 h 1978172"/>
              <a:gd name="connsiteX32" fmla="*/ 9210908 w 10768629"/>
              <a:gd name="connsiteY32" fmla="*/ 561147 h 1978172"/>
              <a:gd name="connsiteX33" fmla="*/ 9186374 w 10768629"/>
              <a:gd name="connsiteY33" fmla="*/ 565502 h 1978172"/>
              <a:gd name="connsiteX34" fmla="*/ 9181058 w 10768629"/>
              <a:gd name="connsiteY34" fmla="*/ 569943 h 1978172"/>
              <a:gd name="connsiteX35" fmla="*/ 9179948 w 10768629"/>
              <a:gd name="connsiteY35" fmla="*/ 576062 h 1978172"/>
              <a:gd name="connsiteX36" fmla="*/ 9149110 w 10768629"/>
              <a:gd name="connsiteY36" fmla="*/ 598906 h 1978172"/>
              <a:gd name="connsiteX37" fmla="*/ 9078556 w 10768629"/>
              <a:gd name="connsiteY37" fmla="*/ 644039 h 1978172"/>
              <a:gd name="connsiteX38" fmla="*/ 8996399 w 10768629"/>
              <a:gd name="connsiteY38" fmla="*/ 690055 h 1978172"/>
              <a:gd name="connsiteX39" fmla="*/ 8803791 w 10768629"/>
              <a:gd name="connsiteY39" fmla="*/ 813860 h 1978172"/>
              <a:gd name="connsiteX40" fmla="*/ 8636202 w 10768629"/>
              <a:gd name="connsiteY40" fmla="*/ 848463 h 1978172"/>
              <a:gd name="connsiteX41" fmla="*/ 8555372 w 10768629"/>
              <a:gd name="connsiteY41" fmla="*/ 883171 h 1978172"/>
              <a:gd name="connsiteX42" fmla="*/ 8507229 w 10768629"/>
              <a:gd name="connsiteY42" fmla="*/ 901665 h 1978172"/>
              <a:gd name="connsiteX43" fmla="*/ 8428473 w 10768629"/>
              <a:gd name="connsiteY43" fmla="*/ 927985 h 1978172"/>
              <a:gd name="connsiteX44" fmla="*/ 8427914 w 10768629"/>
              <a:gd name="connsiteY44" fmla="*/ 933480 h 1978172"/>
              <a:gd name="connsiteX45" fmla="*/ 8420327 w 10768629"/>
              <a:gd name="connsiteY45" fmla="*/ 941984 h 1978172"/>
              <a:gd name="connsiteX46" fmla="*/ 8407128 w 10768629"/>
              <a:gd name="connsiteY46" fmla="*/ 961344 h 1978172"/>
              <a:gd name="connsiteX47" fmla="*/ 8380548 w 10768629"/>
              <a:gd name="connsiteY47" fmla="*/ 987916 h 1978172"/>
              <a:gd name="connsiteX48" fmla="*/ 8379462 w 10768629"/>
              <a:gd name="connsiteY48" fmla="*/ 987106 h 1978172"/>
              <a:gd name="connsiteX49" fmla="*/ 8369725 w 10768629"/>
              <a:gd name="connsiteY49" fmla="*/ 989186 h 1978172"/>
              <a:gd name="connsiteX50" fmla="*/ 8304438 w 10768629"/>
              <a:gd name="connsiteY50" fmla="*/ 996739 h 1978172"/>
              <a:gd name="connsiteX51" fmla="*/ 8280929 w 10768629"/>
              <a:gd name="connsiteY51" fmla="*/ 1023089 h 1978172"/>
              <a:gd name="connsiteX52" fmla="*/ 8275760 w 10768629"/>
              <a:gd name="connsiteY52" fmla="*/ 1027772 h 1978172"/>
              <a:gd name="connsiteX53" fmla="*/ 8275478 w 10768629"/>
              <a:gd name="connsiteY53" fmla="*/ 1027605 h 1978172"/>
              <a:gd name="connsiteX54" fmla="*/ 8269666 w 10768629"/>
              <a:gd name="connsiteY54" fmla="*/ 1032033 h 1978172"/>
              <a:gd name="connsiteX55" fmla="*/ 8203836 w 10768629"/>
              <a:gd name="connsiteY55" fmla="*/ 1037347 h 1978172"/>
              <a:gd name="connsiteX56" fmla="*/ 8122936 w 10768629"/>
              <a:gd name="connsiteY56" fmla="*/ 1063113 h 1978172"/>
              <a:gd name="connsiteX57" fmla="*/ 8043658 w 10768629"/>
              <a:gd name="connsiteY57" fmla="*/ 1092746 h 1978172"/>
              <a:gd name="connsiteX58" fmla="*/ 8015351 w 10768629"/>
              <a:gd name="connsiteY58" fmla="*/ 1105478 h 1978172"/>
              <a:gd name="connsiteX59" fmla="*/ 7963145 w 10768629"/>
              <a:gd name="connsiteY59" fmla="*/ 1119346 h 1978172"/>
              <a:gd name="connsiteX60" fmla="*/ 7938145 w 10768629"/>
              <a:gd name="connsiteY60" fmla="*/ 1120225 h 1978172"/>
              <a:gd name="connsiteX61" fmla="*/ 7937238 w 10768629"/>
              <a:gd name="connsiteY61" fmla="*/ 1121204 h 1978172"/>
              <a:gd name="connsiteX62" fmla="*/ 7934398 w 10768629"/>
              <a:gd name="connsiteY62" fmla="*/ 1118240 h 1978172"/>
              <a:gd name="connsiteX63" fmla="*/ 7918248 w 10768629"/>
              <a:gd name="connsiteY63" fmla="*/ 1124371 h 1978172"/>
              <a:gd name="connsiteX64" fmla="*/ 7914119 w 10768629"/>
              <a:gd name="connsiteY64" fmla="*/ 1127653 h 1978172"/>
              <a:gd name="connsiteX65" fmla="*/ 7907658 w 10768629"/>
              <a:gd name="connsiteY65" fmla="*/ 1130350 h 1978172"/>
              <a:gd name="connsiteX66" fmla="*/ 7907434 w 10768629"/>
              <a:gd name="connsiteY66" fmla="*/ 1130103 h 1978172"/>
              <a:gd name="connsiteX67" fmla="*/ 7901508 w 10768629"/>
              <a:gd name="connsiteY67" fmla="*/ 1133245 h 1978172"/>
              <a:gd name="connsiteX68" fmla="*/ 7873287 w 10768629"/>
              <a:gd name="connsiteY68" fmla="*/ 1152609 h 1978172"/>
              <a:gd name="connsiteX69" fmla="*/ 7834833 w 10768629"/>
              <a:gd name="connsiteY69" fmla="*/ 1153868 h 1978172"/>
              <a:gd name="connsiteX70" fmla="*/ 7828661 w 10768629"/>
              <a:gd name="connsiteY70" fmla="*/ 1139994 h 1978172"/>
              <a:gd name="connsiteX71" fmla="*/ 7823966 w 10768629"/>
              <a:gd name="connsiteY71" fmla="*/ 1143178 h 1978172"/>
              <a:gd name="connsiteX72" fmla="*/ 7815078 w 10768629"/>
              <a:gd name="connsiteY72" fmla="*/ 1151776 h 1978172"/>
              <a:gd name="connsiteX73" fmla="*/ 7812026 w 10768629"/>
              <a:gd name="connsiteY73" fmla="*/ 1151522 h 1978172"/>
              <a:gd name="connsiteX74" fmla="*/ 7782249 w 10768629"/>
              <a:gd name="connsiteY74" fmla="*/ 1160970 h 1978172"/>
              <a:gd name="connsiteX75" fmla="*/ 7773476 w 10768629"/>
              <a:gd name="connsiteY75" fmla="*/ 1157414 h 1978172"/>
              <a:gd name="connsiteX76" fmla="*/ 7769600 w 10768629"/>
              <a:gd name="connsiteY76" fmla="*/ 1157365 h 1978172"/>
              <a:gd name="connsiteX77" fmla="*/ 7752631 w 10768629"/>
              <a:gd name="connsiteY77" fmla="*/ 1172815 h 1978172"/>
              <a:gd name="connsiteX78" fmla="*/ 7743525 w 10768629"/>
              <a:gd name="connsiteY78" fmla="*/ 1179064 h 1978172"/>
              <a:gd name="connsiteX79" fmla="*/ 7685942 w 10768629"/>
              <a:gd name="connsiteY79" fmla="*/ 1233723 h 1978172"/>
              <a:gd name="connsiteX80" fmla="*/ 7586920 w 10768629"/>
              <a:gd name="connsiteY80" fmla="*/ 1261888 h 1978172"/>
              <a:gd name="connsiteX81" fmla="*/ 7486100 w 10768629"/>
              <a:gd name="connsiteY81" fmla="*/ 1292563 h 1978172"/>
              <a:gd name="connsiteX82" fmla="*/ 7407190 w 10768629"/>
              <a:gd name="connsiteY82" fmla="*/ 1314737 h 1978172"/>
              <a:gd name="connsiteX83" fmla="*/ 7240698 w 10768629"/>
              <a:gd name="connsiteY83" fmla="*/ 1438832 h 1978172"/>
              <a:gd name="connsiteX84" fmla="*/ 7197675 w 10768629"/>
              <a:gd name="connsiteY84" fmla="*/ 1447530 h 1978172"/>
              <a:gd name="connsiteX85" fmla="*/ 7164788 w 10768629"/>
              <a:gd name="connsiteY85" fmla="*/ 1480293 h 1978172"/>
              <a:gd name="connsiteX86" fmla="*/ 7147929 w 10768629"/>
              <a:gd name="connsiteY86" fmla="*/ 1477641 h 1978172"/>
              <a:gd name="connsiteX87" fmla="*/ 7144965 w 10768629"/>
              <a:gd name="connsiteY87" fmla="*/ 1476908 h 1978172"/>
              <a:gd name="connsiteX88" fmla="*/ 7134299 w 10768629"/>
              <a:gd name="connsiteY88" fmla="*/ 1479969 h 1978172"/>
              <a:gd name="connsiteX89" fmla="*/ 7129809 w 10768629"/>
              <a:gd name="connsiteY89" fmla="*/ 1473339 h 1978172"/>
              <a:gd name="connsiteX90" fmla="*/ 7112688 w 10768629"/>
              <a:gd name="connsiteY90" fmla="*/ 1472575 h 1978172"/>
              <a:gd name="connsiteX91" fmla="*/ 7093470 w 10768629"/>
              <a:gd name="connsiteY91" fmla="*/ 1480300 h 1978172"/>
              <a:gd name="connsiteX92" fmla="*/ 7025034 w 10768629"/>
              <a:gd name="connsiteY92" fmla="*/ 1506934 h 1978172"/>
              <a:gd name="connsiteX93" fmla="*/ 7014783 w 10768629"/>
              <a:gd name="connsiteY93" fmla="*/ 1515868 h 1978172"/>
              <a:gd name="connsiteX94" fmla="*/ 6979706 w 10768629"/>
              <a:gd name="connsiteY94" fmla="*/ 1523511 h 1978172"/>
              <a:gd name="connsiteX95" fmla="*/ 6977890 w 10768629"/>
              <a:gd name="connsiteY95" fmla="*/ 1525793 h 1978172"/>
              <a:gd name="connsiteX96" fmla="*/ 6944339 w 10768629"/>
              <a:gd name="connsiteY96" fmla="*/ 1536237 h 1978172"/>
              <a:gd name="connsiteX97" fmla="*/ 6886996 w 10768629"/>
              <a:gd name="connsiteY97" fmla="*/ 1563569 h 1978172"/>
              <a:gd name="connsiteX98" fmla="*/ 6874510 w 10768629"/>
              <a:gd name="connsiteY98" fmla="*/ 1558469 h 1978172"/>
              <a:gd name="connsiteX99" fmla="*/ 6871943 w 10768629"/>
              <a:gd name="connsiteY99" fmla="*/ 1554651 h 1978172"/>
              <a:gd name="connsiteX100" fmla="*/ 6856174 w 10768629"/>
              <a:gd name="connsiteY100" fmla="*/ 1562024 h 1978172"/>
              <a:gd name="connsiteX101" fmla="*/ 6842321 w 10768629"/>
              <a:gd name="connsiteY101" fmla="*/ 1560554 h 1978172"/>
              <a:gd name="connsiteX102" fmla="*/ 6832713 w 10768629"/>
              <a:gd name="connsiteY102" fmla="*/ 1569357 h 1978172"/>
              <a:gd name="connsiteX103" fmla="*/ 6816351 w 10768629"/>
              <a:gd name="connsiteY103" fmla="*/ 1571495 h 1978172"/>
              <a:gd name="connsiteX104" fmla="*/ 6795800 w 10768629"/>
              <a:gd name="connsiteY104" fmla="*/ 1572010 h 1978172"/>
              <a:gd name="connsiteX105" fmla="*/ 6777546 w 10768629"/>
              <a:gd name="connsiteY105" fmla="*/ 1568661 h 1978172"/>
              <a:gd name="connsiteX106" fmla="*/ 6751528 w 10768629"/>
              <a:gd name="connsiteY106" fmla="*/ 1574143 h 1978172"/>
              <a:gd name="connsiteX107" fmla="*/ 6691966 w 10768629"/>
              <a:gd name="connsiteY107" fmla="*/ 1582255 h 1978172"/>
              <a:gd name="connsiteX108" fmla="*/ 6646941 w 10768629"/>
              <a:gd name="connsiteY108" fmla="*/ 1588471 h 1978172"/>
              <a:gd name="connsiteX109" fmla="*/ 6568576 w 10768629"/>
              <a:gd name="connsiteY109" fmla="*/ 1606488 h 1978172"/>
              <a:gd name="connsiteX110" fmla="*/ 6554358 w 10768629"/>
              <a:gd name="connsiteY110" fmla="*/ 1621701 h 1978172"/>
              <a:gd name="connsiteX111" fmla="*/ 6516968 w 10768629"/>
              <a:gd name="connsiteY111" fmla="*/ 1617195 h 1978172"/>
              <a:gd name="connsiteX112" fmla="*/ 6506479 w 10768629"/>
              <a:gd name="connsiteY112" fmla="*/ 1602227 h 1978172"/>
              <a:gd name="connsiteX113" fmla="*/ 6458436 w 10768629"/>
              <a:gd name="connsiteY113" fmla="*/ 1607332 h 1978172"/>
              <a:gd name="connsiteX114" fmla="*/ 6414786 w 10768629"/>
              <a:gd name="connsiteY114" fmla="*/ 1628815 h 1978172"/>
              <a:gd name="connsiteX115" fmla="*/ 6357085 w 10768629"/>
              <a:gd name="connsiteY115" fmla="*/ 1640846 h 1978172"/>
              <a:gd name="connsiteX116" fmla="*/ 6322636 w 10768629"/>
              <a:gd name="connsiteY116" fmla="*/ 1648213 h 1978172"/>
              <a:gd name="connsiteX117" fmla="*/ 6226172 w 10768629"/>
              <a:gd name="connsiteY117" fmla="*/ 1654676 h 1978172"/>
              <a:gd name="connsiteX118" fmla="*/ 6221217 w 10768629"/>
              <a:gd name="connsiteY118" fmla="*/ 1654506 h 1978172"/>
              <a:gd name="connsiteX119" fmla="*/ 6204956 w 10768629"/>
              <a:gd name="connsiteY119" fmla="*/ 1664280 h 1978172"/>
              <a:gd name="connsiteX120" fmla="*/ 6204270 w 10768629"/>
              <a:gd name="connsiteY120" fmla="*/ 1666782 h 1978172"/>
              <a:gd name="connsiteX121" fmla="*/ 6143810 w 10768629"/>
              <a:gd name="connsiteY121" fmla="*/ 1661963 h 1978172"/>
              <a:gd name="connsiteX122" fmla="*/ 6136560 w 10768629"/>
              <a:gd name="connsiteY122" fmla="*/ 1665728 h 1978172"/>
              <a:gd name="connsiteX123" fmla="*/ 6096155 w 10768629"/>
              <a:gd name="connsiteY123" fmla="*/ 1656951 h 1978172"/>
              <a:gd name="connsiteX124" fmla="*/ 6075812 w 10768629"/>
              <a:gd name="connsiteY124" fmla="*/ 1655422 h 1978172"/>
              <a:gd name="connsiteX125" fmla="*/ 6039495 w 10768629"/>
              <a:gd name="connsiteY125" fmla="*/ 1649680 h 1978172"/>
              <a:gd name="connsiteX126" fmla="*/ 6036523 w 10768629"/>
              <a:gd name="connsiteY126" fmla="*/ 1652121 h 1978172"/>
              <a:gd name="connsiteX127" fmla="*/ 6029328 w 10768629"/>
              <a:gd name="connsiteY127" fmla="*/ 1649904 h 1978172"/>
              <a:gd name="connsiteX128" fmla="*/ 6024075 w 10768629"/>
              <a:gd name="connsiteY128" fmla="*/ 1652779 h 1978172"/>
              <a:gd name="connsiteX129" fmla="*/ 6018085 w 10768629"/>
              <a:gd name="connsiteY129" fmla="*/ 1652030 h 1978172"/>
              <a:gd name="connsiteX130" fmla="*/ 5955513 w 10768629"/>
              <a:gd name="connsiteY130" fmla="*/ 1663584 h 1978172"/>
              <a:gd name="connsiteX131" fmla="*/ 5941996 w 10768629"/>
              <a:gd name="connsiteY131" fmla="*/ 1661326 h 1978172"/>
              <a:gd name="connsiteX132" fmla="*/ 5931789 w 10768629"/>
              <a:gd name="connsiteY132" fmla="*/ 1669915 h 1978172"/>
              <a:gd name="connsiteX133" fmla="*/ 5888686 w 10768629"/>
              <a:gd name="connsiteY133" fmla="*/ 1672175 h 1978172"/>
              <a:gd name="connsiteX134" fmla="*/ 5873794 w 10768629"/>
              <a:gd name="connsiteY134" fmla="*/ 1665454 h 1978172"/>
              <a:gd name="connsiteX135" fmla="*/ 5860022 w 10768629"/>
              <a:gd name="connsiteY135" fmla="*/ 1660635 h 1978172"/>
              <a:gd name="connsiteX136" fmla="*/ 5858237 w 10768629"/>
              <a:gd name="connsiteY136" fmla="*/ 1660649 h 1978172"/>
              <a:gd name="connsiteX137" fmla="*/ 5840319 w 10768629"/>
              <a:gd name="connsiteY137" fmla="*/ 1660798 h 1978172"/>
              <a:gd name="connsiteX138" fmla="*/ 5806984 w 10768629"/>
              <a:gd name="connsiteY138" fmla="*/ 1661075 h 1978172"/>
              <a:gd name="connsiteX139" fmla="*/ 5742351 w 10768629"/>
              <a:gd name="connsiteY139" fmla="*/ 1667489 h 1978172"/>
              <a:gd name="connsiteX140" fmla="*/ 5521171 w 10768629"/>
              <a:gd name="connsiteY140" fmla="*/ 1671626 h 1978172"/>
              <a:gd name="connsiteX141" fmla="*/ 5457384 w 10768629"/>
              <a:gd name="connsiteY141" fmla="*/ 1683952 h 1978172"/>
              <a:gd name="connsiteX142" fmla="*/ 4950070 w 10768629"/>
              <a:gd name="connsiteY142" fmla="*/ 1748401 h 1978172"/>
              <a:gd name="connsiteX143" fmla="*/ 4872172 w 10768629"/>
              <a:gd name="connsiteY143" fmla="*/ 1757222 h 1978172"/>
              <a:gd name="connsiteX144" fmla="*/ 4809524 w 10768629"/>
              <a:gd name="connsiteY144" fmla="*/ 1761033 h 1978172"/>
              <a:gd name="connsiteX145" fmla="*/ 4759058 w 10768629"/>
              <a:gd name="connsiteY145" fmla="*/ 1766533 h 1978172"/>
              <a:gd name="connsiteX146" fmla="*/ 4719749 w 10768629"/>
              <a:gd name="connsiteY146" fmla="*/ 1771811 h 1978172"/>
              <a:gd name="connsiteX147" fmla="*/ 4568686 w 10768629"/>
              <a:gd name="connsiteY147" fmla="*/ 1786141 h 1978172"/>
              <a:gd name="connsiteX148" fmla="*/ 4418751 w 10768629"/>
              <a:gd name="connsiteY148" fmla="*/ 1796932 h 1978172"/>
              <a:gd name="connsiteX149" fmla="*/ 4378377 w 10768629"/>
              <a:gd name="connsiteY149" fmla="*/ 1815528 h 1978172"/>
              <a:gd name="connsiteX150" fmla="*/ 4320575 w 10768629"/>
              <a:gd name="connsiteY150" fmla="*/ 1832722 h 1978172"/>
              <a:gd name="connsiteX151" fmla="*/ 4220200 w 10768629"/>
              <a:gd name="connsiteY151" fmla="*/ 1873173 h 1978172"/>
              <a:gd name="connsiteX152" fmla="*/ 4105361 w 10768629"/>
              <a:gd name="connsiteY152" fmla="*/ 1894711 h 1978172"/>
              <a:gd name="connsiteX153" fmla="*/ 3973223 w 10768629"/>
              <a:gd name="connsiteY153" fmla="*/ 1881015 h 1978172"/>
              <a:gd name="connsiteX154" fmla="*/ 3900992 w 10768629"/>
              <a:gd name="connsiteY154" fmla="*/ 1880603 h 1978172"/>
              <a:gd name="connsiteX155" fmla="*/ 3662119 w 10768629"/>
              <a:gd name="connsiteY155" fmla="*/ 1876289 h 1978172"/>
              <a:gd name="connsiteX156" fmla="*/ 3496919 w 10768629"/>
              <a:gd name="connsiteY156" fmla="*/ 1873180 h 1978172"/>
              <a:gd name="connsiteX157" fmla="*/ 3449433 w 10768629"/>
              <a:gd name="connsiteY157" fmla="*/ 1889681 h 1978172"/>
              <a:gd name="connsiteX158" fmla="*/ 3369766 w 10768629"/>
              <a:gd name="connsiteY158" fmla="*/ 1916653 h 1978172"/>
              <a:gd name="connsiteX159" fmla="*/ 3290336 w 10768629"/>
              <a:gd name="connsiteY159" fmla="*/ 1925039 h 1978172"/>
              <a:gd name="connsiteX160" fmla="*/ 3224897 w 10768629"/>
              <a:gd name="connsiteY160" fmla="*/ 1943733 h 1978172"/>
              <a:gd name="connsiteX161" fmla="*/ 3161463 w 10768629"/>
              <a:gd name="connsiteY161" fmla="*/ 1946591 h 1978172"/>
              <a:gd name="connsiteX162" fmla="*/ 3157504 w 10768629"/>
              <a:gd name="connsiteY162" fmla="*/ 1957276 h 1978172"/>
              <a:gd name="connsiteX163" fmla="*/ 3115176 w 10768629"/>
              <a:gd name="connsiteY163" fmla="*/ 1943459 h 1978172"/>
              <a:gd name="connsiteX164" fmla="*/ 3005773 w 10768629"/>
              <a:gd name="connsiteY164" fmla="*/ 1915878 h 1978172"/>
              <a:gd name="connsiteX165" fmla="*/ 2897201 w 10768629"/>
              <a:gd name="connsiteY165" fmla="*/ 1926772 h 1978172"/>
              <a:gd name="connsiteX166" fmla="*/ 2783891 w 10768629"/>
              <a:gd name="connsiteY166" fmla="*/ 1931749 h 1978172"/>
              <a:gd name="connsiteX167" fmla="*/ 2712447 w 10768629"/>
              <a:gd name="connsiteY167" fmla="*/ 1933044 h 1978172"/>
              <a:gd name="connsiteX168" fmla="*/ 2560151 w 10768629"/>
              <a:gd name="connsiteY168" fmla="*/ 1963609 h 1978172"/>
              <a:gd name="connsiteX169" fmla="*/ 2367221 w 10768629"/>
              <a:gd name="connsiteY169" fmla="*/ 1971884 h 1978172"/>
              <a:gd name="connsiteX170" fmla="*/ 2272130 w 10768629"/>
              <a:gd name="connsiteY170" fmla="*/ 1961162 h 1978172"/>
              <a:gd name="connsiteX171" fmla="*/ 2189404 w 10768629"/>
              <a:gd name="connsiteY171" fmla="*/ 1978172 h 1978172"/>
              <a:gd name="connsiteX172" fmla="*/ 2077704 w 10768629"/>
              <a:gd name="connsiteY172" fmla="*/ 1965002 h 1978172"/>
              <a:gd name="connsiteX173" fmla="*/ 1967996 w 10768629"/>
              <a:gd name="connsiteY173" fmla="*/ 1953187 h 1978172"/>
              <a:gd name="connsiteX174" fmla="*/ 1855805 w 10768629"/>
              <a:gd name="connsiteY174" fmla="*/ 1926082 h 1978172"/>
              <a:gd name="connsiteX175" fmla="*/ 1790957 w 10768629"/>
              <a:gd name="connsiteY175" fmla="*/ 1919460 h 1978172"/>
              <a:gd name="connsiteX176" fmla="*/ 1613978 w 10768629"/>
              <a:gd name="connsiteY176" fmla="*/ 1891581 h 1978172"/>
              <a:gd name="connsiteX177" fmla="*/ 1436831 w 10768629"/>
              <a:gd name="connsiteY177" fmla="*/ 1856201 h 1978172"/>
              <a:gd name="connsiteX178" fmla="*/ 1332568 w 10768629"/>
              <a:gd name="connsiteY178" fmla="*/ 1793149 h 1978172"/>
              <a:gd name="connsiteX179" fmla="*/ 1186881 w 10768629"/>
              <a:gd name="connsiteY179" fmla="*/ 1768613 h 1978172"/>
              <a:gd name="connsiteX180" fmla="*/ 1162595 w 10768629"/>
              <a:gd name="connsiteY180" fmla="*/ 1758337 h 1978172"/>
              <a:gd name="connsiteX181" fmla="*/ 1128523 w 10768629"/>
              <a:gd name="connsiteY181" fmla="*/ 1763621 h 1978172"/>
              <a:gd name="connsiteX182" fmla="*/ 991903 w 10768629"/>
              <a:gd name="connsiteY182" fmla="*/ 1786741 h 1978172"/>
              <a:gd name="connsiteX183" fmla="*/ 883960 w 10768629"/>
              <a:gd name="connsiteY183" fmla="*/ 1822386 h 1978172"/>
              <a:gd name="connsiteX184" fmla="*/ 766531 w 10768629"/>
              <a:gd name="connsiteY184" fmla="*/ 1805053 h 1978172"/>
              <a:gd name="connsiteX185" fmla="*/ 669779 w 10768629"/>
              <a:gd name="connsiteY185" fmla="*/ 1800537 h 1978172"/>
              <a:gd name="connsiteX186" fmla="*/ 523898 w 10768629"/>
              <a:gd name="connsiteY186" fmla="*/ 1811085 h 1978172"/>
              <a:gd name="connsiteX187" fmla="*/ 360251 w 10768629"/>
              <a:gd name="connsiteY187" fmla="*/ 1830735 h 1978172"/>
              <a:gd name="connsiteX188" fmla="*/ 255207 w 10768629"/>
              <a:gd name="connsiteY188" fmla="*/ 1818275 h 1978172"/>
              <a:gd name="connsiteX189" fmla="*/ 101803 w 10768629"/>
              <a:gd name="connsiteY189" fmla="*/ 1870647 h 1978172"/>
              <a:gd name="connsiteX190" fmla="*/ 25397 w 10768629"/>
              <a:gd name="connsiteY190" fmla="*/ 1888443 h 1978172"/>
              <a:gd name="connsiteX191" fmla="*/ 2370 w 10768629"/>
              <a:gd name="connsiteY191" fmla="*/ 1878311 h 1978172"/>
              <a:gd name="connsiteX192" fmla="*/ 0 w 10768629"/>
              <a:gd name="connsiteY192" fmla="*/ 1878785 h 1978172"/>
              <a:gd name="connsiteX193" fmla="*/ 0 w 10768629"/>
              <a:gd name="connsiteY193" fmla="*/ 0 h 1978172"/>
              <a:gd name="connsiteX0" fmla="*/ 0 w 10768629"/>
              <a:gd name="connsiteY0" fmla="*/ 0 h 1978172"/>
              <a:gd name="connsiteX1" fmla="*/ 10768629 w 10768629"/>
              <a:gd name="connsiteY1" fmla="*/ 0 h 1978172"/>
              <a:gd name="connsiteX2" fmla="*/ 10733254 w 10768629"/>
              <a:gd name="connsiteY2" fmla="*/ 31439 h 1978172"/>
              <a:gd name="connsiteX3" fmla="*/ 10727085 w 10768629"/>
              <a:gd name="connsiteY3" fmla="*/ 37910 h 1978172"/>
              <a:gd name="connsiteX4" fmla="*/ 10675953 w 10768629"/>
              <a:gd name="connsiteY4" fmla="*/ 68623 h 1978172"/>
              <a:gd name="connsiteX5" fmla="*/ 10637091 w 10768629"/>
              <a:gd name="connsiteY5" fmla="*/ 90361 h 1978172"/>
              <a:gd name="connsiteX6" fmla="*/ 10610971 w 10768629"/>
              <a:gd name="connsiteY6" fmla="*/ 110764 h 1978172"/>
              <a:gd name="connsiteX7" fmla="*/ 10532872 w 10768629"/>
              <a:gd name="connsiteY7" fmla="*/ 138028 h 1978172"/>
              <a:gd name="connsiteX8" fmla="*/ 10398558 w 10768629"/>
              <a:gd name="connsiteY8" fmla="*/ 172911 h 1978172"/>
              <a:gd name="connsiteX9" fmla="*/ 10371128 w 10768629"/>
              <a:gd name="connsiteY9" fmla="*/ 182609 h 1978172"/>
              <a:gd name="connsiteX10" fmla="*/ 10352178 w 10768629"/>
              <a:gd name="connsiteY10" fmla="*/ 199976 h 1978172"/>
              <a:gd name="connsiteX11" fmla="*/ 10351815 w 10768629"/>
              <a:gd name="connsiteY11" fmla="*/ 211879 h 1978172"/>
              <a:gd name="connsiteX12" fmla="*/ 10337471 w 10768629"/>
              <a:gd name="connsiteY12" fmla="*/ 218661 h 1978172"/>
              <a:gd name="connsiteX13" fmla="*/ 10334625 w 10768629"/>
              <a:gd name="connsiteY13" fmla="*/ 222351 h 1978172"/>
              <a:gd name="connsiteX14" fmla="*/ 10256365 w 10768629"/>
              <a:gd name="connsiteY14" fmla="*/ 235917 h 1978172"/>
              <a:gd name="connsiteX15" fmla="*/ 10201127 w 10768629"/>
              <a:gd name="connsiteY15" fmla="*/ 267448 h 1978172"/>
              <a:gd name="connsiteX16" fmla="*/ 9961218 w 10768629"/>
              <a:gd name="connsiteY16" fmla="*/ 326720 h 1978172"/>
              <a:gd name="connsiteX17" fmla="*/ 9859715 w 10768629"/>
              <a:gd name="connsiteY17" fmla="*/ 355698 h 1978172"/>
              <a:gd name="connsiteX18" fmla="*/ 9679867 w 10768629"/>
              <a:gd name="connsiteY18" fmla="*/ 399081 h 1978172"/>
              <a:gd name="connsiteX19" fmla="*/ 9490654 w 10768629"/>
              <a:gd name="connsiteY19" fmla="*/ 455225 h 1978172"/>
              <a:gd name="connsiteX20" fmla="*/ 9470837 w 10768629"/>
              <a:gd name="connsiteY20" fmla="*/ 452539 h 1978172"/>
              <a:gd name="connsiteX21" fmla="*/ 9469082 w 10768629"/>
              <a:gd name="connsiteY21" fmla="*/ 454891 h 1978172"/>
              <a:gd name="connsiteX22" fmla="*/ 9448038 w 10768629"/>
              <a:gd name="connsiteY22" fmla="*/ 459733 h 1978172"/>
              <a:gd name="connsiteX23" fmla="*/ 9396821 w 10768629"/>
              <a:gd name="connsiteY23" fmla="*/ 455795 h 1978172"/>
              <a:gd name="connsiteX24" fmla="*/ 9392197 w 10768629"/>
              <a:gd name="connsiteY24" fmla="*/ 459796 h 1978172"/>
              <a:gd name="connsiteX25" fmla="*/ 9347994 w 10768629"/>
              <a:gd name="connsiteY25" fmla="*/ 464462 h 1978172"/>
              <a:gd name="connsiteX26" fmla="*/ 9347889 w 10768629"/>
              <a:gd name="connsiteY26" fmla="*/ 466539 h 1978172"/>
              <a:gd name="connsiteX27" fmla="*/ 9337639 w 10768629"/>
              <a:gd name="connsiteY27" fmla="*/ 476654 h 1978172"/>
              <a:gd name="connsiteX28" fmla="*/ 9316893 w 10768629"/>
              <a:gd name="connsiteY28" fmla="*/ 491390 h 1978172"/>
              <a:gd name="connsiteX29" fmla="*/ 9229283 w 10768629"/>
              <a:gd name="connsiteY29" fmla="*/ 555377 h 1978172"/>
              <a:gd name="connsiteX30" fmla="*/ 9220274 w 10768629"/>
              <a:gd name="connsiteY30" fmla="*/ 557502 h 1978172"/>
              <a:gd name="connsiteX31" fmla="*/ 9220202 w 10768629"/>
              <a:gd name="connsiteY31" fmla="*/ 558001 h 1978172"/>
              <a:gd name="connsiteX32" fmla="*/ 9210908 w 10768629"/>
              <a:gd name="connsiteY32" fmla="*/ 561147 h 1978172"/>
              <a:gd name="connsiteX33" fmla="*/ 9186374 w 10768629"/>
              <a:gd name="connsiteY33" fmla="*/ 565502 h 1978172"/>
              <a:gd name="connsiteX34" fmla="*/ 9181058 w 10768629"/>
              <a:gd name="connsiteY34" fmla="*/ 569943 h 1978172"/>
              <a:gd name="connsiteX35" fmla="*/ 9179948 w 10768629"/>
              <a:gd name="connsiteY35" fmla="*/ 576062 h 1978172"/>
              <a:gd name="connsiteX36" fmla="*/ 9149110 w 10768629"/>
              <a:gd name="connsiteY36" fmla="*/ 598906 h 1978172"/>
              <a:gd name="connsiteX37" fmla="*/ 9078556 w 10768629"/>
              <a:gd name="connsiteY37" fmla="*/ 644039 h 1978172"/>
              <a:gd name="connsiteX38" fmla="*/ 8996399 w 10768629"/>
              <a:gd name="connsiteY38" fmla="*/ 690055 h 1978172"/>
              <a:gd name="connsiteX39" fmla="*/ 8803791 w 10768629"/>
              <a:gd name="connsiteY39" fmla="*/ 813860 h 1978172"/>
              <a:gd name="connsiteX40" fmla="*/ 8636202 w 10768629"/>
              <a:gd name="connsiteY40" fmla="*/ 848463 h 1978172"/>
              <a:gd name="connsiteX41" fmla="*/ 8555372 w 10768629"/>
              <a:gd name="connsiteY41" fmla="*/ 883171 h 1978172"/>
              <a:gd name="connsiteX42" fmla="*/ 8507229 w 10768629"/>
              <a:gd name="connsiteY42" fmla="*/ 901665 h 1978172"/>
              <a:gd name="connsiteX43" fmla="*/ 8428473 w 10768629"/>
              <a:gd name="connsiteY43" fmla="*/ 927985 h 1978172"/>
              <a:gd name="connsiteX44" fmla="*/ 8427914 w 10768629"/>
              <a:gd name="connsiteY44" fmla="*/ 933480 h 1978172"/>
              <a:gd name="connsiteX45" fmla="*/ 8420327 w 10768629"/>
              <a:gd name="connsiteY45" fmla="*/ 941984 h 1978172"/>
              <a:gd name="connsiteX46" fmla="*/ 8407128 w 10768629"/>
              <a:gd name="connsiteY46" fmla="*/ 961344 h 1978172"/>
              <a:gd name="connsiteX47" fmla="*/ 8380548 w 10768629"/>
              <a:gd name="connsiteY47" fmla="*/ 987916 h 1978172"/>
              <a:gd name="connsiteX48" fmla="*/ 8379462 w 10768629"/>
              <a:gd name="connsiteY48" fmla="*/ 987106 h 1978172"/>
              <a:gd name="connsiteX49" fmla="*/ 8369725 w 10768629"/>
              <a:gd name="connsiteY49" fmla="*/ 989186 h 1978172"/>
              <a:gd name="connsiteX50" fmla="*/ 8304438 w 10768629"/>
              <a:gd name="connsiteY50" fmla="*/ 996739 h 1978172"/>
              <a:gd name="connsiteX51" fmla="*/ 8280929 w 10768629"/>
              <a:gd name="connsiteY51" fmla="*/ 1023089 h 1978172"/>
              <a:gd name="connsiteX52" fmla="*/ 8275760 w 10768629"/>
              <a:gd name="connsiteY52" fmla="*/ 1027772 h 1978172"/>
              <a:gd name="connsiteX53" fmla="*/ 8275478 w 10768629"/>
              <a:gd name="connsiteY53" fmla="*/ 1027605 h 1978172"/>
              <a:gd name="connsiteX54" fmla="*/ 8269666 w 10768629"/>
              <a:gd name="connsiteY54" fmla="*/ 1032033 h 1978172"/>
              <a:gd name="connsiteX55" fmla="*/ 8203836 w 10768629"/>
              <a:gd name="connsiteY55" fmla="*/ 1037347 h 1978172"/>
              <a:gd name="connsiteX56" fmla="*/ 8122936 w 10768629"/>
              <a:gd name="connsiteY56" fmla="*/ 1063113 h 1978172"/>
              <a:gd name="connsiteX57" fmla="*/ 8043658 w 10768629"/>
              <a:gd name="connsiteY57" fmla="*/ 1092746 h 1978172"/>
              <a:gd name="connsiteX58" fmla="*/ 8015351 w 10768629"/>
              <a:gd name="connsiteY58" fmla="*/ 1105478 h 1978172"/>
              <a:gd name="connsiteX59" fmla="*/ 7963145 w 10768629"/>
              <a:gd name="connsiteY59" fmla="*/ 1119346 h 1978172"/>
              <a:gd name="connsiteX60" fmla="*/ 7938145 w 10768629"/>
              <a:gd name="connsiteY60" fmla="*/ 1120225 h 1978172"/>
              <a:gd name="connsiteX61" fmla="*/ 7937238 w 10768629"/>
              <a:gd name="connsiteY61" fmla="*/ 1121204 h 1978172"/>
              <a:gd name="connsiteX62" fmla="*/ 7934398 w 10768629"/>
              <a:gd name="connsiteY62" fmla="*/ 1118240 h 1978172"/>
              <a:gd name="connsiteX63" fmla="*/ 7918248 w 10768629"/>
              <a:gd name="connsiteY63" fmla="*/ 1124371 h 1978172"/>
              <a:gd name="connsiteX64" fmla="*/ 7914119 w 10768629"/>
              <a:gd name="connsiteY64" fmla="*/ 1127653 h 1978172"/>
              <a:gd name="connsiteX65" fmla="*/ 7907658 w 10768629"/>
              <a:gd name="connsiteY65" fmla="*/ 1130350 h 1978172"/>
              <a:gd name="connsiteX66" fmla="*/ 7907434 w 10768629"/>
              <a:gd name="connsiteY66" fmla="*/ 1130103 h 1978172"/>
              <a:gd name="connsiteX67" fmla="*/ 7901508 w 10768629"/>
              <a:gd name="connsiteY67" fmla="*/ 1133245 h 1978172"/>
              <a:gd name="connsiteX68" fmla="*/ 7873287 w 10768629"/>
              <a:gd name="connsiteY68" fmla="*/ 1152609 h 1978172"/>
              <a:gd name="connsiteX69" fmla="*/ 7834833 w 10768629"/>
              <a:gd name="connsiteY69" fmla="*/ 1153868 h 1978172"/>
              <a:gd name="connsiteX70" fmla="*/ 7828661 w 10768629"/>
              <a:gd name="connsiteY70" fmla="*/ 1139994 h 1978172"/>
              <a:gd name="connsiteX71" fmla="*/ 7823966 w 10768629"/>
              <a:gd name="connsiteY71" fmla="*/ 1143178 h 1978172"/>
              <a:gd name="connsiteX72" fmla="*/ 7815078 w 10768629"/>
              <a:gd name="connsiteY72" fmla="*/ 1151776 h 1978172"/>
              <a:gd name="connsiteX73" fmla="*/ 7812026 w 10768629"/>
              <a:gd name="connsiteY73" fmla="*/ 1151522 h 1978172"/>
              <a:gd name="connsiteX74" fmla="*/ 7782249 w 10768629"/>
              <a:gd name="connsiteY74" fmla="*/ 1160970 h 1978172"/>
              <a:gd name="connsiteX75" fmla="*/ 7773476 w 10768629"/>
              <a:gd name="connsiteY75" fmla="*/ 1157414 h 1978172"/>
              <a:gd name="connsiteX76" fmla="*/ 7769600 w 10768629"/>
              <a:gd name="connsiteY76" fmla="*/ 1157365 h 1978172"/>
              <a:gd name="connsiteX77" fmla="*/ 7752631 w 10768629"/>
              <a:gd name="connsiteY77" fmla="*/ 1172815 h 1978172"/>
              <a:gd name="connsiteX78" fmla="*/ 7743525 w 10768629"/>
              <a:gd name="connsiteY78" fmla="*/ 1179064 h 1978172"/>
              <a:gd name="connsiteX79" fmla="*/ 7685942 w 10768629"/>
              <a:gd name="connsiteY79" fmla="*/ 1233723 h 1978172"/>
              <a:gd name="connsiteX80" fmla="*/ 7586920 w 10768629"/>
              <a:gd name="connsiteY80" fmla="*/ 1261888 h 1978172"/>
              <a:gd name="connsiteX81" fmla="*/ 7486100 w 10768629"/>
              <a:gd name="connsiteY81" fmla="*/ 1292563 h 1978172"/>
              <a:gd name="connsiteX82" fmla="*/ 7407190 w 10768629"/>
              <a:gd name="connsiteY82" fmla="*/ 1314737 h 1978172"/>
              <a:gd name="connsiteX83" fmla="*/ 7240698 w 10768629"/>
              <a:gd name="connsiteY83" fmla="*/ 1438832 h 1978172"/>
              <a:gd name="connsiteX84" fmla="*/ 7197675 w 10768629"/>
              <a:gd name="connsiteY84" fmla="*/ 1447530 h 1978172"/>
              <a:gd name="connsiteX85" fmla="*/ 7164788 w 10768629"/>
              <a:gd name="connsiteY85" fmla="*/ 1480293 h 1978172"/>
              <a:gd name="connsiteX86" fmla="*/ 7147929 w 10768629"/>
              <a:gd name="connsiteY86" fmla="*/ 1477641 h 1978172"/>
              <a:gd name="connsiteX87" fmla="*/ 7144965 w 10768629"/>
              <a:gd name="connsiteY87" fmla="*/ 1476908 h 1978172"/>
              <a:gd name="connsiteX88" fmla="*/ 7134299 w 10768629"/>
              <a:gd name="connsiteY88" fmla="*/ 1479969 h 1978172"/>
              <a:gd name="connsiteX89" fmla="*/ 7129809 w 10768629"/>
              <a:gd name="connsiteY89" fmla="*/ 1473339 h 1978172"/>
              <a:gd name="connsiteX90" fmla="*/ 7112688 w 10768629"/>
              <a:gd name="connsiteY90" fmla="*/ 1472575 h 1978172"/>
              <a:gd name="connsiteX91" fmla="*/ 7093470 w 10768629"/>
              <a:gd name="connsiteY91" fmla="*/ 1480300 h 1978172"/>
              <a:gd name="connsiteX92" fmla="*/ 7025034 w 10768629"/>
              <a:gd name="connsiteY92" fmla="*/ 1506934 h 1978172"/>
              <a:gd name="connsiteX93" fmla="*/ 7014783 w 10768629"/>
              <a:gd name="connsiteY93" fmla="*/ 1515868 h 1978172"/>
              <a:gd name="connsiteX94" fmla="*/ 6979706 w 10768629"/>
              <a:gd name="connsiteY94" fmla="*/ 1523511 h 1978172"/>
              <a:gd name="connsiteX95" fmla="*/ 6977890 w 10768629"/>
              <a:gd name="connsiteY95" fmla="*/ 1525793 h 1978172"/>
              <a:gd name="connsiteX96" fmla="*/ 6944339 w 10768629"/>
              <a:gd name="connsiteY96" fmla="*/ 1536237 h 1978172"/>
              <a:gd name="connsiteX97" fmla="*/ 6886996 w 10768629"/>
              <a:gd name="connsiteY97" fmla="*/ 1563569 h 1978172"/>
              <a:gd name="connsiteX98" fmla="*/ 6874510 w 10768629"/>
              <a:gd name="connsiteY98" fmla="*/ 1558469 h 1978172"/>
              <a:gd name="connsiteX99" fmla="*/ 6871943 w 10768629"/>
              <a:gd name="connsiteY99" fmla="*/ 1554651 h 1978172"/>
              <a:gd name="connsiteX100" fmla="*/ 6856174 w 10768629"/>
              <a:gd name="connsiteY100" fmla="*/ 1562024 h 1978172"/>
              <a:gd name="connsiteX101" fmla="*/ 6842321 w 10768629"/>
              <a:gd name="connsiteY101" fmla="*/ 1560554 h 1978172"/>
              <a:gd name="connsiteX102" fmla="*/ 6832713 w 10768629"/>
              <a:gd name="connsiteY102" fmla="*/ 1569357 h 1978172"/>
              <a:gd name="connsiteX103" fmla="*/ 6816351 w 10768629"/>
              <a:gd name="connsiteY103" fmla="*/ 1571495 h 1978172"/>
              <a:gd name="connsiteX104" fmla="*/ 6795800 w 10768629"/>
              <a:gd name="connsiteY104" fmla="*/ 1572010 h 1978172"/>
              <a:gd name="connsiteX105" fmla="*/ 6777546 w 10768629"/>
              <a:gd name="connsiteY105" fmla="*/ 1568661 h 1978172"/>
              <a:gd name="connsiteX106" fmla="*/ 6751528 w 10768629"/>
              <a:gd name="connsiteY106" fmla="*/ 1574143 h 1978172"/>
              <a:gd name="connsiteX107" fmla="*/ 6691966 w 10768629"/>
              <a:gd name="connsiteY107" fmla="*/ 1582255 h 1978172"/>
              <a:gd name="connsiteX108" fmla="*/ 6646941 w 10768629"/>
              <a:gd name="connsiteY108" fmla="*/ 1588471 h 1978172"/>
              <a:gd name="connsiteX109" fmla="*/ 6568576 w 10768629"/>
              <a:gd name="connsiteY109" fmla="*/ 1606488 h 1978172"/>
              <a:gd name="connsiteX110" fmla="*/ 6554358 w 10768629"/>
              <a:gd name="connsiteY110" fmla="*/ 1621701 h 1978172"/>
              <a:gd name="connsiteX111" fmla="*/ 6516968 w 10768629"/>
              <a:gd name="connsiteY111" fmla="*/ 1617195 h 1978172"/>
              <a:gd name="connsiteX112" fmla="*/ 6506479 w 10768629"/>
              <a:gd name="connsiteY112" fmla="*/ 1602227 h 1978172"/>
              <a:gd name="connsiteX113" fmla="*/ 6458436 w 10768629"/>
              <a:gd name="connsiteY113" fmla="*/ 1607332 h 1978172"/>
              <a:gd name="connsiteX114" fmla="*/ 6414786 w 10768629"/>
              <a:gd name="connsiteY114" fmla="*/ 1628815 h 1978172"/>
              <a:gd name="connsiteX115" fmla="*/ 6357085 w 10768629"/>
              <a:gd name="connsiteY115" fmla="*/ 1640846 h 1978172"/>
              <a:gd name="connsiteX116" fmla="*/ 6322636 w 10768629"/>
              <a:gd name="connsiteY116" fmla="*/ 1648213 h 1978172"/>
              <a:gd name="connsiteX117" fmla="*/ 6226172 w 10768629"/>
              <a:gd name="connsiteY117" fmla="*/ 1654676 h 1978172"/>
              <a:gd name="connsiteX118" fmla="*/ 6221217 w 10768629"/>
              <a:gd name="connsiteY118" fmla="*/ 1654506 h 1978172"/>
              <a:gd name="connsiteX119" fmla="*/ 6204956 w 10768629"/>
              <a:gd name="connsiteY119" fmla="*/ 1664280 h 1978172"/>
              <a:gd name="connsiteX120" fmla="*/ 6204270 w 10768629"/>
              <a:gd name="connsiteY120" fmla="*/ 1666782 h 1978172"/>
              <a:gd name="connsiteX121" fmla="*/ 6143810 w 10768629"/>
              <a:gd name="connsiteY121" fmla="*/ 1661963 h 1978172"/>
              <a:gd name="connsiteX122" fmla="*/ 6136560 w 10768629"/>
              <a:gd name="connsiteY122" fmla="*/ 1665728 h 1978172"/>
              <a:gd name="connsiteX123" fmla="*/ 6096155 w 10768629"/>
              <a:gd name="connsiteY123" fmla="*/ 1656951 h 1978172"/>
              <a:gd name="connsiteX124" fmla="*/ 6075812 w 10768629"/>
              <a:gd name="connsiteY124" fmla="*/ 1655422 h 1978172"/>
              <a:gd name="connsiteX125" fmla="*/ 6039495 w 10768629"/>
              <a:gd name="connsiteY125" fmla="*/ 1649680 h 1978172"/>
              <a:gd name="connsiteX126" fmla="*/ 6036523 w 10768629"/>
              <a:gd name="connsiteY126" fmla="*/ 1652121 h 1978172"/>
              <a:gd name="connsiteX127" fmla="*/ 6029328 w 10768629"/>
              <a:gd name="connsiteY127" fmla="*/ 1649904 h 1978172"/>
              <a:gd name="connsiteX128" fmla="*/ 6024075 w 10768629"/>
              <a:gd name="connsiteY128" fmla="*/ 1652779 h 1978172"/>
              <a:gd name="connsiteX129" fmla="*/ 6018085 w 10768629"/>
              <a:gd name="connsiteY129" fmla="*/ 1652030 h 1978172"/>
              <a:gd name="connsiteX130" fmla="*/ 5955513 w 10768629"/>
              <a:gd name="connsiteY130" fmla="*/ 1663584 h 1978172"/>
              <a:gd name="connsiteX131" fmla="*/ 5941996 w 10768629"/>
              <a:gd name="connsiteY131" fmla="*/ 1661326 h 1978172"/>
              <a:gd name="connsiteX132" fmla="*/ 5931789 w 10768629"/>
              <a:gd name="connsiteY132" fmla="*/ 1669915 h 1978172"/>
              <a:gd name="connsiteX133" fmla="*/ 5888686 w 10768629"/>
              <a:gd name="connsiteY133" fmla="*/ 1672175 h 1978172"/>
              <a:gd name="connsiteX134" fmla="*/ 5873794 w 10768629"/>
              <a:gd name="connsiteY134" fmla="*/ 1665454 h 1978172"/>
              <a:gd name="connsiteX135" fmla="*/ 5860022 w 10768629"/>
              <a:gd name="connsiteY135" fmla="*/ 1660635 h 1978172"/>
              <a:gd name="connsiteX136" fmla="*/ 5858237 w 10768629"/>
              <a:gd name="connsiteY136" fmla="*/ 1660649 h 1978172"/>
              <a:gd name="connsiteX137" fmla="*/ 5840319 w 10768629"/>
              <a:gd name="connsiteY137" fmla="*/ 1660798 h 1978172"/>
              <a:gd name="connsiteX138" fmla="*/ 5806984 w 10768629"/>
              <a:gd name="connsiteY138" fmla="*/ 1661075 h 1978172"/>
              <a:gd name="connsiteX139" fmla="*/ 5742351 w 10768629"/>
              <a:gd name="connsiteY139" fmla="*/ 1667489 h 1978172"/>
              <a:gd name="connsiteX140" fmla="*/ 5521171 w 10768629"/>
              <a:gd name="connsiteY140" fmla="*/ 1671626 h 1978172"/>
              <a:gd name="connsiteX141" fmla="*/ 5457384 w 10768629"/>
              <a:gd name="connsiteY141" fmla="*/ 1683952 h 1978172"/>
              <a:gd name="connsiteX142" fmla="*/ 4950070 w 10768629"/>
              <a:gd name="connsiteY142" fmla="*/ 1748401 h 1978172"/>
              <a:gd name="connsiteX143" fmla="*/ 4872172 w 10768629"/>
              <a:gd name="connsiteY143" fmla="*/ 1757222 h 1978172"/>
              <a:gd name="connsiteX144" fmla="*/ 4809524 w 10768629"/>
              <a:gd name="connsiteY144" fmla="*/ 1761033 h 1978172"/>
              <a:gd name="connsiteX145" fmla="*/ 4759058 w 10768629"/>
              <a:gd name="connsiteY145" fmla="*/ 1766533 h 1978172"/>
              <a:gd name="connsiteX146" fmla="*/ 4719749 w 10768629"/>
              <a:gd name="connsiteY146" fmla="*/ 1771811 h 1978172"/>
              <a:gd name="connsiteX147" fmla="*/ 4568686 w 10768629"/>
              <a:gd name="connsiteY147" fmla="*/ 1786141 h 1978172"/>
              <a:gd name="connsiteX148" fmla="*/ 4418751 w 10768629"/>
              <a:gd name="connsiteY148" fmla="*/ 1796932 h 1978172"/>
              <a:gd name="connsiteX149" fmla="*/ 4378377 w 10768629"/>
              <a:gd name="connsiteY149" fmla="*/ 1815528 h 1978172"/>
              <a:gd name="connsiteX150" fmla="*/ 4320575 w 10768629"/>
              <a:gd name="connsiteY150" fmla="*/ 1832722 h 1978172"/>
              <a:gd name="connsiteX151" fmla="*/ 4220200 w 10768629"/>
              <a:gd name="connsiteY151" fmla="*/ 1873173 h 1978172"/>
              <a:gd name="connsiteX152" fmla="*/ 4105361 w 10768629"/>
              <a:gd name="connsiteY152" fmla="*/ 1894711 h 1978172"/>
              <a:gd name="connsiteX153" fmla="*/ 3973223 w 10768629"/>
              <a:gd name="connsiteY153" fmla="*/ 1881015 h 1978172"/>
              <a:gd name="connsiteX154" fmla="*/ 3900992 w 10768629"/>
              <a:gd name="connsiteY154" fmla="*/ 1880603 h 1978172"/>
              <a:gd name="connsiteX155" fmla="*/ 3662119 w 10768629"/>
              <a:gd name="connsiteY155" fmla="*/ 1876289 h 1978172"/>
              <a:gd name="connsiteX156" fmla="*/ 3496919 w 10768629"/>
              <a:gd name="connsiteY156" fmla="*/ 1873180 h 1978172"/>
              <a:gd name="connsiteX157" fmla="*/ 3449433 w 10768629"/>
              <a:gd name="connsiteY157" fmla="*/ 1889681 h 1978172"/>
              <a:gd name="connsiteX158" fmla="*/ 3369766 w 10768629"/>
              <a:gd name="connsiteY158" fmla="*/ 1916653 h 1978172"/>
              <a:gd name="connsiteX159" fmla="*/ 3290336 w 10768629"/>
              <a:gd name="connsiteY159" fmla="*/ 1925039 h 1978172"/>
              <a:gd name="connsiteX160" fmla="*/ 3224897 w 10768629"/>
              <a:gd name="connsiteY160" fmla="*/ 1943733 h 1978172"/>
              <a:gd name="connsiteX161" fmla="*/ 3161463 w 10768629"/>
              <a:gd name="connsiteY161" fmla="*/ 1946591 h 1978172"/>
              <a:gd name="connsiteX162" fmla="*/ 3157504 w 10768629"/>
              <a:gd name="connsiteY162" fmla="*/ 1957276 h 1978172"/>
              <a:gd name="connsiteX163" fmla="*/ 3115176 w 10768629"/>
              <a:gd name="connsiteY163" fmla="*/ 1943459 h 1978172"/>
              <a:gd name="connsiteX164" fmla="*/ 3005773 w 10768629"/>
              <a:gd name="connsiteY164" fmla="*/ 1915878 h 1978172"/>
              <a:gd name="connsiteX165" fmla="*/ 2897201 w 10768629"/>
              <a:gd name="connsiteY165" fmla="*/ 1926772 h 1978172"/>
              <a:gd name="connsiteX166" fmla="*/ 2783891 w 10768629"/>
              <a:gd name="connsiteY166" fmla="*/ 1931749 h 1978172"/>
              <a:gd name="connsiteX167" fmla="*/ 2712447 w 10768629"/>
              <a:gd name="connsiteY167" fmla="*/ 1933044 h 1978172"/>
              <a:gd name="connsiteX168" fmla="*/ 2560151 w 10768629"/>
              <a:gd name="connsiteY168" fmla="*/ 1963609 h 1978172"/>
              <a:gd name="connsiteX169" fmla="*/ 2367221 w 10768629"/>
              <a:gd name="connsiteY169" fmla="*/ 1971884 h 1978172"/>
              <a:gd name="connsiteX170" fmla="*/ 2272130 w 10768629"/>
              <a:gd name="connsiteY170" fmla="*/ 1961162 h 1978172"/>
              <a:gd name="connsiteX171" fmla="*/ 2189404 w 10768629"/>
              <a:gd name="connsiteY171" fmla="*/ 1978172 h 1978172"/>
              <a:gd name="connsiteX172" fmla="*/ 2077704 w 10768629"/>
              <a:gd name="connsiteY172" fmla="*/ 1965002 h 1978172"/>
              <a:gd name="connsiteX173" fmla="*/ 1967996 w 10768629"/>
              <a:gd name="connsiteY173" fmla="*/ 1953187 h 1978172"/>
              <a:gd name="connsiteX174" fmla="*/ 1855805 w 10768629"/>
              <a:gd name="connsiteY174" fmla="*/ 1926082 h 1978172"/>
              <a:gd name="connsiteX175" fmla="*/ 1790957 w 10768629"/>
              <a:gd name="connsiteY175" fmla="*/ 1919460 h 1978172"/>
              <a:gd name="connsiteX176" fmla="*/ 1613978 w 10768629"/>
              <a:gd name="connsiteY176" fmla="*/ 1891581 h 1978172"/>
              <a:gd name="connsiteX177" fmla="*/ 1436831 w 10768629"/>
              <a:gd name="connsiteY177" fmla="*/ 1856201 h 1978172"/>
              <a:gd name="connsiteX178" fmla="*/ 1332568 w 10768629"/>
              <a:gd name="connsiteY178" fmla="*/ 1793149 h 1978172"/>
              <a:gd name="connsiteX179" fmla="*/ 1186881 w 10768629"/>
              <a:gd name="connsiteY179" fmla="*/ 1768613 h 1978172"/>
              <a:gd name="connsiteX180" fmla="*/ 1162595 w 10768629"/>
              <a:gd name="connsiteY180" fmla="*/ 1758337 h 1978172"/>
              <a:gd name="connsiteX181" fmla="*/ 1128523 w 10768629"/>
              <a:gd name="connsiteY181" fmla="*/ 1763621 h 1978172"/>
              <a:gd name="connsiteX182" fmla="*/ 991903 w 10768629"/>
              <a:gd name="connsiteY182" fmla="*/ 1786741 h 1978172"/>
              <a:gd name="connsiteX183" fmla="*/ 883960 w 10768629"/>
              <a:gd name="connsiteY183" fmla="*/ 1822386 h 1978172"/>
              <a:gd name="connsiteX184" fmla="*/ 766531 w 10768629"/>
              <a:gd name="connsiteY184" fmla="*/ 1805053 h 1978172"/>
              <a:gd name="connsiteX185" fmla="*/ 669779 w 10768629"/>
              <a:gd name="connsiteY185" fmla="*/ 1800537 h 1978172"/>
              <a:gd name="connsiteX186" fmla="*/ 523898 w 10768629"/>
              <a:gd name="connsiteY186" fmla="*/ 1811085 h 1978172"/>
              <a:gd name="connsiteX187" fmla="*/ 360251 w 10768629"/>
              <a:gd name="connsiteY187" fmla="*/ 1830735 h 1978172"/>
              <a:gd name="connsiteX188" fmla="*/ 255207 w 10768629"/>
              <a:gd name="connsiteY188" fmla="*/ 1818275 h 1978172"/>
              <a:gd name="connsiteX189" fmla="*/ 101803 w 10768629"/>
              <a:gd name="connsiteY189" fmla="*/ 1870647 h 1978172"/>
              <a:gd name="connsiteX190" fmla="*/ 25397 w 10768629"/>
              <a:gd name="connsiteY190" fmla="*/ 1888443 h 1978172"/>
              <a:gd name="connsiteX191" fmla="*/ 2370 w 10768629"/>
              <a:gd name="connsiteY191" fmla="*/ 1878311 h 1978172"/>
              <a:gd name="connsiteX192" fmla="*/ 0 w 10768629"/>
              <a:gd name="connsiteY192" fmla="*/ 1878785 h 1978172"/>
              <a:gd name="connsiteX193" fmla="*/ 0 w 10768629"/>
              <a:gd name="connsiteY193" fmla="*/ 0 h 1978172"/>
              <a:gd name="connsiteX0" fmla="*/ 0 w 10768629"/>
              <a:gd name="connsiteY0" fmla="*/ 0 h 1978172"/>
              <a:gd name="connsiteX1" fmla="*/ 10768629 w 10768629"/>
              <a:gd name="connsiteY1" fmla="*/ 0 h 1978172"/>
              <a:gd name="connsiteX2" fmla="*/ 10733254 w 10768629"/>
              <a:gd name="connsiteY2" fmla="*/ 31439 h 1978172"/>
              <a:gd name="connsiteX3" fmla="*/ 10727085 w 10768629"/>
              <a:gd name="connsiteY3" fmla="*/ 37910 h 1978172"/>
              <a:gd name="connsiteX4" fmla="*/ 10675953 w 10768629"/>
              <a:gd name="connsiteY4" fmla="*/ 68623 h 1978172"/>
              <a:gd name="connsiteX5" fmla="*/ 10637091 w 10768629"/>
              <a:gd name="connsiteY5" fmla="*/ 90361 h 1978172"/>
              <a:gd name="connsiteX6" fmla="*/ 10610971 w 10768629"/>
              <a:gd name="connsiteY6" fmla="*/ 110764 h 1978172"/>
              <a:gd name="connsiteX7" fmla="*/ 10532872 w 10768629"/>
              <a:gd name="connsiteY7" fmla="*/ 138028 h 1978172"/>
              <a:gd name="connsiteX8" fmla="*/ 10398558 w 10768629"/>
              <a:gd name="connsiteY8" fmla="*/ 172911 h 1978172"/>
              <a:gd name="connsiteX9" fmla="*/ 10371128 w 10768629"/>
              <a:gd name="connsiteY9" fmla="*/ 182609 h 1978172"/>
              <a:gd name="connsiteX10" fmla="*/ 10352178 w 10768629"/>
              <a:gd name="connsiteY10" fmla="*/ 199976 h 1978172"/>
              <a:gd name="connsiteX11" fmla="*/ 10351815 w 10768629"/>
              <a:gd name="connsiteY11" fmla="*/ 211879 h 1978172"/>
              <a:gd name="connsiteX12" fmla="*/ 10337471 w 10768629"/>
              <a:gd name="connsiteY12" fmla="*/ 218661 h 1978172"/>
              <a:gd name="connsiteX13" fmla="*/ 10334625 w 10768629"/>
              <a:gd name="connsiteY13" fmla="*/ 222351 h 1978172"/>
              <a:gd name="connsiteX14" fmla="*/ 10256365 w 10768629"/>
              <a:gd name="connsiteY14" fmla="*/ 235917 h 1978172"/>
              <a:gd name="connsiteX15" fmla="*/ 10201127 w 10768629"/>
              <a:gd name="connsiteY15" fmla="*/ 267448 h 1978172"/>
              <a:gd name="connsiteX16" fmla="*/ 9961218 w 10768629"/>
              <a:gd name="connsiteY16" fmla="*/ 326720 h 1978172"/>
              <a:gd name="connsiteX17" fmla="*/ 9859715 w 10768629"/>
              <a:gd name="connsiteY17" fmla="*/ 355698 h 1978172"/>
              <a:gd name="connsiteX18" fmla="*/ 9679867 w 10768629"/>
              <a:gd name="connsiteY18" fmla="*/ 399081 h 1978172"/>
              <a:gd name="connsiteX19" fmla="*/ 9490654 w 10768629"/>
              <a:gd name="connsiteY19" fmla="*/ 455225 h 1978172"/>
              <a:gd name="connsiteX20" fmla="*/ 9470837 w 10768629"/>
              <a:gd name="connsiteY20" fmla="*/ 452539 h 1978172"/>
              <a:gd name="connsiteX21" fmla="*/ 9469082 w 10768629"/>
              <a:gd name="connsiteY21" fmla="*/ 454891 h 1978172"/>
              <a:gd name="connsiteX22" fmla="*/ 9448038 w 10768629"/>
              <a:gd name="connsiteY22" fmla="*/ 459733 h 1978172"/>
              <a:gd name="connsiteX23" fmla="*/ 9396821 w 10768629"/>
              <a:gd name="connsiteY23" fmla="*/ 455795 h 1978172"/>
              <a:gd name="connsiteX24" fmla="*/ 9392197 w 10768629"/>
              <a:gd name="connsiteY24" fmla="*/ 459796 h 1978172"/>
              <a:gd name="connsiteX25" fmla="*/ 9347994 w 10768629"/>
              <a:gd name="connsiteY25" fmla="*/ 464462 h 1978172"/>
              <a:gd name="connsiteX26" fmla="*/ 9347889 w 10768629"/>
              <a:gd name="connsiteY26" fmla="*/ 466539 h 1978172"/>
              <a:gd name="connsiteX27" fmla="*/ 9337639 w 10768629"/>
              <a:gd name="connsiteY27" fmla="*/ 476654 h 1978172"/>
              <a:gd name="connsiteX28" fmla="*/ 9316893 w 10768629"/>
              <a:gd name="connsiteY28" fmla="*/ 491390 h 1978172"/>
              <a:gd name="connsiteX29" fmla="*/ 9229283 w 10768629"/>
              <a:gd name="connsiteY29" fmla="*/ 555377 h 1978172"/>
              <a:gd name="connsiteX30" fmla="*/ 9220274 w 10768629"/>
              <a:gd name="connsiteY30" fmla="*/ 557502 h 1978172"/>
              <a:gd name="connsiteX31" fmla="*/ 9220202 w 10768629"/>
              <a:gd name="connsiteY31" fmla="*/ 558001 h 1978172"/>
              <a:gd name="connsiteX32" fmla="*/ 9210908 w 10768629"/>
              <a:gd name="connsiteY32" fmla="*/ 561147 h 1978172"/>
              <a:gd name="connsiteX33" fmla="*/ 9186374 w 10768629"/>
              <a:gd name="connsiteY33" fmla="*/ 565502 h 1978172"/>
              <a:gd name="connsiteX34" fmla="*/ 9181058 w 10768629"/>
              <a:gd name="connsiteY34" fmla="*/ 569943 h 1978172"/>
              <a:gd name="connsiteX35" fmla="*/ 9179948 w 10768629"/>
              <a:gd name="connsiteY35" fmla="*/ 576062 h 1978172"/>
              <a:gd name="connsiteX36" fmla="*/ 9149110 w 10768629"/>
              <a:gd name="connsiteY36" fmla="*/ 598906 h 1978172"/>
              <a:gd name="connsiteX37" fmla="*/ 9078556 w 10768629"/>
              <a:gd name="connsiteY37" fmla="*/ 644039 h 1978172"/>
              <a:gd name="connsiteX38" fmla="*/ 8996399 w 10768629"/>
              <a:gd name="connsiteY38" fmla="*/ 690055 h 1978172"/>
              <a:gd name="connsiteX39" fmla="*/ 8803791 w 10768629"/>
              <a:gd name="connsiteY39" fmla="*/ 813860 h 1978172"/>
              <a:gd name="connsiteX40" fmla="*/ 8636202 w 10768629"/>
              <a:gd name="connsiteY40" fmla="*/ 848463 h 1978172"/>
              <a:gd name="connsiteX41" fmla="*/ 8555372 w 10768629"/>
              <a:gd name="connsiteY41" fmla="*/ 883171 h 1978172"/>
              <a:gd name="connsiteX42" fmla="*/ 8507229 w 10768629"/>
              <a:gd name="connsiteY42" fmla="*/ 901665 h 1978172"/>
              <a:gd name="connsiteX43" fmla="*/ 8428473 w 10768629"/>
              <a:gd name="connsiteY43" fmla="*/ 927985 h 1978172"/>
              <a:gd name="connsiteX44" fmla="*/ 8427914 w 10768629"/>
              <a:gd name="connsiteY44" fmla="*/ 933480 h 1978172"/>
              <a:gd name="connsiteX45" fmla="*/ 8420327 w 10768629"/>
              <a:gd name="connsiteY45" fmla="*/ 941984 h 1978172"/>
              <a:gd name="connsiteX46" fmla="*/ 8407128 w 10768629"/>
              <a:gd name="connsiteY46" fmla="*/ 961344 h 1978172"/>
              <a:gd name="connsiteX47" fmla="*/ 8380548 w 10768629"/>
              <a:gd name="connsiteY47" fmla="*/ 987916 h 1978172"/>
              <a:gd name="connsiteX48" fmla="*/ 8379462 w 10768629"/>
              <a:gd name="connsiteY48" fmla="*/ 987106 h 1978172"/>
              <a:gd name="connsiteX49" fmla="*/ 8369725 w 10768629"/>
              <a:gd name="connsiteY49" fmla="*/ 989186 h 1978172"/>
              <a:gd name="connsiteX50" fmla="*/ 8304438 w 10768629"/>
              <a:gd name="connsiteY50" fmla="*/ 996739 h 1978172"/>
              <a:gd name="connsiteX51" fmla="*/ 8280929 w 10768629"/>
              <a:gd name="connsiteY51" fmla="*/ 1023089 h 1978172"/>
              <a:gd name="connsiteX52" fmla="*/ 8275760 w 10768629"/>
              <a:gd name="connsiteY52" fmla="*/ 1027772 h 1978172"/>
              <a:gd name="connsiteX53" fmla="*/ 8275478 w 10768629"/>
              <a:gd name="connsiteY53" fmla="*/ 1027605 h 1978172"/>
              <a:gd name="connsiteX54" fmla="*/ 8269666 w 10768629"/>
              <a:gd name="connsiteY54" fmla="*/ 1032033 h 1978172"/>
              <a:gd name="connsiteX55" fmla="*/ 8203836 w 10768629"/>
              <a:gd name="connsiteY55" fmla="*/ 1037347 h 1978172"/>
              <a:gd name="connsiteX56" fmla="*/ 8122936 w 10768629"/>
              <a:gd name="connsiteY56" fmla="*/ 1063113 h 1978172"/>
              <a:gd name="connsiteX57" fmla="*/ 8043658 w 10768629"/>
              <a:gd name="connsiteY57" fmla="*/ 1092746 h 1978172"/>
              <a:gd name="connsiteX58" fmla="*/ 8015351 w 10768629"/>
              <a:gd name="connsiteY58" fmla="*/ 1105478 h 1978172"/>
              <a:gd name="connsiteX59" fmla="*/ 7963145 w 10768629"/>
              <a:gd name="connsiteY59" fmla="*/ 1119346 h 1978172"/>
              <a:gd name="connsiteX60" fmla="*/ 7938145 w 10768629"/>
              <a:gd name="connsiteY60" fmla="*/ 1120225 h 1978172"/>
              <a:gd name="connsiteX61" fmla="*/ 7937238 w 10768629"/>
              <a:gd name="connsiteY61" fmla="*/ 1121204 h 1978172"/>
              <a:gd name="connsiteX62" fmla="*/ 7934398 w 10768629"/>
              <a:gd name="connsiteY62" fmla="*/ 1118240 h 1978172"/>
              <a:gd name="connsiteX63" fmla="*/ 7918248 w 10768629"/>
              <a:gd name="connsiteY63" fmla="*/ 1124371 h 1978172"/>
              <a:gd name="connsiteX64" fmla="*/ 7914119 w 10768629"/>
              <a:gd name="connsiteY64" fmla="*/ 1127653 h 1978172"/>
              <a:gd name="connsiteX65" fmla="*/ 7907658 w 10768629"/>
              <a:gd name="connsiteY65" fmla="*/ 1130350 h 1978172"/>
              <a:gd name="connsiteX66" fmla="*/ 7907434 w 10768629"/>
              <a:gd name="connsiteY66" fmla="*/ 1130103 h 1978172"/>
              <a:gd name="connsiteX67" fmla="*/ 7901508 w 10768629"/>
              <a:gd name="connsiteY67" fmla="*/ 1133245 h 1978172"/>
              <a:gd name="connsiteX68" fmla="*/ 7873287 w 10768629"/>
              <a:gd name="connsiteY68" fmla="*/ 1152609 h 1978172"/>
              <a:gd name="connsiteX69" fmla="*/ 7834833 w 10768629"/>
              <a:gd name="connsiteY69" fmla="*/ 1153868 h 1978172"/>
              <a:gd name="connsiteX70" fmla="*/ 7828661 w 10768629"/>
              <a:gd name="connsiteY70" fmla="*/ 1139994 h 1978172"/>
              <a:gd name="connsiteX71" fmla="*/ 7823966 w 10768629"/>
              <a:gd name="connsiteY71" fmla="*/ 1143178 h 1978172"/>
              <a:gd name="connsiteX72" fmla="*/ 7815078 w 10768629"/>
              <a:gd name="connsiteY72" fmla="*/ 1151776 h 1978172"/>
              <a:gd name="connsiteX73" fmla="*/ 7812026 w 10768629"/>
              <a:gd name="connsiteY73" fmla="*/ 1151522 h 1978172"/>
              <a:gd name="connsiteX74" fmla="*/ 7782249 w 10768629"/>
              <a:gd name="connsiteY74" fmla="*/ 1160970 h 1978172"/>
              <a:gd name="connsiteX75" fmla="*/ 7773476 w 10768629"/>
              <a:gd name="connsiteY75" fmla="*/ 1157414 h 1978172"/>
              <a:gd name="connsiteX76" fmla="*/ 7769600 w 10768629"/>
              <a:gd name="connsiteY76" fmla="*/ 1157365 h 1978172"/>
              <a:gd name="connsiteX77" fmla="*/ 7752631 w 10768629"/>
              <a:gd name="connsiteY77" fmla="*/ 1172815 h 1978172"/>
              <a:gd name="connsiteX78" fmla="*/ 7743525 w 10768629"/>
              <a:gd name="connsiteY78" fmla="*/ 1179064 h 1978172"/>
              <a:gd name="connsiteX79" fmla="*/ 7685942 w 10768629"/>
              <a:gd name="connsiteY79" fmla="*/ 1233723 h 1978172"/>
              <a:gd name="connsiteX80" fmla="*/ 7586920 w 10768629"/>
              <a:gd name="connsiteY80" fmla="*/ 1261888 h 1978172"/>
              <a:gd name="connsiteX81" fmla="*/ 7486100 w 10768629"/>
              <a:gd name="connsiteY81" fmla="*/ 1292563 h 1978172"/>
              <a:gd name="connsiteX82" fmla="*/ 7407190 w 10768629"/>
              <a:gd name="connsiteY82" fmla="*/ 1314737 h 1978172"/>
              <a:gd name="connsiteX83" fmla="*/ 7240698 w 10768629"/>
              <a:gd name="connsiteY83" fmla="*/ 1438832 h 1978172"/>
              <a:gd name="connsiteX84" fmla="*/ 7197675 w 10768629"/>
              <a:gd name="connsiteY84" fmla="*/ 1447530 h 1978172"/>
              <a:gd name="connsiteX85" fmla="*/ 7164788 w 10768629"/>
              <a:gd name="connsiteY85" fmla="*/ 1480293 h 1978172"/>
              <a:gd name="connsiteX86" fmla="*/ 7147929 w 10768629"/>
              <a:gd name="connsiteY86" fmla="*/ 1477641 h 1978172"/>
              <a:gd name="connsiteX87" fmla="*/ 7144965 w 10768629"/>
              <a:gd name="connsiteY87" fmla="*/ 1476908 h 1978172"/>
              <a:gd name="connsiteX88" fmla="*/ 7134299 w 10768629"/>
              <a:gd name="connsiteY88" fmla="*/ 1479969 h 1978172"/>
              <a:gd name="connsiteX89" fmla="*/ 7129809 w 10768629"/>
              <a:gd name="connsiteY89" fmla="*/ 1473339 h 1978172"/>
              <a:gd name="connsiteX90" fmla="*/ 7112688 w 10768629"/>
              <a:gd name="connsiteY90" fmla="*/ 1472575 h 1978172"/>
              <a:gd name="connsiteX91" fmla="*/ 7093470 w 10768629"/>
              <a:gd name="connsiteY91" fmla="*/ 1480300 h 1978172"/>
              <a:gd name="connsiteX92" fmla="*/ 7025034 w 10768629"/>
              <a:gd name="connsiteY92" fmla="*/ 1506934 h 1978172"/>
              <a:gd name="connsiteX93" fmla="*/ 7014783 w 10768629"/>
              <a:gd name="connsiteY93" fmla="*/ 1515868 h 1978172"/>
              <a:gd name="connsiteX94" fmla="*/ 6979706 w 10768629"/>
              <a:gd name="connsiteY94" fmla="*/ 1523511 h 1978172"/>
              <a:gd name="connsiteX95" fmla="*/ 6977890 w 10768629"/>
              <a:gd name="connsiteY95" fmla="*/ 1525793 h 1978172"/>
              <a:gd name="connsiteX96" fmla="*/ 6944339 w 10768629"/>
              <a:gd name="connsiteY96" fmla="*/ 1536237 h 1978172"/>
              <a:gd name="connsiteX97" fmla="*/ 6886996 w 10768629"/>
              <a:gd name="connsiteY97" fmla="*/ 1563569 h 1978172"/>
              <a:gd name="connsiteX98" fmla="*/ 6874510 w 10768629"/>
              <a:gd name="connsiteY98" fmla="*/ 1558469 h 1978172"/>
              <a:gd name="connsiteX99" fmla="*/ 6871943 w 10768629"/>
              <a:gd name="connsiteY99" fmla="*/ 1554651 h 1978172"/>
              <a:gd name="connsiteX100" fmla="*/ 6856174 w 10768629"/>
              <a:gd name="connsiteY100" fmla="*/ 1562024 h 1978172"/>
              <a:gd name="connsiteX101" fmla="*/ 6842321 w 10768629"/>
              <a:gd name="connsiteY101" fmla="*/ 1560554 h 1978172"/>
              <a:gd name="connsiteX102" fmla="*/ 6832713 w 10768629"/>
              <a:gd name="connsiteY102" fmla="*/ 1569357 h 1978172"/>
              <a:gd name="connsiteX103" fmla="*/ 6816351 w 10768629"/>
              <a:gd name="connsiteY103" fmla="*/ 1571495 h 1978172"/>
              <a:gd name="connsiteX104" fmla="*/ 6795800 w 10768629"/>
              <a:gd name="connsiteY104" fmla="*/ 1572010 h 1978172"/>
              <a:gd name="connsiteX105" fmla="*/ 6777546 w 10768629"/>
              <a:gd name="connsiteY105" fmla="*/ 1568661 h 1978172"/>
              <a:gd name="connsiteX106" fmla="*/ 6751528 w 10768629"/>
              <a:gd name="connsiteY106" fmla="*/ 1574143 h 1978172"/>
              <a:gd name="connsiteX107" fmla="*/ 6691966 w 10768629"/>
              <a:gd name="connsiteY107" fmla="*/ 1582255 h 1978172"/>
              <a:gd name="connsiteX108" fmla="*/ 6646941 w 10768629"/>
              <a:gd name="connsiteY108" fmla="*/ 1588471 h 1978172"/>
              <a:gd name="connsiteX109" fmla="*/ 6568576 w 10768629"/>
              <a:gd name="connsiteY109" fmla="*/ 1606488 h 1978172"/>
              <a:gd name="connsiteX110" fmla="*/ 6554358 w 10768629"/>
              <a:gd name="connsiteY110" fmla="*/ 1621701 h 1978172"/>
              <a:gd name="connsiteX111" fmla="*/ 6516968 w 10768629"/>
              <a:gd name="connsiteY111" fmla="*/ 1617195 h 1978172"/>
              <a:gd name="connsiteX112" fmla="*/ 6506479 w 10768629"/>
              <a:gd name="connsiteY112" fmla="*/ 1602227 h 1978172"/>
              <a:gd name="connsiteX113" fmla="*/ 6458436 w 10768629"/>
              <a:gd name="connsiteY113" fmla="*/ 1607332 h 1978172"/>
              <a:gd name="connsiteX114" fmla="*/ 6414786 w 10768629"/>
              <a:gd name="connsiteY114" fmla="*/ 1628815 h 1978172"/>
              <a:gd name="connsiteX115" fmla="*/ 6357085 w 10768629"/>
              <a:gd name="connsiteY115" fmla="*/ 1640846 h 1978172"/>
              <a:gd name="connsiteX116" fmla="*/ 6322636 w 10768629"/>
              <a:gd name="connsiteY116" fmla="*/ 1648213 h 1978172"/>
              <a:gd name="connsiteX117" fmla="*/ 6226172 w 10768629"/>
              <a:gd name="connsiteY117" fmla="*/ 1654676 h 1978172"/>
              <a:gd name="connsiteX118" fmla="*/ 6221217 w 10768629"/>
              <a:gd name="connsiteY118" fmla="*/ 1654506 h 1978172"/>
              <a:gd name="connsiteX119" fmla="*/ 6204956 w 10768629"/>
              <a:gd name="connsiteY119" fmla="*/ 1664280 h 1978172"/>
              <a:gd name="connsiteX120" fmla="*/ 6204270 w 10768629"/>
              <a:gd name="connsiteY120" fmla="*/ 1666782 h 1978172"/>
              <a:gd name="connsiteX121" fmla="*/ 6143810 w 10768629"/>
              <a:gd name="connsiteY121" fmla="*/ 1661963 h 1978172"/>
              <a:gd name="connsiteX122" fmla="*/ 6136560 w 10768629"/>
              <a:gd name="connsiteY122" fmla="*/ 1665728 h 1978172"/>
              <a:gd name="connsiteX123" fmla="*/ 6096155 w 10768629"/>
              <a:gd name="connsiteY123" fmla="*/ 1656951 h 1978172"/>
              <a:gd name="connsiteX124" fmla="*/ 6075812 w 10768629"/>
              <a:gd name="connsiteY124" fmla="*/ 1655422 h 1978172"/>
              <a:gd name="connsiteX125" fmla="*/ 6039495 w 10768629"/>
              <a:gd name="connsiteY125" fmla="*/ 1649680 h 1978172"/>
              <a:gd name="connsiteX126" fmla="*/ 6036523 w 10768629"/>
              <a:gd name="connsiteY126" fmla="*/ 1652121 h 1978172"/>
              <a:gd name="connsiteX127" fmla="*/ 6029328 w 10768629"/>
              <a:gd name="connsiteY127" fmla="*/ 1649904 h 1978172"/>
              <a:gd name="connsiteX128" fmla="*/ 6024075 w 10768629"/>
              <a:gd name="connsiteY128" fmla="*/ 1652779 h 1978172"/>
              <a:gd name="connsiteX129" fmla="*/ 6018085 w 10768629"/>
              <a:gd name="connsiteY129" fmla="*/ 1652030 h 1978172"/>
              <a:gd name="connsiteX130" fmla="*/ 5955513 w 10768629"/>
              <a:gd name="connsiteY130" fmla="*/ 1663584 h 1978172"/>
              <a:gd name="connsiteX131" fmla="*/ 5941996 w 10768629"/>
              <a:gd name="connsiteY131" fmla="*/ 1661326 h 1978172"/>
              <a:gd name="connsiteX132" fmla="*/ 5931789 w 10768629"/>
              <a:gd name="connsiteY132" fmla="*/ 1669915 h 1978172"/>
              <a:gd name="connsiteX133" fmla="*/ 5888686 w 10768629"/>
              <a:gd name="connsiteY133" fmla="*/ 1672175 h 1978172"/>
              <a:gd name="connsiteX134" fmla="*/ 5873794 w 10768629"/>
              <a:gd name="connsiteY134" fmla="*/ 1665454 h 1978172"/>
              <a:gd name="connsiteX135" fmla="*/ 5860022 w 10768629"/>
              <a:gd name="connsiteY135" fmla="*/ 1660635 h 1978172"/>
              <a:gd name="connsiteX136" fmla="*/ 5858237 w 10768629"/>
              <a:gd name="connsiteY136" fmla="*/ 1660649 h 1978172"/>
              <a:gd name="connsiteX137" fmla="*/ 5840319 w 10768629"/>
              <a:gd name="connsiteY137" fmla="*/ 1660798 h 1978172"/>
              <a:gd name="connsiteX138" fmla="*/ 5806984 w 10768629"/>
              <a:gd name="connsiteY138" fmla="*/ 1661075 h 1978172"/>
              <a:gd name="connsiteX139" fmla="*/ 5742351 w 10768629"/>
              <a:gd name="connsiteY139" fmla="*/ 1667489 h 1978172"/>
              <a:gd name="connsiteX140" fmla="*/ 5521171 w 10768629"/>
              <a:gd name="connsiteY140" fmla="*/ 1671626 h 1978172"/>
              <a:gd name="connsiteX141" fmla="*/ 5457384 w 10768629"/>
              <a:gd name="connsiteY141" fmla="*/ 1683952 h 1978172"/>
              <a:gd name="connsiteX142" fmla="*/ 4950070 w 10768629"/>
              <a:gd name="connsiteY142" fmla="*/ 1748401 h 1978172"/>
              <a:gd name="connsiteX143" fmla="*/ 4872172 w 10768629"/>
              <a:gd name="connsiteY143" fmla="*/ 1757222 h 1978172"/>
              <a:gd name="connsiteX144" fmla="*/ 4809524 w 10768629"/>
              <a:gd name="connsiteY144" fmla="*/ 1761033 h 1978172"/>
              <a:gd name="connsiteX145" fmla="*/ 4759058 w 10768629"/>
              <a:gd name="connsiteY145" fmla="*/ 1766533 h 1978172"/>
              <a:gd name="connsiteX146" fmla="*/ 4719749 w 10768629"/>
              <a:gd name="connsiteY146" fmla="*/ 1771811 h 1978172"/>
              <a:gd name="connsiteX147" fmla="*/ 4568686 w 10768629"/>
              <a:gd name="connsiteY147" fmla="*/ 1786141 h 1978172"/>
              <a:gd name="connsiteX148" fmla="*/ 4418751 w 10768629"/>
              <a:gd name="connsiteY148" fmla="*/ 1796932 h 1978172"/>
              <a:gd name="connsiteX149" fmla="*/ 4378377 w 10768629"/>
              <a:gd name="connsiteY149" fmla="*/ 1815528 h 1978172"/>
              <a:gd name="connsiteX150" fmla="*/ 4320575 w 10768629"/>
              <a:gd name="connsiteY150" fmla="*/ 1832722 h 1978172"/>
              <a:gd name="connsiteX151" fmla="*/ 4220200 w 10768629"/>
              <a:gd name="connsiteY151" fmla="*/ 1873173 h 1978172"/>
              <a:gd name="connsiteX152" fmla="*/ 4105361 w 10768629"/>
              <a:gd name="connsiteY152" fmla="*/ 1894711 h 1978172"/>
              <a:gd name="connsiteX153" fmla="*/ 3973223 w 10768629"/>
              <a:gd name="connsiteY153" fmla="*/ 1881015 h 1978172"/>
              <a:gd name="connsiteX154" fmla="*/ 3900992 w 10768629"/>
              <a:gd name="connsiteY154" fmla="*/ 1880603 h 1978172"/>
              <a:gd name="connsiteX155" fmla="*/ 3662119 w 10768629"/>
              <a:gd name="connsiteY155" fmla="*/ 1876289 h 1978172"/>
              <a:gd name="connsiteX156" fmla="*/ 3496919 w 10768629"/>
              <a:gd name="connsiteY156" fmla="*/ 1873180 h 1978172"/>
              <a:gd name="connsiteX157" fmla="*/ 3449433 w 10768629"/>
              <a:gd name="connsiteY157" fmla="*/ 1889681 h 1978172"/>
              <a:gd name="connsiteX158" fmla="*/ 3369766 w 10768629"/>
              <a:gd name="connsiteY158" fmla="*/ 1916653 h 1978172"/>
              <a:gd name="connsiteX159" fmla="*/ 3290336 w 10768629"/>
              <a:gd name="connsiteY159" fmla="*/ 1925039 h 1978172"/>
              <a:gd name="connsiteX160" fmla="*/ 3224897 w 10768629"/>
              <a:gd name="connsiteY160" fmla="*/ 1943733 h 1978172"/>
              <a:gd name="connsiteX161" fmla="*/ 3161463 w 10768629"/>
              <a:gd name="connsiteY161" fmla="*/ 1946591 h 1978172"/>
              <a:gd name="connsiteX162" fmla="*/ 3157504 w 10768629"/>
              <a:gd name="connsiteY162" fmla="*/ 1957276 h 1978172"/>
              <a:gd name="connsiteX163" fmla="*/ 3115176 w 10768629"/>
              <a:gd name="connsiteY163" fmla="*/ 1943459 h 1978172"/>
              <a:gd name="connsiteX164" fmla="*/ 3005773 w 10768629"/>
              <a:gd name="connsiteY164" fmla="*/ 1915878 h 1978172"/>
              <a:gd name="connsiteX165" fmla="*/ 2897201 w 10768629"/>
              <a:gd name="connsiteY165" fmla="*/ 1926772 h 1978172"/>
              <a:gd name="connsiteX166" fmla="*/ 2783891 w 10768629"/>
              <a:gd name="connsiteY166" fmla="*/ 1931749 h 1978172"/>
              <a:gd name="connsiteX167" fmla="*/ 2712447 w 10768629"/>
              <a:gd name="connsiteY167" fmla="*/ 1933044 h 1978172"/>
              <a:gd name="connsiteX168" fmla="*/ 2560151 w 10768629"/>
              <a:gd name="connsiteY168" fmla="*/ 1963609 h 1978172"/>
              <a:gd name="connsiteX169" fmla="*/ 2367221 w 10768629"/>
              <a:gd name="connsiteY169" fmla="*/ 1971884 h 1978172"/>
              <a:gd name="connsiteX170" fmla="*/ 2272130 w 10768629"/>
              <a:gd name="connsiteY170" fmla="*/ 1961162 h 1978172"/>
              <a:gd name="connsiteX171" fmla="*/ 2189404 w 10768629"/>
              <a:gd name="connsiteY171" fmla="*/ 1978172 h 1978172"/>
              <a:gd name="connsiteX172" fmla="*/ 2077704 w 10768629"/>
              <a:gd name="connsiteY172" fmla="*/ 1965002 h 1978172"/>
              <a:gd name="connsiteX173" fmla="*/ 1967996 w 10768629"/>
              <a:gd name="connsiteY173" fmla="*/ 1953187 h 1978172"/>
              <a:gd name="connsiteX174" fmla="*/ 1855805 w 10768629"/>
              <a:gd name="connsiteY174" fmla="*/ 1926082 h 1978172"/>
              <a:gd name="connsiteX175" fmla="*/ 1790957 w 10768629"/>
              <a:gd name="connsiteY175" fmla="*/ 1919460 h 1978172"/>
              <a:gd name="connsiteX176" fmla="*/ 1613978 w 10768629"/>
              <a:gd name="connsiteY176" fmla="*/ 1891581 h 1978172"/>
              <a:gd name="connsiteX177" fmla="*/ 1436831 w 10768629"/>
              <a:gd name="connsiteY177" fmla="*/ 1856201 h 1978172"/>
              <a:gd name="connsiteX178" fmla="*/ 1357365 w 10768629"/>
              <a:gd name="connsiteY178" fmla="*/ 1832140 h 1978172"/>
              <a:gd name="connsiteX179" fmla="*/ 1186881 w 10768629"/>
              <a:gd name="connsiteY179" fmla="*/ 1768613 h 1978172"/>
              <a:gd name="connsiteX180" fmla="*/ 1162595 w 10768629"/>
              <a:gd name="connsiteY180" fmla="*/ 1758337 h 1978172"/>
              <a:gd name="connsiteX181" fmla="*/ 1128523 w 10768629"/>
              <a:gd name="connsiteY181" fmla="*/ 1763621 h 1978172"/>
              <a:gd name="connsiteX182" fmla="*/ 991903 w 10768629"/>
              <a:gd name="connsiteY182" fmla="*/ 1786741 h 1978172"/>
              <a:gd name="connsiteX183" fmla="*/ 883960 w 10768629"/>
              <a:gd name="connsiteY183" fmla="*/ 1822386 h 1978172"/>
              <a:gd name="connsiteX184" fmla="*/ 766531 w 10768629"/>
              <a:gd name="connsiteY184" fmla="*/ 1805053 h 1978172"/>
              <a:gd name="connsiteX185" fmla="*/ 669779 w 10768629"/>
              <a:gd name="connsiteY185" fmla="*/ 1800537 h 1978172"/>
              <a:gd name="connsiteX186" fmla="*/ 523898 w 10768629"/>
              <a:gd name="connsiteY186" fmla="*/ 1811085 h 1978172"/>
              <a:gd name="connsiteX187" fmla="*/ 360251 w 10768629"/>
              <a:gd name="connsiteY187" fmla="*/ 1830735 h 1978172"/>
              <a:gd name="connsiteX188" fmla="*/ 255207 w 10768629"/>
              <a:gd name="connsiteY188" fmla="*/ 1818275 h 1978172"/>
              <a:gd name="connsiteX189" fmla="*/ 101803 w 10768629"/>
              <a:gd name="connsiteY189" fmla="*/ 1870647 h 1978172"/>
              <a:gd name="connsiteX190" fmla="*/ 25397 w 10768629"/>
              <a:gd name="connsiteY190" fmla="*/ 1888443 h 1978172"/>
              <a:gd name="connsiteX191" fmla="*/ 2370 w 10768629"/>
              <a:gd name="connsiteY191" fmla="*/ 1878311 h 1978172"/>
              <a:gd name="connsiteX192" fmla="*/ 0 w 10768629"/>
              <a:gd name="connsiteY192" fmla="*/ 1878785 h 1978172"/>
              <a:gd name="connsiteX193" fmla="*/ 0 w 10768629"/>
              <a:gd name="connsiteY193" fmla="*/ 0 h 1978172"/>
              <a:gd name="connsiteX0" fmla="*/ 0 w 10768629"/>
              <a:gd name="connsiteY0" fmla="*/ 0 h 1978172"/>
              <a:gd name="connsiteX1" fmla="*/ 10768629 w 10768629"/>
              <a:gd name="connsiteY1" fmla="*/ 0 h 1978172"/>
              <a:gd name="connsiteX2" fmla="*/ 10733254 w 10768629"/>
              <a:gd name="connsiteY2" fmla="*/ 31439 h 1978172"/>
              <a:gd name="connsiteX3" fmla="*/ 10727085 w 10768629"/>
              <a:gd name="connsiteY3" fmla="*/ 37910 h 1978172"/>
              <a:gd name="connsiteX4" fmla="*/ 10675953 w 10768629"/>
              <a:gd name="connsiteY4" fmla="*/ 68623 h 1978172"/>
              <a:gd name="connsiteX5" fmla="*/ 10637091 w 10768629"/>
              <a:gd name="connsiteY5" fmla="*/ 90361 h 1978172"/>
              <a:gd name="connsiteX6" fmla="*/ 10610971 w 10768629"/>
              <a:gd name="connsiteY6" fmla="*/ 110764 h 1978172"/>
              <a:gd name="connsiteX7" fmla="*/ 10532872 w 10768629"/>
              <a:gd name="connsiteY7" fmla="*/ 138028 h 1978172"/>
              <a:gd name="connsiteX8" fmla="*/ 10398558 w 10768629"/>
              <a:gd name="connsiteY8" fmla="*/ 172911 h 1978172"/>
              <a:gd name="connsiteX9" fmla="*/ 10371128 w 10768629"/>
              <a:gd name="connsiteY9" fmla="*/ 182609 h 1978172"/>
              <a:gd name="connsiteX10" fmla="*/ 10352178 w 10768629"/>
              <a:gd name="connsiteY10" fmla="*/ 199976 h 1978172"/>
              <a:gd name="connsiteX11" fmla="*/ 10351815 w 10768629"/>
              <a:gd name="connsiteY11" fmla="*/ 211879 h 1978172"/>
              <a:gd name="connsiteX12" fmla="*/ 10337471 w 10768629"/>
              <a:gd name="connsiteY12" fmla="*/ 218661 h 1978172"/>
              <a:gd name="connsiteX13" fmla="*/ 10334625 w 10768629"/>
              <a:gd name="connsiteY13" fmla="*/ 222351 h 1978172"/>
              <a:gd name="connsiteX14" fmla="*/ 10256365 w 10768629"/>
              <a:gd name="connsiteY14" fmla="*/ 235917 h 1978172"/>
              <a:gd name="connsiteX15" fmla="*/ 10201127 w 10768629"/>
              <a:gd name="connsiteY15" fmla="*/ 267448 h 1978172"/>
              <a:gd name="connsiteX16" fmla="*/ 9961218 w 10768629"/>
              <a:gd name="connsiteY16" fmla="*/ 326720 h 1978172"/>
              <a:gd name="connsiteX17" fmla="*/ 9859715 w 10768629"/>
              <a:gd name="connsiteY17" fmla="*/ 355698 h 1978172"/>
              <a:gd name="connsiteX18" fmla="*/ 9679867 w 10768629"/>
              <a:gd name="connsiteY18" fmla="*/ 399081 h 1978172"/>
              <a:gd name="connsiteX19" fmla="*/ 9490654 w 10768629"/>
              <a:gd name="connsiteY19" fmla="*/ 455225 h 1978172"/>
              <a:gd name="connsiteX20" fmla="*/ 9470837 w 10768629"/>
              <a:gd name="connsiteY20" fmla="*/ 452539 h 1978172"/>
              <a:gd name="connsiteX21" fmla="*/ 9469082 w 10768629"/>
              <a:gd name="connsiteY21" fmla="*/ 454891 h 1978172"/>
              <a:gd name="connsiteX22" fmla="*/ 9448038 w 10768629"/>
              <a:gd name="connsiteY22" fmla="*/ 459733 h 1978172"/>
              <a:gd name="connsiteX23" fmla="*/ 9396821 w 10768629"/>
              <a:gd name="connsiteY23" fmla="*/ 455795 h 1978172"/>
              <a:gd name="connsiteX24" fmla="*/ 9392197 w 10768629"/>
              <a:gd name="connsiteY24" fmla="*/ 459796 h 1978172"/>
              <a:gd name="connsiteX25" fmla="*/ 9347994 w 10768629"/>
              <a:gd name="connsiteY25" fmla="*/ 464462 h 1978172"/>
              <a:gd name="connsiteX26" fmla="*/ 9347889 w 10768629"/>
              <a:gd name="connsiteY26" fmla="*/ 466539 h 1978172"/>
              <a:gd name="connsiteX27" fmla="*/ 9337639 w 10768629"/>
              <a:gd name="connsiteY27" fmla="*/ 476654 h 1978172"/>
              <a:gd name="connsiteX28" fmla="*/ 9316893 w 10768629"/>
              <a:gd name="connsiteY28" fmla="*/ 491390 h 1978172"/>
              <a:gd name="connsiteX29" fmla="*/ 9229283 w 10768629"/>
              <a:gd name="connsiteY29" fmla="*/ 555377 h 1978172"/>
              <a:gd name="connsiteX30" fmla="*/ 9220274 w 10768629"/>
              <a:gd name="connsiteY30" fmla="*/ 557502 h 1978172"/>
              <a:gd name="connsiteX31" fmla="*/ 9220202 w 10768629"/>
              <a:gd name="connsiteY31" fmla="*/ 558001 h 1978172"/>
              <a:gd name="connsiteX32" fmla="*/ 9210908 w 10768629"/>
              <a:gd name="connsiteY32" fmla="*/ 561147 h 1978172"/>
              <a:gd name="connsiteX33" fmla="*/ 9186374 w 10768629"/>
              <a:gd name="connsiteY33" fmla="*/ 565502 h 1978172"/>
              <a:gd name="connsiteX34" fmla="*/ 9181058 w 10768629"/>
              <a:gd name="connsiteY34" fmla="*/ 569943 h 1978172"/>
              <a:gd name="connsiteX35" fmla="*/ 9179948 w 10768629"/>
              <a:gd name="connsiteY35" fmla="*/ 576062 h 1978172"/>
              <a:gd name="connsiteX36" fmla="*/ 9149110 w 10768629"/>
              <a:gd name="connsiteY36" fmla="*/ 598906 h 1978172"/>
              <a:gd name="connsiteX37" fmla="*/ 9078556 w 10768629"/>
              <a:gd name="connsiteY37" fmla="*/ 644039 h 1978172"/>
              <a:gd name="connsiteX38" fmla="*/ 8996399 w 10768629"/>
              <a:gd name="connsiteY38" fmla="*/ 690055 h 1978172"/>
              <a:gd name="connsiteX39" fmla="*/ 8803791 w 10768629"/>
              <a:gd name="connsiteY39" fmla="*/ 813860 h 1978172"/>
              <a:gd name="connsiteX40" fmla="*/ 8636202 w 10768629"/>
              <a:gd name="connsiteY40" fmla="*/ 848463 h 1978172"/>
              <a:gd name="connsiteX41" fmla="*/ 8555372 w 10768629"/>
              <a:gd name="connsiteY41" fmla="*/ 883171 h 1978172"/>
              <a:gd name="connsiteX42" fmla="*/ 8507229 w 10768629"/>
              <a:gd name="connsiteY42" fmla="*/ 901665 h 1978172"/>
              <a:gd name="connsiteX43" fmla="*/ 8428473 w 10768629"/>
              <a:gd name="connsiteY43" fmla="*/ 927985 h 1978172"/>
              <a:gd name="connsiteX44" fmla="*/ 8427914 w 10768629"/>
              <a:gd name="connsiteY44" fmla="*/ 933480 h 1978172"/>
              <a:gd name="connsiteX45" fmla="*/ 8420327 w 10768629"/>
              <a:gd name="connsiteY45" fmla="*/ 941984 h 1978172"/>
              <a:gd name="connsiteX46" fmla="*/ 8407128 w 10768629"/>
              <a:gd name="connsiteY46" fmla="*/ 961344 h 1978172"/>
              <a:gd name="connsiteX47" fmla="*/ 8380548 w 10768629"/>
              <a:gd name="connsiteY47" fmla="*/ 987916 h 1978172"/>
              <a:gd name="connsiteX48" fmla="*/ 8379462 w 10768629"/>
              <a:gd name="connsiteY48" fmla="*/ 987106 h 1978172"/>
              <a:gd name="connsiteX49" fmla="*/ 8369725 w 10768629"/>
              <a:gd name="connsiteY49" fmla="*/ 989186 h 1978172"/>
              <a:gd name="connsiteX50" fmla="*/ 8304438 w 10768629"/>
              <a:gd name="connsiteY50" fmla="*/ 996739 h 1978172"/>
              <a:gd name="connsiteX51" fmla="*/ 8280929 w 10768629"/>
              <a:gd name="connsiteY51" fmla="*/ 1023089 h 1978172"/>
              <a:gd name="connsiteX52" fmla="*/ 8275760 w 10768629"/>
              <a:gd name="connsiteY52" fmla="*/ 1027772 h 1978172"/>
              <a:gd name="connsiteX53" fmla="*/ 8275478 w 10768629"/>
              <a:gd name="connsiteY53" fmla="*/ 1027605 h 1978172"/>
              <a:gd name="connsiteX54" fmla="*/ 8269666 w 10768629"/>
              <a:gd name="connsiteY54" fmla="*/ 1032033 h 1978172"/>
              <a:gd name="connsiteX55" fmla="*/ 8203836 w 10768629"/>
              <a:gd name="connsiteY55" fmla="*/ 1037347 h 1978172"/>
              <a:gd name="connsiteX56" fmla="*/ 8122936 w 10768629"/>
              <a:gd name="connsiteY56" fmla="*/ 1063113 h 1978172"/>
              <a:gd name="connsiteX57" fmla="*/ 8043658 w 10768629"/>
              <a:gd name="connsiteY57" fmla="*/ 1092746 h 1978172"/>
              <a:gd name="connsiteX58" fmla="*/ 8015351 w 10768629"/>
              <a:gd name="connsiteY58" fmla="*/ 1105478 h 1978172"/>
              <a:gd name="connsiteX59" fmla="*/ 7963145 w 10768629"/>
              <a:gd name="connsiteY59" fmla="*/ 1119346 h 1978172"/>
              <a:gd name="connsiteX60" fmla="*/ 7938145 w 10768629"/>
              <a:gd name="connsiteY60" fmla="*/ 1120225 h 1978172"/>
              <a:gd name="connsiteX61" fmla="*/ 7937238 w 10768629"/>
              <a:gd name="connsiteY61" fmla="*/ 1121204 h 1978172"/>
              <a:gd name="connsiteX62" fmla="*/ 7934398 w 10768629"/>
              <a:gd name="connsiteY62" fmla="*/ 1118240 h 1978172"/>
              <a:gd name="connsiteX63" fmla="*/ 7918248 w 10768629"/>
              <a:gd name="connsiteY63" fmla="*/ 1124371 h 1978172"/>
              <a:gd name="connsiteX64" fmla="*/ 7914119 w 10768629"/>
              <a:gd name="connsiteY64" fmla="*/ 1127653 h 1978172"/>
              <a:gd name="connsiteX65" fmla="*/ 7907658 w 10768629"/>
              <a:gd name="connsiteY65" fmla="*/ 1130350 h 1978172"/>
              <a:gd name="connsiteX66" fmla="*/ 7907434 w 10768629"/>
              <a:gd name="connsiteY66" fmla="*/ 1130103 h 1978172"/>
              <a:gd name="connsiteX67" fmla="*/ 7901508 w 10768629"/>
              <a:gd name="connsiteY67" fmla="*/ 1133245 h 1978172"/>
              <a:gd name="connsiteX68" fmla="*/ 7873287 w 10768629"/>
              <a:gd name="connsiteY68" fmla="*/ 1152609 h 1978172"/>
              <a:gd name="connsiteX69" fmla="*/ 7834833 w 10768629"/>
              <a:gd name="connsiteY69" fmla="*/ 1153868 h 1978172"/>
              <a:gd name="connsiteX70" fmla="*/ 7828661 w 10768629"/>
              <a:gd name="connsiteY70" fmla="*/ 1139994 h 1978172"/>
              <a:gd name="connsiteX71" fmla="*/ 7823966 w 10768629"/>
              <a:gd name="connsiteY71" fmla="*/ 1143178 h 1978172"/>
              <a:gd name="connsiteX72" fmla="*/ 7815078 w 10768629"/>
              <a:gd name="connsiteY72" fmla="*/ 1151776 h 1978172"/>
              <a:gd name="connsiteX73" fmla="*/ 7812026 w 10768629"/>
              <a:gd name="connsiteY73" fmla="*/ 1151522 h 1978172"/>
              <a:gd name="connsiteX74" fmla="*/ 7782249 w 10768629"/>
              <a:gd name="connsiteY74" fmla="*/ 1160970 h 1978172"/>
              <a:gd name="connsiteX75" fmla="*/ 7773476 w 10768629"/>
              <a:gd name="connsiteY75" fmla="*/ 1157414 h 1978172"/>
              <a:gd name="connsiteX76" fmla="*/ 7769600 w 10768629"/>
              <a:gd name="connsiteY76" fmla="*/ 1157365 h 1978172"/>
              <a:gd name="connsiteX77" fmla="*/ 7752631 w 10768629"/>
              <a:gd name="connsiteY77" fmla="*/ 1172815 h 1978172"/>
              <a:gd name="connsiteX78" fmla="*/ 7743525 w 10768629"/>
              <a:gd name="connsiteY78" fmla="*/ 1179064 h 1978172"/>
              <a:gd name="connsiteX79" fmla="*/ 7685942 w 10768629"/>
              <a:gd name="connsiteY79" fmla="*/ 1233723 h 1978172"/>
              <a:gd name="connsiteX80" fmla="*/ 7586920 w 10768629"/>
              <a:gd name="connsiteY80" fmla="*/ 1261888 h 1978172"/>
              <a:gd name="connsiteX81" fmla="*/ 7486100 w 10768629"/>
              <a:gd name="connsiteY81" fmla="*/ 1292563 h 1978172"/>
              <a:gd name="connsiteX82" fmla="*/ 7407190 w 10768629"/>
              <a:gd name="connsiteY82" fmla="*/ 1314737 h 1978172"/>
              <a:gd name="connsiteX83" fmla="*/ 7240698 w 10768629"/>
              <a:gd name="connsiteY83" fmla="*/ 1438832 h 1978172"/>
              <a:gd name="connsiteX84" fmla="*/ 7197675 w 10768629"/>
              <a:gd name="connsiteY84" fmla="*/ 1447530 h 1978172"/>
              <a:gd name="connsiteX85" fmla="*/ 7164788 w 10768629"/>
              <a:gd name="connsiteY85" fmla="*/ 1480293 h 1978172"/>
              <a:gd name="connsiteX86" fmla="*/ 7147929 w 10768629"/>
              <a:gd name="connsiteY86" fmla="*/ 1477641 h 1978172"/>
              <a:gd name="connsiteX87" fmla="*/ 7144965 w 10768629"/>
              <a:gd name="connsiteY87" fmla="*/ 1476908 h 1978172"/>
              <a:gd name="connsiteX88" fmla="*/ 7134299 w 10768629"/>
              <a:gd name="connsiteY88" fmla="*/ 1479969 h 1978172"/>
              <a:gd name="connsiteX89" fmla="*/ 7129809 w 10768629"/>
              <a:gd name="connsiteY89" fmla="*/ 1473339 h 1978172"/>
              <a:gd name="connsiteX90" fmla="*/ 7112688 w 10768629"/>
              <a:gd name="connsiteY90" fmla="*/ 1472575 h 1978172"/>
              <a:gd name="connsiteX91" fmla="*/ 7093470 w 10768629"/>
              <a:gd name="connsiteY91" fmla="*/ 1480300 h 1978172"/>
              <a:gd name="connsiteX92" fmla="*/ 7025034 w 10768629"/>
              <a:gd name="connsiteY92" fmla="*/ 1506934 h 1978172"/>
              <a:gd name="connsiteX93" fmla="*/ 7014783 w 10768629"/>
              <a:gd name="connsiteY93" fmla="*/ 1515868 h 1978172"/>
              <a:gd name="connsiteX94" fmla="*/ 6979706 w 10768629"/>
              <a:gd name="connsiteY94" fmla="*/ 1523511 h 1978172"/>
              <a:gd name="connsiteX95" fmla="*/ 6977890 w 10768629"/>
              <a:gd name="connsiteY95" fmla="*/ 1525793 h 1978172"/>
              <a:gd name="connsiteX96" fmla="*/ 6944339 w 10768629"/>
              <a:gd name="connsiteY96" fmla="*/ 1536237 h 1978172"/>
              <a:gd name="connsiteX97" fmla="*/ 6886996 w 10768629"/>
              <a:gd name="connsiteY97" fmla="*/ 1563569 h 1978172"/>
              <a:gd name="connsiteX98" fmla="*/ 6874510 w 10768629"/>
              <a:gd name="connsiteY98" fmla="*/ 1558469 h 1978172"/>
              <a:gd name="connsiteX99" fmla="*/ 6871943 w 10768629"/>
              <a:gd name="connsiteY99" fmla="*/ 1554651 h 1978172"/>
              <a:gd name="connsiteX100" fmla="*/ 6856174 w 10768629"/>
              <a:gd name="connsiteY100" fmla="*/ 1562024 h 1978172"/>
              <a:gd name="connsiteX101" fmla="*/ 6842321 w 10768629"/>
              <a:gd name="connsiteY101" fmla="*/ 1560554 h 1978172"/>
              <a:gd name="connsiteX102" fmla="*/ 6832713 w 10768629"/>
              <a:gd name="connsiteY102" fmla="*/ 1569357 h 1978172"/>
              <a:gd name="connsiteX103" fmla="*/ 6816351 w 10768629"/>
              <a:gd name="connsiteY103" fmla="*/ 1571495 h 1978172"/>
              <a:gd name="connsiteX104" fmla="*/ 6795800 w 10768629"/>
              <a:gd name="connsiteY104" fmla="*/ 1572010 h 1978172"/>
              <a:gd name="connsiteX105" fmla="*/ 6777546 w 10768629"/>
              <a:gd name="connsiteY105" fmla="*/ 1568661 h 1978172"/>
              <a:gd name="connsiteX106" fmla="*/ 6751528 w 10768629"/>
              <a:gd name="connsiteY106" fmla="*/ 1574143 h 1978172"/>
              <a:gd name="connsiteX107" fmla="*/ 6691966 w 10768629"/>
              <a:gd name="connsiteY107" fmla="*/ 1582255 h 1978172"/>
              <a:gd name="connsiteX108" fmla="*/ 6646941 w 10768629"/>
              <a:gd name="connsiteY108" fmla="*/ 1588471 h 1978172"/>
              <a:gd name="connsiteX109" fmla="*/ 6568576 w 10768629"/>
              <a:gd name="connsiteY109" fmla="*/ 1606488 h 1978172"/>
              <a:gd name="connsiteX110" fmla="*/ 6554358 w 10768629"/>
              <a:gd name="connsiteY110" fmla="*/ 1621701 h 1978172"/>
              <a:gd name="connsiteX111" fmla="*/ 6516968 w 10768629"/>
              <a:gd name="connsiteY111" fmla="*/ 1617195 h 1978172"/>
              <a:gd name="connsiteX112" fmla="*/ 6506479 w 10768629"/>
              <a:gd name="connsiteY112" fmla="*/ 1602227 h 1978172"/>
              <a:gd name="connsiteX113" fmla="*/ 6458436 w 10768629"/>
              <a:gd name="connsiteY113" fmla="*/ 1607332 h 1978172"/>
              <a:gd name="connsiteX114" fmla="*/ 6414786 w 10768629"/>
              <a:gd name="connsiteY114" fmla="*/ 1628815 h 1978172"/>
              <a:gd name="connsiteX115" fmla="*/ 6357085 w 10768629"/>
              <a:gd name="connsiteY115" fmla="*/ 1640846 h 1978172"/>
              <a:gd name="connsiteX116" fmla="*/ 6322636 w 10768629"/>
              <a:gd name="connsiteY116" fmla="*/ 1648213 h 1978172"/>
              <a:gd name="connsiteX117" fmla="*/ 6226172 w 10768629"/>
              <a:gd name="connsiteY117" fmla="*/ 1654676 h 1978172"/>
              <a:gd name="connsiteX118" fmla="*/ 6221217 w 10768629"/>
              <a:gd name="connsiteY118" fmla="*/ 1654506 h 1978172"/>
              <a:gd name="connsiteX119" fmla="*/ 6204956 w 10768629"/>
              <a:gd name="connsiteY119" fmla="*/ 1664280 h 1978172"/>
              <a:gd name="connsiteX120" fmla="*/ 6204270 w 10768629"/>
              <a:gd name="connsiteY120" fmla="*/ 1666782 h 1978172"/>
              <a:gd name="connsiteX121" fmla="*/ 6143810 w 10768629"/>
              <a:gd name="connsiteY121" fmla="*/ 1661963 h 1978172"/>
              <a:gd name="connsiteX122" fmla="*/ 6136560 w 10768629"/>
              <a:gd name="connsiteY122" fmla="*/ 1665728 h 1978172"/>
              <a:gd name="connsiteX123" fmla="*/ 6096155 w 10768629"/>
              <a:gd name="connsiteY123" fmla="*/ 1656951 h 1978172"/>
              <a:gd name="connsiteX124" fmla="*/ 6075812 w 10768629"/>
              <a:gd name="connsiteY124" fmla="*/ 1655422 h 1978172"/>
              <a:gd name="connsiteX125" fmla="*/ 6039495 w 10768629"/>
              <a:gd name="connsiteY125" fmla="*/ 1649680 h 1978172"/>
              <a:gd name="connsiteX126" fmla="*/ 6036523 w 10768629"/>
              <a:gd name="connsiteY126" fmla="*/ 1652121 h 1978172"/>
              <a:gd name="connsiteX127" fmla="*/ 6029328 w 10768629"/>
              <a:gd name="connsiteY127" fmla="*/ 1649904 h 1978172"/>
              <a:gd name="connsiteX128" fmla="*/ 6024075 w 10768629"/>
              <a:gd name="connsiteY128" fmla="*/ 1652779 h 1978172"/>
              <a:gd name="connsiteX129" fmla="*/ 6018085 w 10768629"/>
              <a:gd name="connsiteY129" fmla="*/ 1652030 h 1978172"/>
              <a:gd name="connsiteX130" fmla="*/ 5955513 w 10768629"/>
              <a:gd name="connsiteY130" fmla="*/ 1663584 h 1978172"/>
              <a:gd name="connsiteX131" fmla="*/ 5941996 w 10768629"/>
              <a:gd name="connsiteY131" fmla="*/ 1661326 h 1978172"/>
              <a:gd name="connsiteX132" fmla="*/ 5931789 w 10768629"/>
              <a:gd name="connsiteY132" fmla="*/ 1669915 h 1978172"/>
              <a:gd name="connsiteX133" fmla="*/ 5888686 w 10768629"/>
              <a:gd name="connsiteY133" fmla="*/ 1672175 h 1978172"/>
              <a:gd name="connsiteX134" fmla="*/ 5873794 w 10768629"/>
              <a:gd name="connsiteY134" fmla="*/ 1665454 h 1978172"/>
              <a:gd name="connsiteX135" fmla="*/ 5860022 w 10768629"/>
              <a:gd name="connsiteY135" fmla="*/ 1660635 h 1978172"/>
              <a:gd name="connsiteX136" fmla="*/ 5858237 w 10768629"/>
              <a:gd name="connsiteY136" fmla="*/ 1660649 h 1978172"/>
              <a:gd name="connsiteX137" fmla="*/ 5840319 w 10768629"/>
              <a:gd name="connsiteY137" fmla="*/ 1660798 h 1978172"/>
              <a:gd name="connsiteX138" fmla="*/ 5806984 w 10768629"/>
              <a:gd name="connsiteY138" fmla="*/ 1661075 h 1978172"/>
              <a:gd name="connsiteX139" fmla="*/ 5742351 w 10768629"/>
              <a:gd name="connsiteY139" fmla="*/ 1667489 h 1978172"/>
              <a:gd name="connsiteX140" fmla="*/ 5521171 w 10768629"/>
              <a:gd name="connsiteY140" fmla="*/ 1671626 h 1978172"/>
              <a:gd name="connsiteX141" fmla="*/ 5457384 w 10768629"/>
              <a:gd name="connsiteY141" fmla="*/ 1683952 h 1978172"/>
              <a:gd name="connsiteX142" fmla="*/ 4950070 w 10768629"/>
              <a:gd name="connsiteY142" fmla="*/ 1748401 h 1978172"/>
              <a:gd name="connsiteX143" fmla="*/ 4872172 w 10768629"/>
              <a:gd name="connsiteY143" fmla="*/ 1757222 h 1978172"/>
              <a:gd name="connsiteX144" fmla="*/ 4809524 w 10768629"/>
              <a:gd name="connsiteY144" fmla="*/ 1761033 h 1978172"/>
              <a:gd name="connsiteX145" fmla="*/ 4759058 w 10768629"/>
              <a:gd name="connsiteY145" fmla="*/ 1766533 h 1978172"/>
              <a:gd name="connsiteX146" fmla="*/ 4719749 w 10768629"/>
              <a:gd name="connsiteY146" fmla="*/ 1771811 h 1978172"/>
              <a:gd name="connsiteX147" fmla="*/ 4568686 w 10768629"/>
              <a:gd name="connsiteY147" fmla="*/ 1786141 h 1978172"/>
              <a:gd name="connsiteX148" fmla="*/ 4418751 w 10768629"/>
              <a:gd name="connsiteY148" fmla="*/ 1796932 h 1978172"/>
              <a:gd name="connsiteX149" fmla="*/ 4378377 w 10768629"/>
              <a:gd name="connsiteY149" fmla="*/ 1815528 h 1978172"/>
              <a:gd name="connsiteX150" fmla="*/ 4320575 w 10768629"/>
              <a:gd name="connsiteY150" fmla="*/ 1832722 h 1978172"/>
              <a:gd name="connsiteX151" fmla="*/ 4220200 w 10768629"/>
              <a:gd name="connsiteY151" fmla="*/ 1873173 h 1978172"/>
              <a:gd name="connsiteX152" fmla="*/ 4105361 w 10768629"/>
              <a:gd name="connsiteY152" fmla="*/ 1894711 h 1978172"/>
              <a:gd name="connsiteX153" fmla="*/ 3973223 w 10768629"/>
              <a:gd name="connsiteY153" fmla="*/ 1881015 h 1978172"/>
              <a:gd name="connsiteX154" fmla="*/ 3900992 w 10768629"/>
              <a:gd name="connsiteY154" fmla="*/ 1880603 h 1978172"/>
              <a:gd name="connsiteX155" fmla="*/ 3662119 w 10768629"/>
              <a:gd name="connsiteY155" fmla="*/ 1876289 h 1978172"/>
              <a:gd name="connsiteX156" fmla="*/ 3496919 w 10768629"/>
              <a:gd name="connsiteY156" fmla="*/ 1873180 h 1978172"/>
              <a:gd name="connsiteX157" fmla="*/ 3449433 w 10768629"/>
              <a:gd name="connsiteY157" fmla="*/ 1889681 h 1978172"/>
              <a:gd name="connsiteX158" fmla="*/ 3369766 w 10768629"/>
              <a:gd name="connsiteY158" fmla="*/ 1916653 h 1978172"/>
              <a:gd name="connsiteX159" fmla="*/ 3290336 w 10768629"/>
              <a:gd name="connsiteY159" fmla="*/ 1925039 h 1978172"/>
              <a:gd name="connsiteX160" fmla="*/ 3224897 w 10768629"/>
              <a:gd name="connsiteY160" fmla="*/ 1943733 h 1978172"/>
              <a:gd name="connsiteX161" fmla="*/ 3161463 w 10768629"/>
              <a:gd name="connsiteY161" fmla="*/ 1946591 h 1978172"/>
              <a:gd name="connsiteX162" fmla="*/ 3157504 w 10768629"/>
              <a:gd name="connsiteY162" fmla="*/ 1957276 h 1978172"/>
              <a:gd name="connsiteX163" fmla="*/ 3115176 w 10768629"/>
              <a:gd name="connsiteY163" fmla="*/ 1943459 h 1978172"/>
              <a:gd name="connsiteX164" fmla="*/ 3005773 w 10768629"/>
              <a:gd name="connsiteY164" fmla="*/ 1915878 h 1978172"/>
              <a:gd name="connsiteX165" fmla="*/ 2897201 w 10768629"/>
              <a:gd name="connsiteY165" fmla="*/ 1926772 h 1978172"/>
              <a:gd name="connsiteX166" fmla="*/ 2783891 w 10768629"/>
              <a:gd name="connsiteY166" fmla="*/ 1931749 h 1978172"/>
              <a:gd name="connsiteX167" fmla="*/ 2712447 w 10768629"/>
              <a:gd name="connsiteY167" fmla="*/ 1933044 h 1978172"/>
              <a:gd name="connsiteX168" fmla="*/ 2560151 w 10768629"/>
              <a:gd name="connsiteY168" fmla="*/ 1963609 h 1978172"/>
              <a:gd name="connsiteX169" fmla="*/ 2367221 w 10768629"/>
              <a:gd name="connsiteY169" fmla="*/ 1971884 h 1978172"/>
              <a:gd name="connsiteX170" fmla="*/ 2272130 w 10768629"/>
              <a:gd name="connsiteY170" fmla="*/ 1961162 h 1978172"/>
              <a:gd name="connsiteX171" fmla="*/ 2189404 w 10768629"/>
              <a:gd name="connsiteY171" fmla="*/ 1978172 h 1978172"/>
              <a:gd name="connsiteX172" fmla="*/ 2077704 w 10768629"/>
              <a:gd name="connsiteY172" fmla="*/ 1965002 h 1978172"/>
              <a:gd name="connsiteX173" fmla="*/ 1967996 w 10768629"/>
              <a:gd name="connsiteY173" fmla="*/ 1953187 h 1978172"/>
              <a:gd name="connsiteX174" fmla="*/ 1855805 w 10768629"/>
              <a:gd name="connsiteY174" fmla="*/ 1926082 h 1978172"/>
              <a:gd name="connsiteX175" fmla="*/ 1790957 w 10768629"/>
              <a:gd name="connsiteY175" fmla="*/ 1919460 h 1978172"/>
              <a:gd name="connsiteX176" fmla="*/ 1613978 w 10768629"/>
              <a:gd name="connsiteY176" fmla="*/ 1891581 h 1978172"/>
              <a:gd name="connsiteX177" fmla="*/ 1436831 w 10768629"/>
              <a:gd name="connsiteY177" fmla="*/ 1856201 h 1978172"/>
              <a:gd name="connsiteX178" fmla="*/ 1357365 w 10768629"/>
              <a:gd name="connsiteY178" fmla="*/ 1832140 h 1978172"/>
              <a:gd name="connsiteX179" fmla="*/ 1186881 w 10768629"/>
              <a:gd name="connsiteY179" fmla="*/ 1768613 h 1978172"/>
              <a:gd name="connsiteX180" fmla="*/ 1162595 w 10768629"/>
              <a:gd name="connsiteY180" fmla="*/ 1758337 h 1978172"/>
              <a:gd name="connsiteX181" fmla="*/ 1128523 w 10768629"/>
              <a:gd name="connsiteY181" fmla="*/ 1763621 h 1978172"/>
              <a:gd name="connsiteX182" fmla="*/ 991903 w 10768629"/>
              <a:gd name="connsiteY182" fmla="*/ 1786741 h 1978172"/>
              <a:gd name="connsiteX183" fmla="*/ 883960 w 10768629"/>
              <a:gd name="connsiteY183" fmla="*/ 1822386 h 1978172"/>
              <a:gd name="connsiteX184" fmla="*/ 766531 w 10768629"/>
              <a:gd name="connsiteY184" fmla="*/ 1805053 h 1978172"/>
              <a:gd name="connsiteX185" fmla="*/ 669779 w 10768629"/>
              <a:gd name="connsiteY185" fmla="*/ 1800537 h 1978172"/>
              <a:gd name="connsiteX186" fmla="*/ 523898 w 10768629"/>
              <a:gd name="connsiteY186" fmla="*/ 1811085 h 1978172"/>
              <a:gd name="connsiteX187" fmla="*/ 360251 w 10768629"/>
              <a:gd name="connsiteY187" fmla="*/ 1830735 h 1978172"/>
              <a:gd name="connsiteX188" fmla="*/ 255207 w 10768629"/>
              <a:gd name="connsiteY188" fmla="*/ 1818275 h 1978172"/>
              <a:gd name="connsiteX189" fmla="*/ 101803 w 10768629"/>
              <a:gd name="connsiteY189" fmla="*/ 1870647 h 1978172"/>
              <a:gd name="connsiteX190" fmla="*/ 25397 w 10768629"/>
              <a:gd name="connsiteY190" fmla="*/ 1888443 h 1978172"/>
              <a:gd name="connsiteX191" fmla="*/ 2370 w 10768629"/>
              <a:gd name="connsiteY191" fmla="*/ 1878311 h 1978172"/>
              <a:gd name="connsiteX192" fmla="*/ 0 w 10768629"/>
              <a:gd name="connsiteY192" fmla="*/ 1878785 h 1978172"/>
              <a:gd name="connsiteX193" fmla="*/ 0 w 10768629"/>
              <a:gd name="connsiteY193" fmla="*/ 0 h 1978172"/>
              <a:gd name="connsiteX0" fmla="*/ 0 w 10768629"/>
              <a:gd name="connsiteY0" fmla="*/ 0 h 1978172"/>
              <a:gd name="connsiteX1" fmla="*/ 10768629 w 10768629"/>
              <a:gd name="connsiteY1" fmla="*/ 0 h 1978172"/>
              <a:gd name="connsiteX2" fmla="*/ 10733254 w 10768629"/>
              <a:gd name="connsiteY2" fmla="*/ 31439 h 1978172"/>
              <a:gd name="connsiteX3" fmla="*/ 10727085 w 10768629"/>
              <a:gd name="connsiteY3" fmla="*/ 37910 h 1978172"/>
              <a:gd name="connsiteX4" fmla="*/ 10675953 w 10768629"/>
              <a:gd name="connsiteY4" fmla="*/ 68623 h 1978172"/>
              <a:gd name="connsiteX5" fmla="*/ 10637091 w 10768629"/>
              <a:gd name="connsiteY5" fmla="*/ 90361 h 1978172"/>
              <a:gd name="connsiteX6" fmla="*/ 10610971 w 10768629"/>
              <a:gd name="connsiteY6" fmla="*/ 110764 h 1978172"/>
              <a:gd name="connsiteX7" fmla="*/ 10532872 w 10768629"/>
              <a:gd name="connsiteY7" fmla="*/ 138028 h 1978172"/>
              <a:gd name="connsiteX8" fmla="*/ 10398558 w 10768629"/>
              <a:gd name="connsiteY8" fmla="*/ 172911 h 1978172"/>
              <a:gd name="connsiteX9" fmla="*/ 10371128 w 10768629"/>
              <a:gd name="connsiteY9" fmla="*/ 182609 h 1978172"/>
              <a:gd name="connsiteX10" fmla="*/ 10352178 w 10768629"/>
              <a:gd name="connsiteY10" fmla="*/ 199976 h 1978172"/>
              <a:gd name="connsiteX11" fmla="*/ 10351815 w 10768629"/>
              <a:gd name="connsiteY11" fmla="*/ 211879 h 1978172"/>
              <a:gd name="connsiteX12" fmla="*/ 10337471 w 10768629"/>
              <a:gd name="connsiteY12" fmla="*/ 218661 h 1978172"/>
              <a:gd name="connsiteX13" fmla="*/ 10334625 w 10768629"/>
              <a:gd name="connsiteY13" fmla="*/ 222351 h 1978172"/>
              <a:gd name="connsiteX14" fmla="*/ 10256365 w 10768629"/>
              <a:gd name="connsiteY14" fmla="*/ 235917 h 1978172"/>
              <a:gd name="connsiteX15" fmla="*/ 10201127 w 10768629"/>
              <a:gd name="connsiteY15" fmla="*/ 267448 h 1978172"/>
              <a:gd name="connsiteX16" fmla="*/ 9961218 w 10768629"/>
              <a:gd name="connsiteY16" fmla="*/ 326720 h 1978172"/>
              <a:gd name="connsiteX17" fmla="*/ 9859715 w 10768629"/>
              <a:gd name="connsiteY17" fmla="*/ 355698 h 1978172"/>
              <a:gd name="connsiteX18" fmla="*/ 9679867 w 10768629"/>
              <a:gd name="connsiteY18" fmla="*/ 399081 h 1978172"/>
              <a:gd name="connsiteX19" fmla="*/ 9490654 w 10768629"/>
              <a:gd name="connsiteY19" fmla="*/ 455225 h 1978172"/>
              <a:gd name="connsiteX20" fmla="*/ 9470837 w 10768629"/>
              <a:gd name="connsiteY20" fmla="*/ 452539 h 1978172"/>
              <a:gd name="connsiteX21" fmla="*/ 9469082 w 10768629"/>
              <a:gd name="connsiteY21" fmla="*/ 454891 h 1978172"/>
              <a:gd name="connsiteX22" fmla="*/ 9448038 w 10768629"/>
              <a:gd name="connsiteY22" fmla="*/ 459733 h 1978172"/>
              <a:gd name="connsiteX23" fmla="*/ 9396821 w 10768629"/>
              <a:gd name="connsiteY23" fmla="*/ 455795 h 1978172"/>
              <a:gd name="connsiteX24" fmla="*/ 9392197 w 10768629"/>
              <a:gd name="connsiteY24" fmla="*/ 459796 h 1978172"/>
              <a:gd name="connsiteX25" fmla="*/ 9347994 w 10768629"/>
              <a:gd name="connsiteY25" fmla="*/ 464462 h 1978172"/>
              <a:gd name="connsiteX26" fmla="*/ 9347889 w 10768629"/>
              <a:gd name="connsiteY26" fmla="*/ 466539 h 1978172"/>
              <a:gd name="connsiteX27" fmla="*/ 9337639 w 10768629"/>
              <a:gd name="connsiteY27" fmla="*/ 476654 h 1978172"/>
              <a:gd name="connsiteX28" fmla="*/ 9316893 w 10768629"/>
              <a:gd name="connsiteY28" fmla="*/ 491390 h 1978172"/>
              <a:gd name="connsiteX29" fmla="*/ 9229283 w 10768629"/>
              <a:gd name="connsiteY29" fmla="*/ 555377 h 1978172"/>
              <a:gd name="connsiteX30" fmla="*/ 9220274 w 10768629"/>
              <a:gd name="connsiteY30" fmla="*/ 557502 h 1978172"/>
              <a:gd name="connsiteX31" fmla="*/ 9220202 w 10768629"/>
              <a:gd name="connsiteY31" fmla="*/ 558001 h 1978172"/>
              <a:gd name="connsiteX32" fmla="*/ 9210908 w 10768629"/>
              <a:gd name="connsiteY32" fmla="*/ 561147 h 1978172"/>
              <a:gd name="connsiteX33" fmla="*/ 9186374 w 10768629"/>
              <a:gd name="connsiteY33" fmla="*/ 565502 h 1978172"/>
              <a:gd name="connsiteX34" fmla="*/ 9181058 w 10768629"/>
              <a:gd name="connsiteY34" fmla="*/ 569943 h 1978172"/>
              <a:gd name="connsiteX35" fmla="*/ 9179948 w 10768629"/>
              <a:gd name="connsiteY35" fmla="*/ 576062 h 1978172"/>
              <a:gd name="connsiteX36" fmla="*/ 9149110 w 10768629"/>
              <a:gd name="connsiteY36" fmla="*/ 598906 h 1978172"/>
              <a:gd name="connsiteX37" fmla="*/ 9078556 w 10768629"/>
              <a:gd name="connsiteY37" fmla="*/ 644039 h 1978172"/>
              <a:gd name="connsiteX38" fmla="*/ 8996399 w 10768629"/>
              <a:gd name="connsiteY38" fmla="*/ 690055 h 1978172"/>
              <a:gd name="connsiteX39" fmla="*/ 8803791 w 10768629"/>
              <a:gd name="connsiteY39" fmla="*/ 813860 h 1978172"/>
              <a:gd name="connsiteX40" fmla="*/ 8636202 w 10768629"/>
              <a:gd name="connsiteY40" fmla="*/ 848463 h 1978172"/>
              <a:gd name="connsiteX41" fmla="*/ 8555372 w 10768629"/>
              <a:gd name="connsiteY41" fmla="*/ 883171 h 1978172"/>
              <a:gd name="connsiteX42" fmla="*/ 8507229 w 10768629"/>
              <a:gd name="connsiteY42" fmla="*/ 901665 h 1978172"/>
              <a:gd name="connsiteX43" fmla="*/ 8428473 w 10768629"/>
              <a:gd name="connsiteY43" fmla="*/ 927985 h 1978172"/>
              <a:gd name="connsiteX44" fmla="*/ 8427914 w 10768629"/>
              <a:gd name="connsiteY44" fmla="*/ 933480 h 1978172"/>
              <a:gd name="connsiteX45" fmla="*/ 8420327 w 10768629"/>
              <a:gd name="connsiteY45" fmla="*/ 941984 h 1978172"/>
              <a:gd name="connsiteX46" fmla="*/ 8407128 w 10768629"/>
              <a:gd name="connsiteY46" fmla="*/ 961344 h 1978172"/>
              <a:gd name="connsiteX47" fmla="*/ 8380548 w 10768629"/>
              <a:gd name="connsiteY47" fmla="*/ 987916 h 1978172"/>
              <a:gd name="connsiteX48" fmla="*/ 8379462 w 10768629"/>
              <a:gd name="connsiteY48" fmla="*/ 987106 h 1978172"/>
              <a:gd name="connsiteX49" fmla="*/ 8369725 w 10768629"/>
              <a:gd name="connsiteY49" fmla="*/ 989186 h 1978172"/>
              <a:gd name="connsiteX50" fmla="*/ 8304438 w 10768629"/>
              <a:gd name="connsiteY50" fmla="*/ 996739 h 1978172"/>
              <a:gd name="connsiteX51" fmla="*/ 8280929 w 10768629"/>
              <a:gd name="connsiteY51" fmla="*/ 1023089 h 1978172"/>
              <a:gd name="connsiteX52" fmla="*/ 8275760 w 10768629"/>
              <a:gd name="connsiteY52" fmla="*/ 1027772 h 1978172"/>
              <a:gd name="connsiteX53" fmla="*/ 8275478 w 10768629"/>
              <a:gd name="connsiteY53" fmla="*/ 1027605 h 1978172"/>
              <a:gd name="connsiteX54" fmla="*/ 8269666 w 10768629"/>
              <a:gd name="connsiteY54" fmla="*/ 1032033 h 1978172"/>
              <a:gd name="connsiteX55" fmla="*/ 8203836 w 10768629"/>
              <a:gd name="connsiteY55" fmla="*/ 1037347 h 1978172"/>
              <a:gd name="connsiteX56" fmla="*/ 8122936 w 10768629"/>
              <a:gd name="connsiteY56" fmla="*/ 1063113 h 1978172"/>
              <a:gd name="connsiteX57" fmla="*/ 8043658 w 10768629"/>
              <a:gd name="connsiteY57" fmla="*/ 1092746 h 1978172"/>
              <a:gd name="connsiteX58" fmla="*/ 8015351 w 10768629"/>
              <a:gd name="connsiteY58" fmla="*/ 1105478 h 1978172"/>
              <a:gd name="connsiteX59" fmla="*/ 7963145 w 10768629"/>
              <a:gd name="connsiteY59" fmla="*/ 1119346 h 1978172"/>
              <a:gd name="connsiteX60" fmla="*/ 7938145 w 10768629"/>
              <a:gd name="connsiteY60" fmla="*/ 1120225 h 1978172"/>
              <a:gd name="connsiteX61" fmla="*/ 7937238 w 10768629"/>
              <a:gd name="connsiteY61" fmla="*/ 1121204 h 1978172"/>
              <a:gd name="connsiteX62" fmla="*/ 7934398 w 10768629"/>
              <a:gd name="connsiteY62" fmla="*/ 1118240 h 1978172"/>
              <a:gd name="connsiteX63" fmla="*/ 7918248 w 10768629"/>
              <a:gd name="connsiteY63" fmla="*/ 1124371 h 1978172"/>
              <a:gd name="connsiteX64" fmla="*/ 7914119 w 10768629"/>
              <a:gd name="connsiteY64" fmla="*/ 1127653 h 1978172"/>
              <a:gd name="connsiteX65" fmla="*/ 7907658 w 10768629"/>
              <a:gd name="connsiteY65" fmla="*/ 1130350 h 1978172"/>
              <a:gd name="connsiteX66" fmla="*/ 7907434 w 10768629"/>
              <a:gd name="connsiteY66" fmla="*/ 1130103 h 1978172"/>
              <a:gd name="connsiteX67" fmla="*/ 7901508 w 10768629"/>
              <a:gd name="connsiteY67" fmla="*/ 1133245 h 1978172"/>
              <a:gd name="connsiteX68" fmla="*/ 7873287 w 10768629"/>
              <a:gd name="connsiteY68" fmla="*/ 1152609 h 1978172"/>
              <a:gd name="connsiteX69" fmla="*/ 7834833 w 10768629"/>
              <a:gd name="connsiteY69" fmla="*/ 1153868 h 1978172"/>
              <a:gd name="connsiteX70" fmla="*/ 7828661 w 10768629"/>
              <a:gd name="connsiteY70" fmla="*/ 1139994 h 1978172"/>
              <a:gd name="connsiteX71" fmla="*/ 7823966 w 10768629"/>
              <a:gd name="connsiteY71" fmla="*/ 1143178 h 1978172"/>
              <a:gd name="connsiteX72" fmla="*/ 7815078 w 10768629"/>
              <a:gd name="connsiteY72" fmla="*/ 1151776 h 1978172"/>
              <a:gd name="connsiteX73" fmla="*/ 7812026 w 10768629"/>
              <a:gd name="connsiteY73" fmla="*/ 1151522 h 1978172"/>
              <a:gd name="connsiteX74" fmla="*/ 7782249 w 10768629"/>
              <a:gd name="connsiteY74" fmla="*/ 1160970 h 1978172"/>
              <a:gd name="connsiteX75" fmla="*/ 7773476 w 10768629"/>
              <a:gd name="connsiteY75" fmla="*/ 1157414 h 1978172"/>
              <a:gd name="connsiteX76" fmla="*/ 7769600 w 10768629"/>
              <a:gd name="connsiteY76" fmla="*/ 1157365 h 1978172"/>
              <a:gd name="connsiteX77" fmla="*/ 7752631 w 10768629"/>
              <a:gd name="connsiteY77" fmla="*/ 1172815 h 1978172"/>
              <a:gd name="connsiteX78" fmla="*/ 7743525 w 10768629"/>
              <a:gd name="connsiteY78" fmla="*/ 1179064 h 1978172"/>
              <a:gd name="connsiteX79" fmla="*/ 7685942 w 10768629"/>
              <a:gd name="connsiteY79" fmla="*/ 1233723 h 1978172"/>
              <a:gd name="connsiteX80" fmla="*/ 7586920 w 10768629"/>
              <a:gd name="connsiteY80" fmla="*/ 1261888 h 1978172"/>
              <a:gd name="connsiteX81" fmla="*/ 7486100 w 10768629"/>
              <a:gd name="connsiteY81" fmla="*/ 1292563 h 1978172"/>
              <a:gd name="connsiteX82" fmla="*/ 7407190 w 10768629"/>
              <a:gd name="connsiteY82" fmla="*/ 1314737 h 1978172"/>
              <a:gd name="connsiteX83" fmla="*/ 7240698 w 10768629"/>
              <a:gd name="connsiteY83" fmla="*/ 1438832 h 1978172"/>
              <a:gd name="connsiteX84" fmla="*/ 7197675 w 10768629"/>
              <a:gd name="connsiteY84" fmla="*/ 1447530 h 1978172"/>
              <a:gd name="connsiteX85" fmla="*/ 7164788 w 10768629"/>
              <a:gd name="connsiteY85" fmla="*/ 1480293 h 1978172"/>
              <a:gd name="connsiteX86" fmla="*/ 7147929 w 10768629"/>
              <a:gd name="connsiteY86" fmla="*/ 1477641 h 1978172"/>
              <a:gd name="connsiteX87" fmla="*/ 7144965 w 10768629"/>
              <a:gd name="connsiteY87" fmla="*/ 1476908 h 1978172"/>
              <a:gd name="connsiteX88" fmla="*/ 7134299 w 10768629"/>
              <a:gd name="connsiteY88" fmla="*/ 1479969 h 1978172"/>
              <a:gd name="connsiteX89" fmla="*/ 7129809 w 10768629"/>
              <a:gd name="connsiteY89" fmla="*/ 1473339 h 1978172"/>
              <a:gd name="connsiteX90" fmla="*/ 7112688 w 10768629"/>
              <a:gd name="connsiteY90" fmla="*/ 1472575 h 1978172"/>
              <a:gd name="connsiteX91" fmla="*/ 7093470 w 10768629"/>
              <a:gd name="connsiteY91" fmla="*/ 1480300 h 1978172"/>
              <a:gd name="connsiteX92" fmla="*/ 7025034 w 10768629"/>
              <a:gd name="connsiteY92" fmla="*/ 1506934 h 1978172"/>
              <a:gd name="connsiteX93" fmla="*/ 7014783 w 10768629"/>
              <a:gd name="connsiteY93" fmla="*/ 1515868 h 1978172"/>
              <a:gd name="connsiteX94" fmla="*/ 6979706 w 10768629"/>
              <a:gd name="connsiteY94" fmla="*/ 1523511 h 1978172"/>
              <a:gd name="connsiteX95" fmla="*/ 6977890 w 10768629"/>
              <a:gd name="connsiteY95" fmla="*/ 1525793 h 1978172"/>
              <a:gd name="connsiteX96" fmla="*/ 6944339 w 10768629"/>
              <a:gd name="connsiteY96" fmla="*/ 1536237 h 1978172"/>
              <a:gd name="connsiteX97" fmla="*/ 6886996 w 10768629"/>
              <a:gd name="connsiteY97" fmla="*/ 1563569 h 1978172"/>
              <a:gd name="connsiteX98" fmla="*/ 6874510 w 10768629"/>
              <a:gd name="connsiteY98" fmla="*/ 1558469 h 1978172"/>
              <a:gd name="connsiteX99" fmla="*/ 6871943 w 10768629"/>
              <a:gd name="connsiteY99" fmla="*/ 1554651 h 1978172"/>
              <a:gd name="connsiteX100" fmla="*/ 6856174 w 10768629"/>
              <a:gd name="connsiteY100" fmla="*/ 1562024 h 1978172"/>
              <a:gd name="connsiteX101" fmla="*/ 6842321 w 10768629"/>
              <a:gd name="connsiteY101" fmla="*/ 1560554 h 1978172"/>
              <a:gd name="connsiteX102" fmla="*/ 6832713 w 10768629"/>
              <a:gd name="connsiteY102" fmla="*/ 1569357 h 1978172"/>
              <a:gd name="connsiteX103" fmla="*/ 6816351 w 10768629"/>
              <a:gd name="connsiteY103" fmla="*/ 1571495 h 1978172"/>
              <a:gd name="connsiteX104" fmla="*/ 6795800 w 10768629"/>
              <a:gd name="connsiteY104" fmla="*/ 1572010 h 1978172"/>
              <a:gd name="connsiteX105" fmla="*/ 6777546 w 10768629"/>
              <a:gd name="connsiteY105" fmla="*/ 1568661 h 1978172"/>
              <a:gd name="connsiteX106" fmla="*/ 6751528 w 10768629"/>
              <a:gd name="connsiteY106" fmla="*/ 1574143 h 1978172"/>
              <a:gd name="connsiteX107" fmla="*/ 6691966 w 10768629"/>
              <a:gd name="connsiteY107" fmla="*/ 1582255 h 1978172"/>
              <a:gd name="connsiteX108" fmla="*/ 6646941 w 10768629"/>
              <a:gd name="connsiteY108" fmla="*/ 1588471 h 1978172"/>
              <a:gd name="connsiteX109" fmla="*/ 6568576 w 10768629"/>
              <a:gd name="connsiteY109" fmla="*/ 1606488 h 1978172"/>
              <a:gd name="connsiteX110" fmla="*/ 6554358 w 10768629"/>
              <a:gd name="connsiteY110" fmla="*/ 1621701 h 1978172"/>
              <a:gd name="connsiteX111" fmla="*/ 6516968 w 10768629"/>
              <a:gd name="connsiteY111" fmla="*/ 1617195 h 1978172"/>
              <a:gd name="connsiteX112" fmla="*/ 6506479 w 10768629"/>
              <a:gd name="connsiteY112" fmla="*/ 1602227 h 1978172"/>
              <a:gd name="connsiteX113" fmla="*/ 6458436 w 10768629"/>
              <a:gd name="connsiteY113" fmla="*/ 1607332 h 1978172"/>
              <a:gd name="connsiteX114" fmla="*/ 6414786 w 10768629"/>
              <a:gd name="connsiteY114" fmla="*/ 1628815 h 1978172"/>
              <a:gd name="connsiteX115" fmla="*/ 6357085 w 10768629"/>
              <a:gd name="connsiteY115" fmla="*/ 1640846 h 1978172"/>
              <a:gd name="connsiteX116" fmla="*/ 6322636 w 10768629"/>
              <a:gd name="connsiteY116" fmla="*/ 1648213 h 1978172"/>
              <a:gd name="connsiteX117" fmla="*/ 6226172 w 10768629"/>
              <a:gd name="connsiteY117" fmla="*/ 1654676 h 1978172"/>
              <a:gd name="connsiteX118" fmla="*/ 6221217 w 10768629"/>
              <a:gd name="connsiteY118" fmla="*/ 1654506 h 1978172"/>
              <a:gd name="connsiteX119" fmla="*/ 6204956 w 10768629"/>
              <a:gd name="connsiteY119" fmla="*/ 1664280 h 1978172"/>
              <a:gd name="connsiteX120" fmla="*/ 6204270 w 10768629"/>
              <a:gd name="connsiteY120" fmla="*/ 1666782 h 1978172"/>
              <a:gd name="connsiteX121" fmla="*/ 6143810 w 10768629"/>
              <a:gd name="connsiteY121" fmla="*/ 1661963 h 1978172"/>
              <a:gd name="connsiteX122" fmla="*/ 6136560 w 10768629"/>
              <a:gd name="connsiteY122" fmla="*/ 1665728 h 1978172"/>
              <a:gd name="connsiteX123" fmla="*/ 6096155 w 10768629"/>
              <a:gd name="connsiteY123" fmla="*/ 1656951 h 1978172"/>
              <a:gd name="connsiteX124" fmla="*/ 6075812 w 10768629"/>
              <a:gd name="connsiteY124" fmla="*/ 1655422 h 1978172"/>
              <a:gd name="connsiteX125" fmla="*/ 6039495 w 10768629"/>
              <a:gd name="connsiteY125" fmla="*/ 1649680 h 1978172"/>
              <a:gd name="connsiteX126" fmla="*/ 6036523 w 10768629"/>
              <a:gd name="connsiteY126" fmla="*/ 1652121 h 1978172"/>
              <a:gd name="connsiteX127" fmla="*/ 6029328 w 10768629"/>
              <a:gd name="connsiteY127" fmla="*/ 1649904 h 1978172"/>
              <a:gd name="connsiteX128" fmla="*/ 6024075 w 10768629"/>
              <a:gd name="connsiteY128" fmla="*/ 1652779 h 1978172"/>
              <a:gd name="connsiteX129" fmla="*/ 6018085 w 10768629"/>
              <a:gd name="connsiteY129" fmla="*/ 1652030 h 1978172"/>
              <a:gd name="connsiteX130" fmla="*/ 5955513 w 10768629"/>
              <a:gd name="connsiteY130" fmla="*/ 1663584 h 1978172"/>
              <a:gd name="connsiteX131" fmla="*/ 5941996 w 10768629"/>
              <a:gd name="connsiteY131" fmla="*/ 1661326 h 1978172"/>
              <a:gd name="connsiteX132" fmla="*/ 5931789 w 10768629"/>
              <a:gd name="connsiteY132" fmla="*/ 1669915 h 1978172"/>
              <a:gd name="connsiteX133" fmla="*/ 5888686 w 10768629"/>
              <a:gd name="connsiteY133" fmla="*/ 1672175 h 1978172"/>
              <a:gd name="connsiteX134" fmla="*/ 5873794 w 10768629"/>
              <a:gd name="connsiteY134" fmla="*/ 1665454 h 1978172"/>
              <a:gd name="connsiteX135" fmla="*/ 5860022 w 10768629"/>
              <a:gd name="connsiteY135" fmla="*/ 1660635 h 1978172"/>
              <a:gd name="connsiteX136" fmla="*/ 5858237 w 10768629"/>
              <a:gd name="connsiteY136" fmla="*/ 1660649 h 1978172"/>
              <a:gd name="connsiteX137" fmla="*/ 5840319 w 10768629"/>
              <a:gd name="connsiteY137" fmla="*/ 1660798 h 1978172"/>
              <a:gd name="connsiteX138" fmla="*/ 5806984 w 10768629"/>
              <a:gd name="connsiteY138" fmla="*/ 1661075 h 1978172"/>
              <a:gd name="connsiteX139" fmla="*/ 5742351 w 10768629"/>
              <a:gd name="connsiteY139" fmla="*/ 1667489 h 1978172"/>
              <a:gd name="connsiteX140" fmla="*/ 5521171 w 10768629"/>
              <a:gd name="connsiteY140" fmla="*/ 1671626 h 1978172"/>
              <a:gd name="connsiteX141" fmla="*/ 5457384 w 10768629"/>
              <a:gd name="connsiteY141" fmla="*/ 1683952 h 1978172"/>
              <a:gd name="connsiteX142" fmla="*/ 4950070 w 10768629"/>
              <a:gd name="connsiteY142" fmla="*/ 1748401 h 1978172"/>
              <a:gd name="connsiteX143" fmla="*/ 4872172 w 10768629"/>
              <a:gd name="connsiteY143" fmla="*/ 1757222 h 1978172"/>
              <a:gd name="connsiteX144" fmla="*/ 4809524 w 10768629"/>
              <a:gd name="connsiteY144" fmla="*/ 1761033 h 1978172"/>
              <a:gd name="connsiteX145" fmla="*/ 4759058 w 10768629"/>
              <a:gd name="connsiteY145" fmla="*/ 1766533 h 1978172"/>
              <a:gd name="connsiteX146" fmla="*/ 4719749 w 10768629"/>
              <a:gd name="connsiteY146" fmla="*/ 1771811 h 1978172"/>
              <a:gd name="connsiteX147" fmla="*/ 4568686 w 10768629"/>
              <a:gd name="connsiteY147" fmla="*/ 1786141 h 1978172"/>
              <a:gd name="connsiteX148" fmla="*/ 4418751 w 10768629"/>
              <a:gd name="connsiteY148" fmla="*/ 1796932 h 1978172"/>
              <a:gd name="connsiteX149" fmla="*/ 4378377 w 10768629"/>
              <a:gd name="connsiteY149" fmla="*/ 1815528 h 1978172"/>
              <a:gd name="connsiteX150" fmla="*/ 4320575 w 10768629"/>
              <a:gd name="connsiteY150" fmla="*/ 1832722 h 1978172"/>
              <a:gd name="connsiteX151" fmla="*/ 4220200 w 10768629"/>
              <a:gd name="connsiteY151" fmla="*/ 1873173 h 1978172"/>
              <a:gd name="connsiteX152" fmla="*/ 4105361 w 10768629"/>
              <a:gd name="connsiteY152" fmla="*/ 1894711 h 1978172"/>
              <a:gd name="connsiteX153" fmla="*/ 3973223 w 10768629"/>
              <a:gd name="connsiteY153" fmla="*/ 1881015 h 1978172"/>
              <a:gd name="connsiteX154" fmla="*/ 3900992 w 10768629"/>
              <a:gd name="connsiteY154" fmla="*/ 1880603 h 1978172"/>
              <a:gd name="connsiteX155" fmla="*/ 3662119 w 10768629"/>
              <a:gd name="connsiteY155" fmla="*/ 1876289 h 1978172"/>
              <a:gd name="connsiteX156" fmla="*/ 3496919 w 10768629"/>
              <a:gd name="connsiteY156" fmla="*/ 1873180 h 1978172"/>
              <a:gd name="connsiteX157" fmla="*/ 3449433 w 10768629"/>
              <a:gd name="connsiteY157" fmla="*/ 1889681 h 1978172"/>
              <a:gd name="connsiteX158" fmla="*/ 3369766 w 10768629"/>
              <a:gd name="connsiteY158" fmla="*/ 1916653 h 1978172"/>
              <a:gd name="connsiteX159" fmla="*/ 3290336 w 10768629"/>
              <a:gd name="connsiteY159" fmla="*/ 1925039 h 1978172"/>
              <a:gd name="connsiteX160" fmla="*/ 3224897 w 10768629"/>
              <a:gd name="connsiteY160" fmla="*/ 1943733 h 1978172"/>
              <a:gd name="connsiteX161" fmla="*/ 3161463 w 10768629"/>
              <a:gd name="connsiteY161" fmla="*/ 1946591 h 1978172"/>
              <a:gd name="connsiteX162" fmla="*/ 3157504 w 10768629"/>
              <a:gd name="connsiteY162" fmla="*/ 1957276 h 1978172"/>
              <a:gd name="connsiteX163" fmla="*/ 3115176 w 10768629"/>
              <a:gd name="connsiteY163" fmla="*/ 1943459 h 1978172"/>
              <a:gd name="connsiteX164" fmla="*/ 3005773 w 10768629"/>
              <a:gd name="connsiteY164" fmla="*/ 1915878 h 1978172"/>
              <a:gd name="connsiteX165" fmla="*/ 2897201 w 10768629"/>
              <a:gd name="connsiteY165" fmla="*/ 1926772 h 1978172"/>
              <a:gd name="connsiteX166" fmla="*/ 2783891 w 10768629"/>
              <a:gd name="connsiteY166" fmla="*/ 1931749 h 1978172"/>
              <a:gd name="connsiteX167" fmla="*/ 2712447 w 10768629"/>
              <a:gd name="connsiteY167" fmla="*/ 1933044 h 1978172"/>
              <a:gd name="connsiteX168" fmla="*/ 2560151 w 10768629"/>
              <a:gd name="connsiteY168" fmla="*/ 1963609 h 1978172"/>
              <a:gd name="connsiteX169" fmla="*/ 2367221 w 10768629"/>
              <a:gd name="connsiteY169" fmla="*/ 1971884 h 1978172"/>
              <a:gd name="connsiteX170" fmla="*/ 2272130 w 10768629"/>
              <a:gd name="connsiteY170" fmla="*/ 1961162 h 1978172"/>
              <a:gd name="connsiteX171" fmla="*/ 2189404 w 10768629"/>
              <a:gd name="connsiteY171" fmla="*/ 1978172 h 1978172"/>
              <a:gd name="connsiteX172" fmla="*/ 2077704 w 10768629"/>
              <a:gd name="connsiteY172" fmla="*/ 1965002 h 1978172"/>
              <a:gd name="connsiteX173" fmla="*/ 1967996 w 10768629"/>
              <a:gd name="connsiteY173" fmla="*/ 1953187 h 1978172"/>
              <a:gd name="connsiteX174" fmla="*/ 1855805 w 10768629"/>
              <a:gd name="connsiteY174" fmla="*/ 1926082 h 1978172"/>
              <a:gd name="connsiteX175" fmla="*/ 1790957 w 10768629"/>
              <a:gd name="connsiteY175" fmla="*/ 1919460 h 1978172"/>
              <a:gd name="connsiteX176" fmla="*/ 1613978 w 10768629"/>
              <a:gd name="connsiteY176" fmla="*/ 1891581 h 1978172"/>
              <a:gd name="connsiteX177" fmla="*/ 1436831 w 10768629"/>
              <a:gd name="connsiteY177" fmla="*/ 1856201 h 1978172"/>
              <a:gd name="connsiteX178" fmla="*/ 1357365 w 10768629"/>
              <a:gd name="connsiteY178" fmla="*/ 1832140 h 1978172"/>
              <a:gd name="connsiteX179" fmla="*/ 1232341 w 10768629"/>
              <a:gd name="connsiteY179" fmla="*/ 1785942 h 1978172"/>
              <a:gd name="connsiteX180" fmla="*/ 1162595 w 10768629"/>
              <a:gd name="connsiteY180" fmla="*/ 1758337 h 1978172"/>
              <a:gd name="connsiteX181" fmla="*/ 1128523 w 10768629"/>
              <a:gd name="connsiteY181" fmla="*/ 1763621 h 1978172"/>
              <a:gd name="connsiteX182" fmla="*/ 991903 w 10768629"/>
              <a:gd name="connsiteY182" fmla="*/ 1786741 h 1978172"/>
              <a:gd name="connsiteX183" fmla="*/ 883960 w 10768629"/>
              <a:gd name="connsiteY183" fmla="*/ 1822386 h 1978172"/>
              <a:gd name="connsiteX184" fmla="*/ 766531 w 10768629"/>
              <a:gd name="connsiteY184" fmla="*/ 1805053 h 1978172"/>
              <a:gd name="connsiteX185" fmla="*/ 669779 w 10768629"/>
              <a:gd name="connsiteY185" fmla="*/ 1800537 h 1978172"/>
              <a:gd name="connsiteX186" fmla="*/ 523898 w 10768629"/>
              <a:gd name="connsiteY186" fmla="*/ 1811085 h 1978172"/>
              <a:gd name="connsiteX187" fmla="*/ 360251 w 10768629"/>
              <a:gd name="connsiteY187" fmla="*/ 1830735 h 1978172"/>
              <a:gd name="connsiteX188" fmla="*/ 255207 w 10768629"/>
              <a:gd name="connsiteY188" fmla="*/ 1818275 h 1978172"/>
              <a:gd name="connsiteX189" fmla="*/ 101803 w 10768629"/>
              <a:gd name="connsiteY189" fmla="*/ 1870647 h 1978172"/>
              <a:gd name="connsiteX190" fmla="*/ 25397 w 10768629"/>
              <a:gd name="connsiteY190" fmla="*/ 1888443 h 1978172"/>
              <a:gd name="connsiteX191" fmla="*/ 2370 w 10768629"/>
              <a:gd name="connsiteY191" fmla="*/ 1878311 h 1978172"/>
              <a:gd name="connsiteX192" fmla="*/ 0 w 10768629"/>
              <a:gd name="connsiteY192" fmla="*/ 1878785 h 1978172"/>
              <a:gd name="connsiteX193" fmla="*/ 0 w 10768629"/>
              <a:gd name="connsiteY193" fmla="*/ 0 h 1978172"/>
              <a:gd name="connsiteX0" fmla="*/ 0 w 10768629"/>
              <a:gd name="connsiteY0" fmla="*/ 0 h 1978172"/>
              <a:gd name="connsiteX1" fmla="*/ 10768629 w 10768629"/>
              <a:gd name="connsiteY1" fmla="*/ 0 h 1978172"/>
              <a:gd name="connsiteX2" fmla="*/ 10733254 w 10768629"/>
              <a:gd name="connsiteY2" fmla="*/ 31439 h 1978172"/>
              <a:gd name="connsiteX3" fmla="*/ 10727085 w 10768629"/>
              <a:gd name="connsiteY3" fmla="*/ 37910 h 1978172"/>
              <a:gd name="connsiteX4" fmla="*/ 10675953 w 10768629"/>
              <a:gd name="connsiteY4" fmla="*/ 68623 h 1978172"/>
              <a:gd name="connsiteX5" fmla="*/ 10637091 w 10768629"/>
              <a:gd name="connsiteY5" fmla="*/ 90361 h 1978172"/>
              <a:gd name="connsiteX6" fmla="*/ 10610971 w 10768629"/>
              <a:gd name="connsiteY6" fmla="*/ 110764 h 1978172"/>
              <a:gd name="connsiteX7" fmla="*/ 10532872 w 10768629"/>
              <a:gd name="connsiteY7" fmla="*/ 138028 h 1978172"/>
              <a:gd name="connsiteX8" fmla="*/ 10398558 w 10768629"/>
              <a:gd name="connsiteY8" fmla="*/ 172911 h 1978172"/>
              <a:gd name="connsiteX9" fmla="*/ 10371128 w 10768629"/>
              <a:gd name="connsiteY9" fmla="*/ 182609 h 1978172"/>
              <a:gd name="connsiteX10" fmla="*/ 10352178 w 10768629"/>
              <a:gd name="connsiteY10" fmla="*/ 199976 h 1978172"/>
              <a:gd name="connsiteX11" fmla="*/ 10351815 w 10768629"/>
              <a:gd name="connsiteY11" fmla="*/ 211879 h 1978172"/>
              <a:gd name="connsiteX12" fmla="*/ 10337471 w 10768629"/>
              <a:gd name="connsiteY12" fmla="*/ 218661 h 1978172"/>
              <a:gd name="connsiteX13" fmla="*/ 10334625 w 10768629"/>
              <a:gd name="connsiteY13" fmla="*/ 222351 h 1978172"/>
              <a:gd name="connsiteX14" fmla="*/ 10256365 w 10768629"/>
              <a:gd name="connsiteY14" fmla="*/ 235917 h 1978172"/>
              <a:gd name="connsiteX15" fmla="*/ 10201127 w 10768629"/>
              <a:gd name="connsiteY15" fmla="*/ 267448 h 1978172"/>
              <a:gd name="connsiteX16" fmla="*/ 9961218 w 10768629"/>
              <a:gd name="connsiteY16" fmla="*/ 326720 h 1978172"/>
              <a:gd name="connsiteX17" fmla="*/ 9859715 w 10768629"/>
              <a:gd name="connsiteY17" fmla="*/ 355698 h 1978172"/>
              <a:gd name="connsiteX18" fmla="*/ 9679867 w 10768629"/>
              <a:gd name="connsiteY18" fmla="*/ 399081 h 1978172"/>
              <a:gd name="connsiteX19" fmla="*/ 9490654 w 10768629"/>
              <a:gd name="connsiteY19" fmla="*/ 455225 h 1978172"/>
              <a:gd name="connsiteX20" fmla="*/ 9470837 w 10768629"/>
              <a:gd name="connsiteY20" fmla="*/ 452539 h 1978172"/>
              <a:gd name="connsiteX21" fmla="*/ 9469082 w 10768629"/>
              <a:gd name="connsiteY21" fmla="*/ 454891 h 1978172"/>
              <a:gd name="connsiteX22" fmla="*/ 9448038 w 10768629"/>
              <a:gd name="connsiteY22" fmla="*/ 459733 h 1978172"/>
              <a:gd name="connsiteX23" fmla="*/ 9396821 w 10768629"/>
              <a:gd name="connsiteY23" fmla="*/ 455795 h 1978172"/>
              <a:gd name="connsiteX24" fmla="*/ 9392197 w 10768629"/>
              <a:gd name="connsiteY24" fmla="*/ 459796 h 1978172"/>
              <a:gd name="connsiteX25" fmla="*/ 9347994 w 10768629"/>
              <a:gd name="connsiteY25" fmla="*/ 464462 h 1978172"/>
              <a:gd name="connsiteX26" fmla="*/ 9347889 w 10768629"/>
              <a:gd name="connsiteY26" fmla="*/ 466539 h 1978172"/>
              <a:gd name="connsiteX27" fmla="*/ 9337639 w 10768629"/>
              <a:gd name="connsiteY27" fmla="*/ 476654 h 1978172"/>
              <a:gd name="connsiteX28" fmla="*/ 9316893 w 10768629"/>
              <a:gd name="connsiteY28" fmla="*/ 491390 h 1978172"/>
              <a:gd name="connsiteX29" fmla="*/ 9229283 w 10768629"/>
              <a:gd name="connsiteY29" fmla="*/ 555377 h 1978172"/>
              <a:gd name="connsiteX30" fmla="*/ 9220274 w 10768629"/>
              <a:gd name="connsiteY30" fmla="*/ 557502 h 1978172"/>
              <a:gd name="connsiteX31" fmla="*/ 9220202 w 10768629"/>
              <a:gd name="connsiteY31" fmla="*/ 558001 h 1978172"/>
              <a:gd name="connsiteX32" fmla="*/ 9210908 w 10768629"/>
              <a:gd name="connsiteY32" fmla="*/ 561147 h 1978172"/>
              <a:gd name="connsiteX33" fmla="*/ 9186374 w 10768629"/>
              <a:gd name="connsiteY33" fmla="*/ 565502 h 1978172"/>
              <a:gd name="connsiteX34" fmla="*/ 9181058 w 10768629"/>
              <a:gd name="connsiteY34" fmla="*/ 569943 h 1978172"/>
              <a:gd name="connsiteX35" fmla="*/ 9179948 w 10768629"/>
              <a:gd name="connsiteY35" fmla="*/ 576062 h 1978172"/>
              <a:gd name="connsiteX36" fmla="*/ 9149110 w 10768629"/>
              <a:gd name="connsiteY36" fmla="*/ 598906 h 1978172"/>
              <a:gd name="connsiteX37" fmla="*/ 9078556 w 10768629"/>
              <a:gd name="connsiteY37" fmla="*/ 644039 h 1978172"/>
              <a:gd name="connsiteX38" fmla="*/ 8996399 w 10768629"/>
              <a:gd name="connsiteY38" fmla="*/ 690055 h 1978172"/>
              <a:gd name="connsiteX39" fmla="*/ 8803791 w 10768629"/>
              <a:gd name="connsiteY39" fmla="*/ 813860 h 1978172"/>
              <a:gd name="connsiteX40" fmla="*/ 8636202 w 10768629"/>
              <a:gd name="connsiteY40" fmla="*/ 848463 h 1978172"/>
              <a:gd name="connsiteX41" fmla="*/ 8555372 w 10768629"/>
              <a:gd name="connsiteY41" fmla="*/ 883171 h 1978172"/>
              <a:gd name="connsiteX42" fmla="*/ 8507229 w 10768629"/>
              <a:gd name="connsiteY42" fmla="*/ 901665 h 1978172"/>
              <a:gd name="connsiteX43" fmla="*/ 8428473 w 10768629"/>
              <a:gd name="connsiteY43" fmla="*/ 927985 h 1978172"/>
              <a:gd name="connsiteX44" fmla="*/ 8427914 w 10768629"/>
              <a:gd name="connsiteY44" fmla="*/ 933480 h 1978172"/>
              <a:gd name="connsiteX45" fmla="*/ 8420327 w 10768629"/>
              <a:gd name="connsiteY45" fmla="*/ 941984 h 1978172"/>
              <a:gd name="connsiteX46" fmla="*/ 8407128 w 10768629"/>
              <a:gd name="connsiteY46" fmla="*/ 961344 h 1978172"/>
              <a:gd name="connsiteX47" fmla="*/ 8380548 w 10768629"/>
              <a:gd name="connsiteY47" fmla="*/ 987916 h 1978172"/>
              <a:gd name="connsiteX48" fmla="*/ 8379462 w 10768629"/>
              <a:gd name="connsiteY48" fmla="*/ 987106 h 1978172"/>
              <a:gd name="connsiteX49" fmla="*/ 8369725 w 10768629"/>
              <a:gd name="connsiteY49" fmla="*/ 989186 h 1978172"/>
              <a:gd name="connsiteX50" fmla="*/ 8304438 w 10768629"/>
              <a:gd name="connsiteY50" fmla="*/ 996739 h 1978172"/>
              <a:gd name="connsiteX51" fmla="*/ 8280929 w 10768629"/>
              <a:gd name="connsiteY51" fmla="*/ 1023089 h 1978172"/>
              <a:gd name="connsiteX52" fmla="*/ 8275760 w 10768629"/>
              <a:gd name="connsiteY52" fmla="*/ 1027772 h 1978172"/>
              <a:gd name="connsiteX53" fmla="*/ 8275478 w 10768629"/>
              <a:gd name="connsiteY53" fmla="*/ 1027605 h 1978172"/>
              <a:gd name="connsiteX54" fmla="*/ 8269666 w 10768629"/>
              <a:gd name="connsiteY54" fmla="*/ 1032033 h 1978172"/>
              <a:gd name="connsiteX55" fmla="*/ 8203836 w 10768629"/>
              <a:gd name="connsiteY55" fmla="*/ 1037347 h 1978172"/>
              <a:gd name="connsiteX56" fmla="*/ 8122936 w 10768629"/>
              <a:gd name="connsiteY56" fmla="*/ 1063113 h 1978172"/>
              <a:gd name="connsiteX57" fmla="*/ 8043658 w 10768629"/>
              <a:gd name="connsiteY57" fmla="*/ 1092746 h 1978172"/>
              <a:gd name="connsiteX58" fmla="*/ 8015351 w 10768629"/>
              <a:gd name="connsiteY58" fmla="*/ 1105478 h 1978172"/>
              <a:gd name="connsiteX59" fmla="*/ 7963145 w 10768629"/>
              <a:gd name="connsiteY59" fmla="*/ 1119346 h 1978172"/>
              <a:gd name="connsiteX60" fmla="*/ 7938145 w 10768629"/>
              <a:gd name="connsiteY60" fmla="*/ 1120225 h 1978172"/>
              <a:gd name="connsiteX61" fmla="*/ 7937238 w 10768629"/>
              <a:gd name="connsiteY61" fmla="*/ 1121204 h 1978172"/>
              <a:gd name="connsiteX62" fmla="*/ 7934398 w 10768629"/>
              <a:gd name="connsiteY62" fmla="*/ 1118240 h 1978172"/>
              <a:gd name="connsiteX63" fmla="*/ 7918248 w 10768629"/>
              <a:gd name="connsiteY63" fmla="*/ 1124371 h 1978172"/>
              <a:gd name="connsiteX64" fmla="*/ 7914119 w 10768629"/>
              <a:gd name="connsiteY64" fmla="*/ 1127653 h 1978172"/>
              <a:gd name="connsiteX65" fmla="*/ 7907658 w 10768629"/>
              <a:gd name="connsiteY65" fmla="*/ 1130350 h 1978172"/>
              <a:gd name="connsiteX66" fmla="*/ 7907434 w 10768629"/>
              <a:gd name="connsiteY66" fmla="*/ 1130103 h 1978172"/>
              <a:gd name="connsiteX67" fmla="*/ 7901508 w 10768629"/>
              <a:gd name="connsiteY67" fmla="*/ 1133245 h 1978172"/>
              <a:gd name="connsiteX68" fmla="*/ 7873287 w 10768629"/>
              <a:gd name="connsiteY68" fmla="*/ 1152609 h 1978172"/>
              <a:gd name="connsiteX69" fmla="*/ 7834833 w 10768629"/>
              <a:gd name="connsiteY69" fmla="*/ 1153868 h 1978172"/>
              <a:gd name="connsiteX70" fmla="*/ 7828661 w 10768629"/>
              <a:gd name="connsiteY70" fmla="*/ 1139994 h 1978172"/>
              <a:gd name="connsiteX71" fmla="*/ 7823966 w 10768629"/>
              <a:gd name="connsiteY71" fmla="*/ 1143178 h 1978172"/>
              <a:gd name="connsiteX72" fmla="*/ 7815078 w 10768629"/>
              <a:gd name="connsiteY72" fmla="*/ 1151776 h 1978172"/>
              <a:gd name="connsiteX73" fmla="*/ 7812026 w 10768629"/>
              <a:gd name="connsiteY73" fmla="*/ 1151522 h 1978172"/>
              <a:gd name="connsiteX74" fmla="*/ 7782249 w 10768629"/>
              <a:gd name="connsiteY74" fmla="*/ 1160970 h 1978172"/>
              <a:gd name="connsiteX75" fmla="*/ 7773476 w 10768629"/>
              <a:gd name="connsiteY75" fmla="*/ 1157414 h 1978172"/>
              <a:gd name="connsiteX76" fmla="*/ 7769600 w 10768629"/>
              <a:gd name="connsiteY76" fmla="*/ 1157365 h 1978172"/>
              <a:gd name="connsiteX77" fmla="*/ 7752631 w 10768629"/>
              <a:gd name="connsiteY77" fmla="*/ 1172815 h 1978172"/>
              <a:gd name="connsiteX78" fmla="*/ 7743525 w 10768629"/>
              <a:gd name="connsiteY78" fmla="*/ 1179064 h 1978172"/>
              <a:gd name="connsiteX79" fmla="*/ 7685942 w 10768629"/>
              <a:gd name="connsiteY79" fmla="*/ 1233723 h 1978172"/>
              <a:gd name="connsiteX80" fmla="*/ 7586920 w 10768629"/>
              <a:gd name="connsiteY80" fmla="*/ 1261888 h 1978172"/>
              <a:gd name="connsiteX81" fmla="*/ 7486100 w 10768629"/>
              <a:gd name="connsiteY81" fmla="*/ 1292563 h 1978172"/>
              <a:gd name="connsiteX82" fmla="*/ 7407190 w 10768629"/>
              <a:gd name="connsiteY82" fmla="*/ 1314737 h 1978172"/>
              <a:gd name="connsiteX83" fmla="*/ 7240698 w 10768629"/>
              <a:gd name="connsiteY83" fmla="*/ 1438832 h 1978172"/>
              <a:gd name="connsiteX84" fmla="*/ 7197675 w 10768629"/>
              <a:gd name="connsiteY84" fmla="*/ 1447530 h 1978172"/>
              <a:gd name="connsiteX85" fmla="*/ 7164788 w 10768629"/>
              <a:gd name="connsiteY85" fmla="*/ 1480293 h 1978172"/>
              <a:gd name="connsiteX86" fmla="*/ 7147929 w 10768629"/>
              <a:gd name="connsiteY86" fmla="*/ 1477641 h 1978172"/>
              <a:gd name="connsiteX87" fmla="*/ 7144965 w 10768629"/>
              <a:gd name="connsiteY87" fmla="*/ 1476908 h 1978172"/>
              <a:gd name="connsiteX88" fmla="*/ 7134299 w 10768629"/>
              <a:gd name="connsiteY88" fmla="*/ 1479969 h 1978172"/>
              <a:gd name="connsiteX89" fmla="*/ 7129809 w 10768629"/>
              <a:gd name="connsiteY89" fmla="*/ 1473339 h 1978172"/>
              <a:gd name="connsiteX90" fmla="*/ 7112688 w 10768629"/>
              <a:gd name="connsiteY90" fmla="*/ 1472575 h 1978172"/>
              <a:gd name="connsiteX91" fmla="*/ 7093470 w 10768629"/>
              <a:gd name="connsiteY91" fmla="*/ 1480300 h 1978172"/>
              <a:gd name="connsiteX92" fmla="*/ 7025034 w 10768629"/>
              <a:gd name="connsiteY92" fmla="*/ 1506934 h 1978172"/>
              <a:gd name="connsiteX93" fmla="*/ 7014783 w 10768629"/>
              <a:gd name="connsiteY93" fmla="*/ 1515868 h 1978172"/>
              <a:gd name="connsiteX94" fmla="*/ 6979706 w 10768629"/>
              <a:gd name="connsiteY94" fmla="*/ 1523511 h 1978172"/>
              <a:gd name="connsiteX95" fmla="*/ 6977890 w 10768629"/>
              <a:gd name="connsiteY95" fmla="*/ 1525793 h 1978172"/>
              <a:gd name="connsiteX96" fmla="*/ 6944339 w 10768629"/>
              <a:gd name="connsiteY96" fmla="*/ 1536237 h 1978172"/>
              <a:gd name="connsiteX97" fmla="*/ 6886996 w 10768629"/>
              <a:gd name="connsiteY97" fmla="*/ 1563569 h 1978172"/>
              <a:gd name="connsiteX98" fmla="*/ 6874510 w 10768629"/>
              <a:gd name="connsiteY98" fmla="*/ 1558469 h 1978172"/>
              <a:gd name="connsiteX99" fmla="*/ 6871943 w 10768629"/>
              <a:gd name="connsiteY99" fmla="*/ 1554651 h 1978172"/>
              <a:gd name="connsiteX100" fmla="*/ 6856174 w 10768629"/>
              <a:gd name="connsiteY100" fmla="*/ 1562024 h 1978172"/>
              <a:gd name="connsiteX101" fmla="*/ 6842321 w 10768629"/>
              <a:gd name="connsiteY101" fmla="*/ 1560554 h 1978172"/>
              <a:gd name="connsiteX102" fmla="*/ 6832713 w 10768629"/>
              <a:gd name="connsiteY102" fmla="*/ 1569357 h 1978172"/>
              <a:gd name="connsiteX103" fmla="*/ 6816351 w 10768629"/>
              <a:gd name="connsiteY103" fmla="*/ 1571495 h 1978172"/>
              <a:gd name="connsiteX104" fmla="*/ 6795800 w 10768629"/>
              <a:gd name="connsiteY104" fmla="*/ 1572010 h 1978172"/>
              <a:gd name="connsiteX105" fmla="*/ 6777546 w 10768629"/>
              <a:gd name="connsiteY105" fmla="*/ 1568661 h 1978172"/>
              <a:gd name="connsiteX106" fmla="*/ 6751528 w 10768629"/>
              <a:gd name="connsiteY106" fmla="*/ 1574143 h 1978172"/>
              <a:gd name="connsiteX107" fmla="*/ 6691966 w 10768629"/>
              <a:gd name="connsiteY107" fmla="*/ 1582255 h 1978172"/>
              <a:gd name="connsiteX108" fmla="*/ 6646941 w 10768629"/>
              <a:gd name="connsiteY108" fmla="*/ 1588471 h 1978172"/>
              <a:gd name="connsiteX109" fmla="*/ 6568576 w 10768629"/>
              <a:gd name="connsiteY109" fmla="*/ 1606488 h 1978172"/>
              <a:gd name="connsiteX110" fmla="*/ 6554358 w 10768629"/>
              <a:gd name="connsiteY110" fmla="*/ 1621701 h 1978172"/>
              <a:gd name="connsiteX111" fmla="*/ 6516968 w 10768629"/>
              <a:gd name="connsiteY111" fmla="*/ 1617195 h 1978172"/>
              <a:gd name="connsiteX112" fmla="*/ 6506479 w 10768629"/>
              <a:gd name="connsiteY112" fmla="*/ 1602227 h 1978172"/>
              <a:gd name="connsiteX113" fmla="*/ 6458436 w 10768629"/>
              <a:gd name="connsiteY113" fmla="*/ 1607332 h 1978172"/>
              <a:gd name="connsiteX114" fmla="*/ 6414786 w 10768629"/>
              <a:gd name="connsiteY114" fmla="*/ 1628815 h 1978172"/>
              <a:gd name="connsiteX115" fmla="*/ 6357085 w 10768629"/>
              <a:gd name="connsiteY115" fmla="*/ 1640846 h 1978172"/>
              <a:gd name="connsiteX116" fmla="*/ 6322636 w 10768629"/>
              <a:gd name="connsiteY116" fmla="*/ 1648213 h 1978172"/>
              <a:gd name="connsiteX117" fmla="*/ 6226172 w 10768629"/>
              <a:gd name="connsiteY117" fmla="*/ 1654676 h 1978172"/>
              <a:gd name="connsiteX118" fmla="*/ 6221217 w 10768629"/>
              <a:gd name="connsiteY118" fmla="*/ 1654506 h 1978172"/>
              <a:gd name="connsiteX119" fmla="*/ 6204956 w 10768629"/>
              <a:gd name="connsiteY119" fmla="*/ 1664280 h 1978172"/>
              <a:gd name="connsiteX120" fmla="*/ 6204270 w 10768629"/>
              <a:gd name="connsiteY120" fmla="*/ 1666782 h 1978172"/>
              <a:gd name="connsiteX121" fmla="*/ 6143810 w 10768629"/>
              <a:gd name="connsiteY121" fmla="*/ 1661963 h 1978172"/>
              <a:gd name="connsiteX122" fmla="*/ 6136560 w 10768629"/>
              <a:gd name="connsiteY122" fmla="*/ 1665728 h 1978172"/>
              <a:gd name="connsiteX123" fmla="*/ 6096155 w 10768629"/>
              <a:gd name="connsiteY123" fmla="*/ 1656951 h 1978172"/>
              <a:gd name="connsiteX124" fmla="*/ 6075812 w 10768629"/>
              <a:gd name="connsiteY124" fmla="*/ 1655422 h 1978172"/>
              <a:gd name="connsiteX125" fmla="*/ 6039495 w 10768629"/>
              <a:gd name="connsiteY125" fmla="*/ 1649680 h 1978172"/>
              <a:gd name="connsiteX126" fmla="*/ 6036523 w 10768629"/>
              <a:gd name="connsiteY126" fmla="*/ 1652121 h 1978172"/>
              <a:gd name="connsiteX127" fmla="*/ 6029328 w 10768629"/>
              <a:gd name="connsiteY127" fmla="*/ 1649904 h 1978172"/>
              <a:gd name="connsiteX128" fmla="*/ 6024075 w 10768629"/>
              <a:gd name="connsiteY128" fmla="*/ 1652779 h 1978172"/>
              <a:gd name="connsiteX129" fmla="*/ 6018085 w 10768629"/>
              <a:gd name="connsiteY129" fmla="*/ 1652030 h 1978172"/>
              <a:gd name="connsiteX130" fmla="*/ 5955513 w 10768629"/>
              <a:gd name="connsiteY130" fmla="*/ 1663584 h 1978172"/>
              <a:gd name="connsiteX131" fmla="*/ 5941996 w 10768629"/>
              <a:gd name="connsiteY131" fmla="*/ 1661326 h 1978172"/>
              <a:gd name="connsiteX132" fmla="*/ 5931789 w 10768629"/>
              <a:gd name="connsiteY132" fmla="*/ 1669915 h 1978172"/>
              <a:gd name="connsiteX133" fmla="*/ 5888686 w 10768629"/>
              <a:gd name="connsiteY133" fmla="*/ 1672175 h 1978172"/>
              <a:gd name="connsiteX134" fmla="*/ 5873794 w 10768629"/>
              <a:gd name="connsiteY134" fmla="*/ 1665454 h 1978172"/>
              <a:gd name="connsiteX135" fmla="*/ 5860022 w 10768629"/>
              <a:gd name="connsiteY135" fmla="*/ 1660635 h 1978172"/>
              <a:gd name="connsiteX136" fmla="*/ 5858237 w 10768629"/>
              <a:gd name="connsiteY136" fmla="*/ 1660649 h 1978172"/>
              <a:gd name="connsiteX137" fmla="*/ 5840319 w 10768629"/>
              <a:gd name="connsiteY137" fmla="*/ 1660798 h 1978172"/>
              <a:gd name="connsiteX138" fmla="*/ 5806984 w 10768629"/>
              <a:gd name="connsiteY138" fmla="*/ 1661075 h 1978172"/>
              <a:gd name="connsiteX139" fmla="*/ 5742351 w 10768629"/>
              <a:gd name="connsiteY139" fmla="*/ 1667489 h 1978172"/>
              <a:gd name="connsiteX140" fmla="*/ 5521171 w 10768629"/>
              <a:gd name="connsiteY140" fmla="*/ 1671626 h 1978172"/>
              <a:gd name="connsiteX141" fmla="*/ 5457384 w 10768629"/>
              <a:gd name="connsiteY141" fmla="*/ 1683952 h 1978172"/>
              <a:gd name="connsiteX142" fmla="*/ 4950070 w 10768629"/>
              <a:gd name="connsiteY142" fmla="*/ 1748401 h 1978172"/>
              <a:gd name="connsiteX143" fmla="*/ 4872172 w 10768629"/>
              <a:gd name="connsiteY143" fmla="*/ 1757222 h 1978172"/>
              <a:gd name="connsiteX144" fmla="*/ 4809524 w 10768629"/>
              <a:gd name="connsiteY144" fmla="*/ 1761033 h 1978172"/>
              <a:gd name="connsiteX145" fmla="*/ 4759058 w 10768629"/>
              <a:gd name="connsiteY145" fmla="*/ 1766533 h 1978172"/>
              <a:gd name="connsiteX146" fmla="*/ 4719749 w 10768629"/>
              <a:gd name="connsiteY146" fmla="*/ 1771811 h 1978172"/>
              <a:gd name="connsiteX147" fmla="*/ 4568686 w 10768629"/>
              <a:gd name="connsiteY147" fmla="*/ 1786141 h 1978172"/>
              <a:gd name="connsiteX148" fmla="*/ 4418751 w 10768629"/>
              <a:gd name="connsiteY148" fmla="*/ 1796932 h 1978172"/>
              <a:gd name="connsiteX149" fmla="*/ 4378377 w 10768629"/>
              <a:gd name="connsiteY149" fmla="*/ 1815528 h 1978172"/>
              <a:gd name="connsiteX150" fmla="*/ 4320575 w 10768629"/>
              <a:gd name="connsiteY150" fmla="*/ 1832722 h 1978172"/>
              <a:gd name="connsiteX151" fmla="*/ 4220200 w 10768629"/>
              <a:gd name="connsiteY151" fmla="*/ 1873173 h 1978172"/>
              <a:gd name="connsiteX152" fmla="*/ 4105361 w 10768629"/>
              <a:gd name="connsiteY152" fmla="*/ 1894711 h 1978172"/>
              <a:gd name="connsiteX153" fmla="*/ 3973223 w 10768629"/>
              <a:gd name="connsiteY153" fmla="*/ 1881015 h 1978172"/>
              <a:gd name="connsiteX154" fmla="*/ 3900992 w 10768629"/>
              <a:gd name="connsiteY154" fmla="*/ 1880603 h 1978172"/>
              <a:gd name="connsiteX155" fmla="*/ 3662119 w 10768629"/>
              <a:gd name="connsiteY155" fmla="*/ 1876289 h 1978172"/>
              <a:gd name="connsiteX156" fmla="*/ 3496919 w 10768629"/>
              <a:gd name="connsiteY156" fmla="*/ 1873180 h 1978172"/>
              <a:gd name="connsiteX157" fmla="*/ 3449433 w 10768629"/>
              <a:gd name="connsiteY157" fmla="*/ 1889681 h 1978172"/>
              <a:gd name="connsiteX158" fmla="*/ 3369766 w 10768629"/>
              <a:gd name="connsiteY158" fmla="*/ 1916653 h 1978172"/>
              <a:gd name="connsiteX159" fmla="*/ 3290336 w 10768629"/>
              <a:gd name="connsiteY159" fmla="*/ 1925039 h 1978172"/>
              <a:gd name="connsiteX160" fmla="*/ 3224897 w 10768629"/>
              <a:gd name="connsiteY160" fmla="*/ 1943733 h 1978172"/>
              <a:gd name="connsiteX161" fmla="*/ 3161463 w 10768629"/>
              <a:gd name="connsiteY161" fmla="*/ 1946591 h 1978172"/>
              <a:gd name="connsiteX162" fmla="*/ 3157504 w 10768629"/>
              <a:gd name="connsiteY162" fmla="*/ 1957276 h 1978172"/>
              <a:gd name="connsiteX163" fmla="*/ 3115176 w 10768629"/>
              <a:gd name="connsiteY163" fmla="*/ 1943459 h 1978172"/>
              <a:gd name="connsiteX164" fmla="*/ 3005773 w 10768629"/>
              <a:gd name="connsiteY164" fmla="*/ 1915878 h 1978172"/>
              <a:gd name="connsiteX165" fmla="*/ 2897201 w 10768629"/>
              <a:gd name="connsiteY165" fmla="*/ 1926772 h 1978172"/>
              <a:gd name="connsiteX166" fmla="*/ 2783891 w 10768629"/>
              <a:gd name="connsiteY166" fmla="*/ 1931749 h 1978172"/>
              <a:gd name="connsiteX167" fmla="*/ 2712447 w 10768629"/>
              <a:gd name="connsiteY167" fmla="*/ 1933044 h 1978172"/>
              <a:gd name="connsiteX168" fmla="*/ 2560151 w 10768629"/>
              <a:gd name="connsiteY168" fmla="*/ 1963609 h 1978172"/>
              <a:gd name="connsiteX169" fmla="*/ 2367221 w 10768629"/>
              <a:gd name="connsiteY169" fmla="*/ 1971884 h 1978172"/>
              <a:gd name="connsiteX170" fmla="*/ 2272130 w 10768629"/>
              <a:gd name="connsiteY170" fmla="*/ 1961162 h 1978172"/>
              <a:gd name="connsiteX171" fmla="*/ 2189404 w 10768629"/>
              <a:gd name="connsiteY171" fmla="*/ 1978172 h 1978172"/>
              <a:gd name="connsiteX172" fmla="*/ 2077704 w 10768629"/>
              <a:gd name="connsiteY172" fmla="*/ 1965002 h 1978172"/>
              <a:gd name="connsiteX173" fmla="*/ 1967996 w 10768629"/>
              <a:gd name="connsiteY173" fmla="*/ 1953187 h 1978172"/>
              <a:gd name="connsiteX174" fmla="*/ 1855805 w 10768629"/>
              <a:gd name="connsiteY174" fmla="*/ 1926082 h 1978172"/>
              <a:gd name="connsiteX175" fmla="*/ 1790957 w 10768629"/>
              <a:gd name="connsiteY175" fmla="*/ 1919460 h 1978172"/>
              <a:gd name="connsiteX176" fmla="*/ 1613978 w 10768629"/>
              <a:gd name="connsiteY176" fmla="*/ 1891581 h 1978172"/>
              <a:gd name="connsiteX177" fmla="*/ 1436831 w 10768629"/>
              <a:gd name="connsiteY177" fmla="*/ 1856201 h 1978172"/>
              <a:gd name="connsiteX178" fmla="*/ 1357365 w 10768629"/>
              <a:gd name="connsiteY178" fmla="*/ 1832140 h 1978172"/>
              <a:gd name="connsiteX179" fmla="*/ 1232341 w 10768629"/>
              <a:gd name="connsiteY179" fmla="*/ 1785942 h 1978172"/>
              <a:gd name="connsiteX180" fmla="*/ 1162595 w 10768629"/>
              <a:gd name="connsiteY180" fmla="*/ 1758337 h 1978172"/>
              <a:gd name="connsiteX181" fmla="*/ 1128523 w 10768629"/>
              <a:gd name="connsiteY181" fmla="*/ 1763621 h 1978172"/>
              <a:gd name="connsiteX182" fmla="*/ 991903 w 10768629"/>
              <a:gd name="connsiteY182" fmla="*/ 1786741 h 1978172"/>
              <a:gd name="connsiteX183" fmla="*/ 883960 w 10768629"/>
              <a:gd name="connsiteY183" fmla="*/ 1822386 h 1978172"/>
              <a:gd name="connsiteX184" fmla="*/ 766531 w 10768629"/>
              <a:gd name="connsiteY184" fmla="*/ 1805053 h 1978172"/>
              <a:gd name="connsiteX185" fmla="*/ 669779 w 10768629"/>
              <a:gd name="connsiteY185" fmla="*/ 1800537 h 1978172"/>
              <a:gd name="connsiteX186" fmla="*/ 523898 w 10768629"/>
              <a:gd name="connsiteY186" fmla="*/ 1811085 h 1978172"/>
              <a:gd name="connsiteX187" fmla="*/ 360251 w 10768629"/>
              <a:gd name="connsiteY187" fmla="*/ 1830735 h 1978172"/>
              <a:gd name="connsiteX188" fmla="*/ 255207 w 10768629"/>
              <a:gd name="connsiteY188" fmla="*/ 1818275 h 1978172"/>
              <a:gd name="connsiteX189" fmla="*/ 101803 w 10768629"/>
              <a:gd name="connsiteY189" fmla="*/ 1870647 h 1978172"/>
              <a:gd name="connsiteX190" fmla="*/ 25397 w 10768629"/>
              <a:gd name="connsiteY190" fmla="*/ 1888443 h 1978172"/>
              <a:gd name="connsiteX191" fmla="*/ 2370 w 10768629"/>
              <a:gd name="connsiteY191" fmla="*/ 1878311 h 1978172"/>
              <a:gd name="connsiteX192" fmla="*/ 0 w 10768629"/>
              <a:gd name="connsiteY192" fmla="*/ 1878785 h 1978172"/>
              <a:gd name="connsiteX193" fmla="*/ 0 w 10768629"/>
              <a:gd name="connsiteY193" fmla="*/ 0 h 1978172"/>
              <a:gd name="connsiteX0" fmla="*/ 0 w 10768629"/>
              <a:gd name="connsiteY0" fmla="*/ 0 h 1978172"/>
              <a:gd name="connsiteX1" fmla="*/ 10768629 w 10768629"/>
              <a:gd name="connsiteY1" fmla="*/ 0 h 1978172"/>
              <a:gd name="connsiteX2" fmla="*/ 10733254 w 10768629"/>
              <a:gd name="connsiteY2" fmla="*/ 31439 h 1978172"/>
              <a:gd name="connsiteX3" fmla="*/ 10727085 w 10768629"/>
              <a:gd name="connsiteY3" fmla="*/ 37910 h 1978172"/>
              <a:gd name="connsiteX4" fmla="*/ 10675953 w 10768629"/>
              <a:gd name="connsiteY4" fmla="*/ 68623 h 1978172"/>
              <a:gd name="connsiteX5" fmla="*/ 10637091 w 10768629"/>
              <a:gd name="connsiteY5" fmla="*/ 90361 h 1978172"/>
              <a:gd name="connsiteX6" fmla="*/ 10610971 w 10768629"/>
              <a:gd name="connsiteY6" fmla="*/ 110764 h 1978172"/>
              <a:gd name="connsiteX7" fmla="*/ 10532872 w 10768629"/>
              <a:gd name="connsiteY7" fmla="*/ 138028 h 1978172"/>
              <a:gd name="connsiteX8" fmla="*/ 10398558 w 10768629"/>
              <a:gd name="connsiteY8" fmla="*/ 172911 h 1978172"/>
              <a:gd name="connsiteX9" fmla="*/ 10371128 w 10768629"/>
              <a:gd name="connsiteY9" fmla="*/ 182609 h 1978172"/>
              <a:gd name="connsiteX10" fmla="*/ 10352178 w 10768629"/>
              <a:gd name="connsiteY10" fmla="*/ 199976 h 1978172"/>
              <a:gd name="connsiteX11" fmla="*/ 10351815 w 10768629"/>
              <a:gd name="connsiteY11" fmla="*/ 211879 h 1978172"/>
              <a:gd name="connsiteX12" fmla="*/ 10337471 w 10768629"/>
              <a:gd name="connsiteY12" fmla="*/ 218661 h 1978172"/>
              <a:gd name="connsiteX13" fmla="*/ 10334625 w 10768629"/>
              <a:gd name="connsiteY13" fmla="*/ 222351 h 1978172"/>
              <a:gd name="connsiteX14" fmla="*/ 10256365 w 10768629"/>
              <a:gd name="connsiteY14" fmla="*/ 235917 h 1978172"/>
              <a:gd name="connsiteX15" fmla="*/ 10201127 w 10768629"/>
              <a:gd name="connsiteY15" fmla="*/ 267448 h 1978172"/>
              <a:gd name="connsiteX16" fmla="*/ 9961218 w 10768629"/>
              <a:gd name="connsiteY16" fmla="*/ 326720 h 1978172"/>
              <a:gd name="connsiteX17" fmla="*/ 9859715 w 10768629"/>
              <a:gd name="connsiteY17" fmla="*/ 355698 h 1978172"/>
              <a:gd name="connsiteX18" fmla="*/ 9679867 w 10768629"/>
              <a:gd name="connsiteY18" fmla="*/ 399081 h 1978172"/>
              <a:gd name="connsiteX19" fmla="*/ 9490654 w 10768629"/>
              <a:gd name="connsiteY19" fmla="*/ 455225 h 1978172"/>
              <a:gd name="connsiteX20" fmla="*/ 9470837 w 10768629"/>
              <a:gd name="connsiteY20" fmla="*/ 452539 h 1978172"/>
              <a:gd name="connsiteX21" fmla="*/ 9469082 w 10768629"/>
              <a:gd name="connsiteY21" fmla="*/ 454891 h 1978172"/>
              <a:gd name="connsiteX22" fmla="*/ 9448038 w 10768629"/>
              <a:gd name="connsiteY22" fmla="*/ 459733 h 1978172"/>
              <a:gd name="connsiteX23" fmla="*/ 9396821 w 10768629"/>
              <a:gd name="connsiteY23" fmla="*/ 455795 h 1978172"/>
              <a:gd name="connsiteX24" fmla="*/ 9392197 w 10768629"/>
              <a:gd name="connsiteY24" fmla="*/ 459796 h 1978172"/>
              <a:gd name="connsiteX25" fmla="*/ 9347994 w 10768629"/>
              <a:gd name="connsiteY25" fmla="*/ 464462 h 1978172"/>
              <a:gd name="connsiteX26" fmla="*/ 9347889 w 10768629"/>
              <a:gd name="connsiteY26" fmla="*/ 466539 h 1978172"/>
              <a:gd name="connsiteX27" fmla="*/ 9337639 w 10768629"/>
              <a:gd name="connsiteY27" fmla="*/ 476654 h 1978172"/>
              <a:gd name="connsiteX28" fmla="*/ 9316893 w 10768629"/>
              <a:gd name="connsiteY28" fmla="*/ 491390 h 1978172"/>
              <a:gd name="connsiteX29" fmla="*/ 9229283 w 10768629"/>
              <a:gd name="connsiteY29" fmla="*/ 555377 h 1978172"/>
              <a:gd name="connsiteX30" fmla="*/ 9220274 w 10768629"/>
              <a:gd name="connsiteY30" fmla="*/ 557502 h 1978172"/>
              <a:gd name="connsiteX31" fmla="*/ 9220202 w 10768629"/>
              <a:gd name="connsiteY31" fmla="*/ 558001 h 1978172"/>
              <a:gd name="connsiteX32" fmla="*/ 9210908 w 10768629"/>
              <a:gd name="connsiteY32" fmla="*/ 561147 h 1978172"/>
              <a:gd name="connsiteX33" fmla="*/ 9186374 w 10768629"/>
              <a:gd name="connsiteY33" fmla="*/ 565502 h 1978172"/>
              <a:gd name="connsiteX34" fmla="*/ 9181058 w 10768629"/>
              <a:gd name="connsiteY34" fmla="*/ 569943 h 1978172"/>
              <a:gd name="connsiteX35" fmla="*/ 9179948 w 10768629"/>
              <a:gd name="connsiteY35" fmla="*/ 576062 h 1978172"/>
              <a:gd name="connsiteX36" fmla="*/ 9149110 w 10768629"/>
              <a:gd name="connsiteY36" fmla="*/ 598906 h 1978172"/>
              <a:gd name="connsiteX37" fmla="*/ 9078556 w 10768629"/>
              <a:gd name="connsiteY37" fmla="*/ 644039 h 1978172"/>
              <a:gd name="connsiteX38" fmla="*/ 8996399 w 10768629"/>
              <a:gd name="connsiteY38" fmla="*/ 690055 h 1978172"/>
              <a:gd name="connsiteX39" fmla="*/ 8803791 w 10768629"/>
              <a:gd name="connsiteY39" fmla="*/ 813860 h 1978172"/>
              <a:gd name="connsiteX40" fmla="*/ 8636202 w 10768629"/>
              <a:gd name="connsiteY40" fmla="*/ 848463 h 1978172"/>
              <a:gd name="connsiteX41" fmla="*/ 8555372 w 10768629"/>
              <a:gd name="connsiteY41" fmla="*/ 883171 h 1978172"/>
              <a:gd name="connsiteX42" fmla="*/ 8507229 w 10768629"/>
              <a:gd name="connsiteY42" fmla="*/ 901665 h 1978172"/>
              <a:gd name="connsiteX43" fmla="*/ 8428473 w 10768629"/>
              <a:gd name="connsiteY43" fmla="*/ 927985 h 1978172"/>
              <a:gd name="connsiteX44" fmla="*/ 8427914 w 10768629"/>
              <a:gd name="connsiteY44" fmla="*/ 933480 h 1978172"/>
              <a:gd name="connsiteX45" fmla="*/ 8420327 w 10768629"/>
              <a:gd name="connsiteY45" fmla="*/ 941984 h 1978172"/>
              <a:gd name="connsiteX46" fmla="*/ 8407128 w 10768629"/>
              <a:gd name="connsiteY46" fmla="*/ 961344 h 1978172"/>
              <a:gd name="connsiteX47" fmla="*/ 8380548 w 10768629"/>
              <a:gd name="connsiteY47" fmla="*/ 987916 h 1978172"/>
              <a:gd name="connsiteX48" fmla="*/ 8379462 w 10768629"/>
              <a:gd name="connsiteY48" fmla="*/ 987106 h 1978172"/>
              <a:gd name="connsiteX49" fmla="*/ 8369725 w 10768629"/>
              <a:gd name="connsiteY49" fmla="*/ 989186 h 1978172"/>
              <a:gd name="connsiteX50" fmla="*/ 8304438 w 10768629"/>
              <a:gd name="connsiteY50" fmla="*/ 996739 h 1978172"/>
              <a:gd name="connsiteX51" fmla="*/ 8280929 w 10768629"/>
              <a:gd name="connsiteY51" fmla="*/ 1023089 h 1978172"/>
              <a:gd name="connsiteX52" fmla="*/ 8275760 w 10768629"/>
              <a:gd name="connsiteY52" fmla="*/ 1027772 h 1978172"/>
              <a:gd name="connsiteX53" fmla="*/ 8275478 w 10768629"/>
              <a:gd name="connsiteY53" fmla="*/ 1027605 h 1978172"/>
              <a:gd name="connsiteX54" fmla="*/ 8269666 w 10768629"/>
              <a:gd name="connsiteY54" fmla="*/ 1032033 h 1978172"/>
              <a:gd name="connsiteX55" fmla="*/ 8203836 w 10768629"/>
              <a:gd name="connsiteY55" fmla="*/ 1037347 h 1978172"/>
              <a:gd name="connsiteX56" fmla="*/ 8122936 w 10768629"/>
              <a:gd name="connsiteY56" fmla="*/ 1063113 h 1978172"/>
              <a:gd name="connsiteX57" fmla="*/ 8043658 w 10768629"/>
              <a:gd name="connsiteY57" fmla="*/ 1092746 h 1978172"/>
              <a:gd name="connsiteX58" fmla="*/ 8015351 w 10768629"/>
              <a:gd name="connsiteY58" fmla="*/ 1105478 h 1978172"/>
              <a:gd name="connsiteX59" fmla="*/ 7963145 w 10768629"/>
              <a:gd name="connsiteY59" fmla="*/ 1119346 h 1978172"/>
              <a:gd name="connsiteX60" fmla="*/ 7938145 w 10768629"/>
              <a:gd name="connsiteY60" fmla="*/ 1120225 h 1978172"/>
              <a:gd name="connsiteX61" fmla="*/ 7937238 w 10768629"/>
              <a:gd name="connsiteY61" fmla="*/ 1121204 h 1978172"/>
              <a:gd name="connsiteX62" fmla="*/ 7934398 w 10768629"/>
              <a:gd name="connsiteY62" fmla="*/ 1118240 h 1978172"/>
              <a:gd name="connsiteX63" fmla="*/ 7918248 w 10768629"/>
              <a:gd name="connsiteY63" fmla="*/ 1124371 h 1978172"/>
              <a:gd name="connsiteX64" fmla="*/ 7914119 w 10768629"/>
              <a:gd name="connsiteY64" fmla="*/ 1127653 h 1978172"/>
              <a:gd name="connsiteX65" fmla="*/ 7907658 w 10768629"/>
              <a:gd name="connsiteY65" fmla="*/ 1130350 h 1978172"/>
              <a:gd name="connsiteX66" fmla="*/ 7907434 w 10768629"/>
              <a:gd name="connsiteY66" fmla="*/ 1130103 h 1978172"/>
              <a:gd name="connsiteX67" fmla="*/ 7901508 w 10768629"/>
              <a:gd name="connsiteY67" fmla="*/ 1133245 h 1978172"/>
              <a:gd name="connsiteX68" fmla="*/ 7873287 w 10768629"/>
              <a:gd name="connsiteY68" fmla="*/ 1152609 h 1978172"/>
              <a:gd name="connsiteX69" fmla="*/ 7834833 w 10768629"/>
              <a:gd name="connsiteY69" fmla="*/ 1153868 h 1978172"/>
              <a:gd name="connsiteX70" fmla="*/ 7828661 w 10768629"/>
              <a:gd name="connsiteY70" fmla="*/ 1139994 h 1978172"/>
              <a:gd name="connsiteX71" fmla="*/ 7823966 w 10768629"/>
              <a:gd name="connsiteY71" fmla="*/ 1143178 h 1978172"/>
              <a:gd name="connsiteX72" fmla="*/ 7815078 w 10768629"/>
              <a:gd name="connsiteY72" fmla="*/ 1151776 h 1978172"/>
              <a:gd name="connsiteX73" fmla="*/ 7812026 w 10768629"/>
              <a:gd name="connsiteY73" fmla="*/ 1151522 h 1978172"/>
              <a:gd name="connsiteX74" fmla="*/ 7782249 w 10768629"/>
              <a:gd name="connsiteY74" fmla="*/ 1160970 h 1978172"/>
              <a:gd name="connsiteX75" fmla="*/ 7773476 w 10768629"/>
              <a:gd name="connsiteY75" fmla="*/ 1157414 h 1978172"/>
              <a:gd name="connsiteX76" fmla="*/ 7769600 w 10768629"/>
              <a:gd name="connsiteY76" fmla="*/ 1157365 h 1978172"/>
              <a:gd name="connsiteX77" fmla="*/ 7752631 w 10768629"/>
              <a:gd name="connsiteY77" fmla="*/ 1172815 h 1978172"/>
              <a:gd name="connsiteX78" fmla="*/ 7743525 w 10768629"/>
              <a:gd name="connsiteY78" fmla="*/ 1179064 h 1978172"/>
              <a:gd name="connsiteX79" fmla="*/ 7685942 w 10768629"/>
              <a:gd name="connsiteY79" fmla="*/ 1233723 h 1978172"/>
              <a:gd name="connsiteX80" fmla="*/ 7586920 w 10768629"/>
              <a:gd name="connsiteY80" fmla="*/ 1261888 h 1978172"/>
              <a:gd name="connsiteX81" fmla="*/ 7486100 w 10768629"/>
              <a:gd name="connsiteY81" fmla="*/ 1292563 h 1978172"/>
              <a:gd name="connsiteX82" fmla="*/ 7407190 w 10768629"/>
              <a:gd name="connsiteY82" fmla="*/ 1314737 h 1978172"/>
              <a:gd name="connsiteX83" fmla="*/ 7240698 w 10768629"/>
              <a:gd name="connsiteY83" fmla="*/ 1438832 h 1978172"/>
              <a:gd name="connsiteX84" fmla="*/ 7197675 w 10768629"/>
              <a:gd name="connsiteY84" fmla="*/ 1447530 h 1978172"/>
              <a:gd name="connsiteX85" fmla="*/ 7164788 w 10768629"/>
              <a:gd name="connsiteY85" fmla="*/ 1480293 h 1978172"/>
              <a:gd name="connsiteX86" fmla="*/ 7147929 w 10768629"/>
              <a:gd name="connsiteY86" fmla="*/ 1477641 h 1978172"/>
              <a:gd name="connsiteX87" fmla="*/ 7144965 w 10768629"/>
              <a:gd name="connsiteY87" fmla="*/ 1476908 h 1978172"/>
              <a:gd name="connsiteX88" fmla="*/ 7134299 w 10768629"/>
              <a:gd name="connsiteY88" fmla="*/ 1479969 h 1978172"/>
              <a:gd name="connsiteX89" fmla="*/ 7129809 w 10768629"/>
              <a:gd name="connsiteY89" fmla="*/ 1473339 h 1978172"/>
              <a:gd name="connsiteX90" fmla="*/ 7112688 w 10768629"/>
              <a:gd name="connsiteY90" fmla="*/ 1472575 h 1978172"/>
              <a:gd name="connsiteX91" fmla="*/ 7093470 w 10768629"/>
              <a:gd name="connsiteY91" fmla="*/ 1480300 h 1978172"/>
              <a:gd name="connsiteX92" fmla="*/ 7025034 w 10768629"/>
              <a:gd name="connsiteY92" fmla="*/ 1506934 h 1978172"/>
              <a:gd name="connsiteX93" fmla="*/ 7014783 w 10768629"/>
              <a:gd name="connsiteY93" fmla="*/ 1515868 h 1978172"/>
              <a:gd name="connsiteX94" fmla="*/ 6979706 w 10768629"/>
              <a:gd name="connsiteY94" fmla="*/ 1523511 h 1978172"/>
              <a:gd name="connsiteX95" fmla="*/ 6977890 w 10768629"/>
              <a:gd name="connsiteY95" fmla="*/ 1525793 h 1978172"/>
              <a:gd name="connsiteX96" fmla="*/ 6944339 w 10768629"/>
              <a:gd name="connsiteY96" fmla="*/ 1536237 h 1978172"/>
              <a:gd name="connsiteX97" fmla="*/ 6886996 w 10768629"/>
              <a:gd name="connsiteY97" fmla="*/ 1563569 h 1978172"/>
              <a:gd name="connsiteX98" fmla="*/ 6874510 w 10768629"/>
              <a:gd name="connsiteY98" fmla="*/ 1558469 h 1978172"/>
              <a:gd name="connsiteX99" fmla="*/ 6871943 w 10768629"/>
              <a:gd name="connsiteY99" fmla="*/ 1554651 h 1978172"/>
              <a:gd name="connsiteX100" fmla="*/ 6856174 w 10768629"/>
              <a:gd name="connsiteY100" fmla="*/ 1562024 h 1978172"/>
              <a:gd name="connsiteX101" fmla="*/ 6842321 w 10768629"/>
              <a:gd name="connsiteY101" fmla="*/ 1560554 h 1978172"/>
              <a:gd name="connsiteX102" fmla="*/ 6832713 w 10768629"/>
              <a:gd name="connsiteY102" fmla="*/ 1569357 h 1978172"/>
              <a:gd name="connsiteX103" fmla="*/ 6816351 w 10768629"/>
              <a:gd name="connsiteY103" fmla="*/ 1571495 h 1978172"/>
              <a:gd name="connsiteX104" fmla="*/ 6795800 w 10768629"/>
              <a:gd name="connsiteY104" fmla="*/ 1572010 h 1978172"/>
              <a:gd name="connsiteX105" fmla="*/ 6777546 w 10768629"/>
              <a:gd name="connsiteY105" fmla="*/ 1568661 h 1978172"/>
              <a:gd name="connsiteX106" fmla="*/ 6751528 w 10768629"/>
              <a:gd name="connsiteY106" fmla="*/ 1574143 h 1978172"/>
              <a:gd name="connsiteX107" fmla="*/ 6691966 w 10768629"/>
              <a:gd name="connsiteY107" fmla="*/ 1582255 h 1978172"/>
              <a:gd name="connsiteX108" fmla="*/ 6646941 w 10768629"/>
              <a:gd name="connsiteY108" fmla="*/ 1588471 h 1978172"/>
              <a:gd name="connsiteX109" fmla="*/ 6568576 w 10768629"/>
              <a:gd name="connsiteY109" fmla="*/ 1606488 h 1978172"/>
              <a:gd name="connsiteX110" fmla="*/ 6554358 w 10768629"/>
              <a:gd name="connsiteY110" fmla="*/ 1621701 h 1978172"/>
              <a:gd name="connsiteX111" fmla="*/ 6516968 w 10768629"/>
              <a:gd name="connsiteY111" fmla="*/ 1617195 h 1978172"/>
              <a:gd name="connsiteX112" fmla="*/ 6506479 w 10768629"/>
              <a:gd name="connsiteY112" fmla="*/ 1602227 h 1978172"/>
              <a:gd name="connsiteX113" fmla="*/ 6458436 w 10768629"/>
              <a:gd name="connsiteY113" fmla="*/ 1607332 h 1978172"/>
              <a:gd name="connsiteX114" fmla="*/ 6414786 w 10768629"/>
              <a:gd name="connsiteY114" fmla="*/ 1628815 h 1978172"/>
              <a:gd name="connsiteX115" fmla="*/ 6357085 w 10768629"/>
              <a:gd name="connsiteY115" fmla="*/ 1640846 h 1978172"/>
              <a:gd name="connsiteX116" fmla="*/ 6322636 w 10768629"/>
              <a:gd name="connsiteY116" fmla="*/ 1648213 h 1978172"/>
              <a:gd name="connsiteX117" fmla="*/ 6226172 w 10768629"/>
              <a:gd name="connsiteY117" fmla="*/ 1654676 h 1978172"/>
              <a:gd name="connsiteX118" fmla="*/ 6221217 w 10768629"/>
              <a:gd name="connsiteY118" fmla="*/ 1654506 h 1978172"/>
              <a:gd name="connsiteX119" fmla="*/ 6204956 w 10768629"/>
              <a:gd name="connsiteY119" fmla="*/ 1664280 h 1978172"/>
              <a:gd name="connsiteX120" fmla="*/ 6204270 w 10768629"/>
              <a:gd name="connsiteY120" fmla="*/ 1666782 h 1978172"/>
              <a:gd name="connsiteX121" fmla="*/ 6143810 w 10768629"/>
              <a:gd name="connsiteY121" fmla="*/ 1661963 h 1978172"/>
              <a:gd name="connsiteX122" fmla="*/ 6136560 w 10768629"/>
              <a:gd name="connsiteY122" fmla="*/ 1665728 h 1978172"/>
              <a:gd name="connsiteX123" fmla="*/ 6096155 w 10768629"/>
              <a:gd name="connsiteY123" fmla="*/ 1656951 h 1978172"/>
              <a:gd name="connsiteX124" fmla="*/ 6075812 w 10768629"/>
              <a:gd name="connsiteY124" fmla="*/ 1655422 h 1978172"/>
              <a:gd name="connsiteX125" fmla="*/ 6039495 w 10768629"/>
              <a:gd name="connsiteY125" fmla="*/ 1649680 h 1978172"/>
              <a:gd name="connsiteX126" fmla="*/ 6036523 w 10768629"/>
              <a:gd name="connsiteY126" fmla="*/ 1652121 h 1978172"/>
              <a:gd name="connsiteX127" fmla="*/ 6029328 w 10768629"/>
              <a:gd name="connsiteY127" fmla="*/ 1649904 h 1978172"/>
              <a:gd name="connsiteX128" fmla="*/ 6024075 w 10768629"/>
              <a:gd name="connsiteY128" fmla="*/ 1652779 h 1978172"/>
              <a:gd name="connsiteX129" fmla="*/ 6018085 w 10768629"/>
              <a:gd name="connsiteY129" fmla="*/ 1652030 h 1978172"/>
              <a:gd name="connsiteX130" fmla="*/ 5955513 w 10768629"/>
              <a:gd name="connsiteY130" fmla="*/ 1663584 h 1978172"/>
              <a:gd name="connsiteX131" fmla="*/ 5941996 w 10768629"/>
              <a:gd name="connsiteY131" fmla="*/ 1661326 h 1978172"/>
              <a:gd name="connsiteX132" fmla="*/ 5931789 w 10768629"/>
              <a:gd name="connsiteY132" fmla="*/ 1669915 h 1978172"/>
              <a:gd name="connsiteX133" fmla="*/ 5888686 w 10768629"/>
              <a:gd name="connsiteY133" fmla="*/ 1672175 h 1978172"/>
              <a:gd name="connsiteX134" fmla="*/ 5873794 w 10768629"/>
              <a:gd name="connsiteY134" fmla="*/ 1665454 h 1978172"/>
              <a:gd name="connsiteX135" fmla="*/ 5860022 w 10768629"/>
              <a:gd name="connsiteY135" fmla="*/ 1660635 h 1978172"/>
              <a:gd name="connsiteX136" fmla="*/ 5858237 w 10768629"/>
              <a:gd name="connsiteY136" fmla="*/ 1660649 h 1978172"/>
              <a:gd name="connsiteX137" fmla="*/ 5840319 w 10768629"/>
              <a:gd name="connsiteY137" fmla="*/ 1660798 h 1978172"/>
              <a:gd name="connsiteX138" fmla="*/ 5806984 w 10768629"/>
              <a:gd name="connsiteY138" fmla="*/ 1661075 h 1978172"/>
              <a:gd name="connsiteX139" fmla="*/ 5742351 w 10768629"/>
              <a:gd name="connsiteY139" fmla="*/ 1667489 h 1978172"/>
              <a:gd name="connsiteX140" fmla="*/ 5521171 w 10768629"/>
              <a:gd name="connsiteY140" fmla="*/ 1671626 h 1978172"/>
              <a:gd name="connsiteX141" fmla="*/ 5457384 w 10768629"/>
              <a:gd name="connsiteY141" fmla="*/ 1683952 h 1978172"/>
              <a:gd name="connsiteX142" fmla="*/ 4950070 w 10768629"/>
              <a:gd name="connsiteY142" fmla="*/ 1748401 h 1978172"/>
              <a:gd name="connsiteX143" fmla="*/ 4872172 w 10768629"/>
              <a:gd name="connsiteY143" fmla="*/ 1757222 h 1978172"/>
              <a:gd name="connsiteX144" fmla="*/ 4809524 w 10768629"/>
              <a:gd name="connsiteY144" fmla="*/ 1761033 h 1978172"/>
              <a:gd name="connsiteX145" fmla="*/ 4759058 w 10768629"/>
              <a:gd name="connsiteY145" fmla="*/ 1766533 h 1978172"/>
              <a:gd name="connsiteX146" fmla="*/ 4719749 w 10768629"/>
              <a:gd name="connsiteY146" fmla="*/ 1771811 h 1978172"/>
              <a:gd name="connsiteX147" fmla="*/ 4568686 w 10768629"/>
              <a:gd name="connsiteY147" fmla="*/ 1786141 h 1978172"/>
              <a:gd name="connsiteX148" fmla="*/ 4418751 w 10768629"/>
              <a:gd name="connsiteY148" fmla="*/ 1796932 h 1978172"/>
              <a:gd name="connsiteX149" fmla="*/ 4378377 w 10768629"/>
              <a:gd name="connsiteY149" fmla="*/ 1815528 h 1978172"/>
              <a:gd name="connsiteX150" fmla="*/ 4320575 w 10768629"/>
              <a:gd name="connsiteY150" fmla="*/ 1832722 h 1978172"/>
              <a:gd name="connsiteX151" fmla="*/ 4220200 w 10768629"/>
              <a:gd name="connsiteY151" fmla="*/ 1873173 h 1978172"/>
              <a:gd name="connsiteX152" fmla="*/ 4105361 w 10768629"/>
              <a:gd name="connsiteY152" fmla="*/ 1894711 h 1978172"/>
              <a:gd name="connsiteX153" fmla="*/ 3973223 w 10768629"/>
              <a:gd name="connsiteY153" fmla="*/ 1881015 h 1978172"/>
              <a:gd name="connsiteX154" fmla="*/ 3900992 w 10768629"/>
              <a:gd name="connsiteY154" fmla="*/ 1880603 h 1978172"/>
              <a:gd name="connsiteX155" fmla="*/ 3662119 w 10768629"/>
              <a:gd name="connsiteY155" fmla="*/ 1876289 h 1978172"/>
              <a:gd name="connsiteX156" fmla="*/ 3496919 w 10768629"/>
              <a:gd name="connsiteY156" fmla="*/ 1873180 h 1978172"/>
              <a:gd name="connsiteX157" fmla="*/ 3449433 w 10768629"/>
              <a:gd name="connsiteY157" fmla="*/ 1889681 h 1978172"/>
              <a:gd name="connsiteX158" fmla="*/ 3369766 w 10768629"/>
              <a:gd name="connsiteY158" fmla="*/ 1916653 h 1978172"/>
              <a:gd name="connsiteX159" fmla="*/ 3290336 w 10768629"/>
              <a:gd name="connsiteY159" fmla="*/ 1925039 h 1978172"/>
              <a:gd name="connsiteX160" fmla="*/ 3224897 w 10768629"/>
              <a:gd name="connsiteY160" fmla="*/ 1943733 h 1978172"/>
              <a:gd name="connsiteX161" fmla="*/ 3161463 w 10768629"/>
              <a:gd name="connsiteY161" fmla="*/ 1946591 h 1978172"/>
              <a:gd name="connsiteX162" fmla="*/ 3157504 w 10768629"/>
              <a:gd name="connsiteY162" fmla="*/ 1957276 h 1978172"/>
              <a:gd name="connsiteX163" fmla="*/ 3115176 w 10768629"/>
              <a:gd name="connsiteY163" fmla="*/ 1943459 h 1978172"/>
              <a:gd name="connsiteX164" fmla="*/ 3005773 w 10768629"/>
              <a:gd name="connsiteY164" fmla="*/ 1915878 h 1978172"/>
              <a:gd name="connsiteX165" fmla="*/ 2897201 w 10768629"/>
              <a:gd name="connsiteY165" fmla="*/ 1926772 h 1978172"/>
              <a:gd name="connsiteX166" fmla="*/ 2783891 w 10768629"/>
              <a:gd name="connsiteY166" fmla="*/ 1931749 h 1978172"/>
              <a:gd name="connsiteX167" fmla="*/ 2712447 w 10768629"/>
              <a:gd name="connsiteY167" fmla="*/ 1933044 h 1978172"/>
              <a:gd name="connsiteX168" fmla="*/ 2560151 w 10768629"/>
              <a:gd name="connsiteY168" fmla="*/ 1963609 h 1978172"/>
              <a:gd name="connsiteX169" fmla="*/ 2367221 w 10768629"/>
              <a:gd name="connsiteY169" fmla="*/ 1971884 h 1978172"/>
              <a:gd name="connsiteX170" fmla="*/ 2272130 w 10768629"/>
              <a:gd name="connsiteY170" fmla="*/ 1961162 h 1978172"/>
              <a:gd name="connsiteX171" fmla="*/ 2189404 w 10768629"/>
              <a:gd name="connsiteY171" fmla="*/ 1978172 h 1978172"/>
              <a:gd name="connsiteX172" fmla="*/ 2077704 w 10768629"/>
              <a:gd name="connsiteY172" fmla="*/ 1965002 h 1978172"/>
              <a:gd name="connsiteX173" fmla="*/ 2033299 w 10768629"/>
              <a:gd name="connsiteY173" fmla="*/ 1969042 h 1978172"/>
              <a:gd name="connsiteX174" fmla="*/ 1967996 w 10768629"/>
              <a:gd name="connsiteY174" fmla="*/ 1953187 h 1978172"/>
              <a:gd name="connsiteX175" fmla="*/ 1855805 w 10768629"/>
              <a:gd name="connsiteY175" fmla="*/ 1926082 h 1978172"/>
              <a:gd name="connsiteX176" fmla="*/ 1790957 w 10768629"/>
              <a:gd name="connsiteY176" fmla="*/ 1919460 h 1978172"/>
              <a:gd name="connsiteX177" fmla="*/ 1613978 w 10768629"/>
              <a:gd name="connsiteY177" fmla="*/ 1891581 h 1978172"/>
              <a:gd name="connsiteX178" fmla="*/ 1436831 w 10768629"/>
              <a:gd name="connsiteY178" fmla="*/ 1856201 h 1978172"/>
              <a:gd name="connsiteX179" fmla="*/ 1357365 w 10768629"/>
              <a:gd name="connsiteY179" fmla="*/ 1832140 h 1978172"/>
              <a:gd name="connsiteX180" fmla="*/ 1232341 w 10768629"/>
              <a:gd name="connsiteY180" fmla="*/ 1785942 h 1978172"/>
              <a:gd name="connsiteX181" fmla="*/ 1162595 w 10768629"/>
              <a:gd name="connsiteY181" fmla="*/ 1758337 h 1978172"/>
              <a:gd name="connsiteX182" fmla="*/ 1128523 w 10768629"/>
              <a:gd name="connsiteY182" fmla="*/ 1763621 h 1978172"/>
              <a:gd name="connsiteX183" fmla="*/ 991903 w 10768629"/>
              <a:gd name="connsiteY183" fmla="*/ 1786741 h 1978172"/>
              <a:gd name="connsiteX184" fmla="*/ 883960 w 10768629"/>
              <a:gd name="connsiteY184" fmla="*/ 1822386 h 1978172"/>
              <a:gd name="connsiteX185" fmla="*/ 766531 w 10768629"/>
              <a:gd name="connsiteY185" fmla="*/ 1805053 h 1978172"/>
              <a:gd name="connsiteX186" fmla="*/ 669779 w 10768629"/>
              <a:gd name="connsiteY186" fmla="*/ 1800537 h 1978172"/>
              <a:gd name="connsiteX187" fmla="*/ 523898 w 10768629"/>
              <a:gd name="connsiteY187" fmla="*/ 1811085 h 1978172"/>
              <a:gd name="connsiteX188" fmla="*/ 360251 w 10768629"/>
              <a:gd name="connsiteY188" fmla="*/ 1830735 h 1978172"/>
              <a:gd name="connsiteX189" fmla="*/ 255207 w 10768629"/>
              <a:gd name="connsiteY189" fmla="*/ 1818275 h 1978172"/>
              <a:gd name="connsiteX190" fmla="*/ 101803 w 10768629"/>
              <a:gd name="connsiteY190" fmla="*/ 1870647 h 1978172"/>
              <a:gd name="connsiteX191" fmla="*/ 25397 w 10768629"/>
              <a:gd name="connsiteY191" fmla="*/ 1888443 h 1978172"/>
              <a:gd name="connsiteX192" fmla="*/ 2370 w 10768629"/>
              <a:gd name="connsiteY192" fmla="*/ 1878311 h 1978172"/>
              <a:gd name="connsiteX193" fmla="*/ 0 w 10768629"/>
              <a:gd name="connsiteY193" fmla="*/ 1878785 h 1978172"/>
              <a:gd name="connsiteX194" fmla="*/ 0 w 10768629"/>
              <a:gd name="connsiteY194" fmla="*/ 0 h 1978172"/>
              <a:gd name="connsiteX0" fmla="*/ 0 w 10768629"/>
              <a:gd name="connsiteY0" fmla="*/ 0 h 1978172"/>
              <a:gd name="connsiteX1" fmla="*/ 10768629 w 10768629"/>
              <a:gd name="connsiteY1" fmla="*/ 0 h 1978172"/>
              <a:gd name="connsiteX2" fmla="*/ 10733254 w 10768629"/>
              <a:gd name="connsiteY2" fmla="*/ 31439 h 1978172"/>
              <a:gd name="connsiteX3" fmla="*/ 10727085 w 10768629"/>
              <a:gd name="connsiteY3" fmla="*/ 37910 h 1978172"/>
              <a:gd name="connsiteX4" fmla="*/ 10675953 w 10768629"/>
              <a:gd name="connsiteY4" fmla="*/ 68623 h 1978172"/>
              <a:gd name="connsiteX5" fmla="*/ 10637091 w 10768629"/>
              <a:gd name="connsiteY5" fmla="*/ 90361 h 1978172"/>
              <a:gd name="connsiteX6" fmla="*/ 10610971 w 10768629"/>
              <a:gd name="connsiteY6" fmla="*/ 110764 h 1978172"/>
              <a:gd name="connsiteX7" fmla="*/ 10532872 w 10768629"/>
              <a:gd name="connsiteY7" fmla="*/ 138028 h 1978172"/>
              <a:gd name="connsiteX8" fmla="*/ 10398558 w 10768629"/>
              <a:gd name="connsiteY8" fmla="*/ 172911 h 1978172"/>
              <a:gd name="connsiteX9" fmla="*/ 10371128 w 10768629"/>
              <a:gd name="connsiteY9" fmla="*/ 182609 h 1978172"/>
              <a:gd name="connsiteX10" fmla="*/ 10352178 w 10768629"/>
              <a:gd name="connsiteY10" fmla="*/ 199976 h 1978172"/>
              <a:gd name="connsiteX11" fmla="*/ 10351815 w 10768629"/>
              <a:gd name="connsiteY11" fmla="*/ 211879 h 1978172"/>
              <a:gd name="connsiteX12" fmla="*/ 10337471 w 10768629"/>
              <a:gd name="connsiteY12" fmla="*/ 218661 h 1978172"/>
              <a:gd name="connsiteX13" fmla="*/ 10334625 w 10768629"/>
              <a:gd name="connsiteY13" fmla="*/ 222351 h 1978172"/>
              <a:gd name="connsiteX14" fmla="*/ 10256365 w 10768629"/>
              <a:gd name="connsiteY14" fmla="*/ 235917 h 1978172"/>
              <a:gd name="connsiteX15" fmla="*/ 10201127 w 10768629"/>
              <a:gd name="connsiteY15" fmla="*/ 267448 h 1978172"/>
              <a:gd name="connsiteX16" fmla="*/ 9961218 w 10768629"/>
              <a:gd name="connsiteY16" fmla="*/ 326720 h 1978172"/>
              <a:gd name="connsiteX17" fmla="*/ 9859715 w 10768629"/>
              <a:gd name="connsiteY17" fmla="*/ 355698 h 1978172"/>
              <a:gd name="connsiteX18" fmla="*/ 9679867 w 10768629"/>
              <a:gd name="connsiteY18" fmla="*/ 399081 h 1978172"/>
              <a:gd name="connsiteX19" fmla="*/ 9490654 w 10768629"/>
              <a:gd name="connsiteY19" fmla="*/ 455225 h 1978172"/>
              <a:gd name="connsiteX20" fmla="*/ 9470837 w 10768629"/>
              <a:gd name="connsiteY20" fmla="*/ 452539 h 1978172"/>
              <a:gd name="connsiteX21" fmla="*/ 9469082 w 10768629"/>
              <a:gd name="connsiteY21" fmla="*/ 454891 h 1978172"/>
              <a:gd name="connsiteX22" fmla="*/ 9448038 w 10768629"/>
              <a:gd name="connsiteY22" fmla="*/ 459733 h 1978172"/>
              <a:gd name="connsiteX23" fmla="*/ 9396821 w 10768629"/>
              <a:gd name="connsiteY23" fmla="*/ 455795 h 1978172"/>
              <a:gd name="connsiteX24" fmla="*/ 9392197 w 10768629"/>
              <a:gd name="connsiteY24" fmla="*/ 459796 h 1978172"/>
              <a:gd name="connsiteX25" fmla="*/ 9347994 w 10768629"/>
              <a:gd name="connsiteY25" fmla="*/ 464462 h 1978172"/>
              <a:gd name="connsiteX26" fmla="*/ 9347889 w 10768629"/>
              <a:gd name="connsiteY26" fmla="*/ 466539 h 1978172"/>
              <a:gd name="connsiteX27" fmla="*/ 9337639 w 10768629"/>
              <a:gd name="connsiteY27" fmla="*/ 476654 h 1978172"/>
              <a:gd name="connsiteX28" fmla="*/ 9316893 w 10768629"/>
              <a:gd name="connsiteY28" fmla="*/ 491390 h 1978172"/>
              <a:gd name="connsiteX29" fmla="*/ 9229283 w 10768629"/>
              <a:gd name="connsiteY29" fmla="*/ 555377 h 1978172"/>
              <a:gd name="connsiteX30" fmla="*/ 9220274 w 10768629"/>
              <a:gd name="connsiteY30" fmla="*/ 557502 h 1978172"/>
              <a:gd name="connsiteX31" fmla="*/ 9220202 w 10768629"/>
              <a:gd name="connsiteY31" fmla="*/ 558001 h 1978172"/>
              <a:gd name="connsiteX32" fmla="*/ 9210908 w 10768629"/>
              <a:gd name="connsiteY32" fmla="*/ 561147 h 1978172"/>
              <a:gd name="connsiteX33" fmla="*/ 9186374 w 10768629"/>
              <a:gd name="connsiteY33" fmla="*/ 565502 h 1978172"/>
              <a:gd name="connsiteX34" fmla="*/ 9181058 w 10768629"/>
              <a:gd name="connsiteY34" fmla="*/ 569943 h 1978172"/>
              <a:gd name="connsiteX35" fmla="*/ 9179948 w 10768629"/>
              <a:gd name="connsiteY35" fmla="*/ 576062 h 1978172"/>
              <a:gd name="connsiteX36" fmla="*/ 9149110 w 10768629"/>
              <a:gd name="connsiteY36" fmla="*/ 598906 h 1978172"/>
              <a:gd name="connsiteX37" fmla="*/ 9078556 w 10768629"/>
              <a:gd name="connsiteY37" fmla="*/ 644039 h 1978172"/>
              <a:gd name="connsiteX38" fmla="*/ 8996399 w 10768629"/>
              <a:gd name="connsiteY38" fmla="*/ 690055 h 1978172"/>
              <a:gd name="connsiteX39" fmla="*/ 8803791 w 10768629"/>
              <a:gd name="connsiteY39" fmla="*/ 813860 h 1978172"/>
              <a:gd name="connsiteX40" fmla="*/ 8636202 w 10768629"/>
              <a:gd name="connsiteY40" fmla="*/ 848463 h 1978172"/>
              <a:gd name="connsiteX41" fmla="*/ 8555372 w 10768629"/>
              <a:gd name="connsiteY41" fmla="*/ 883171 h 1978172"/>
              <a:gd name="connsiteX42" fmla="*/ 8507229 w 10768629"/>
              <a:gd name="connsiteY42" fmla="*/ 901665 h 1978172"/>
              <a:gd name="connsiteX43" fmla="*/ 8428473 w 10768629"/>
              <a:gd name="connsiteY43" fmla="*/ 927985 h 1978172"/>
              <a:gd name="connsiteX44" fmla="*/ 8427914 w 10768629"/>
              <a:gd name="connsiteY44" fmla="*/ 933480 h 1978172"/>
              <a:gd name="connsiteX45" fmla="*/ 8420327 w 10768629"/>
              <a:gd name="connsiteY45" fmla="*/ 941984 h 1978172"/>
              <a:gd name="connsiteX46" fmla="*/ 8407128 w 10768629"/>
              <a:gd name="connsiteY46" fmla="*/ 961344 h 1978172"/>
              <a:gd name="connsiteX47" fmla="*/ 8380548 w 10768629"/>
              <a:gd name="connsiteY47" fmla="*/ 987916 h 1978172"/>
              <a:gd name="connsiteX48" fmla="*/ 8379462 w 10768629"/>
              <a:gd name="connsiteY48" fmla="*/ 987106 h 1978172"/>
              <a:gd name="connsiteX49" fmla="*/ 8369725 w 10768629"/>
              <a:gd name="connsiteY49" fmla="*/ 989186 h 1978172"/>
              <a:gd name="connsiteX50" fmla="*/ 8304438 w 10768629"/>
              <a:gd name="connsiteY50" fmla="*/ 996739 h 1978172"/>
              <a:gd name="connsiteX51" fmla="*/ 8280929 w 10768629"/>
              <a:gd name="connsiteY51" fmla="*/ 1023089 h 1978172"/>
              <a:gd name="connsiteX52" fmla="*/ 8275760 w 10768629"/>
              <a:gd name="connsiteY52" fmla="*/ 1027772 h 1978172"/>
              <a:gd name="connsiteX53" fmla="*/ 8275478 w 10768629"/>
              <a:gd name="connsiteY53" fmla="*/ 1027605 h 1978172"/>
              <a:gd name="connsiteX54" fmla="*/ 8269666 w 10768629"/>
              <a:gd name="connsiteY54" fmla="*/ 1032033 h 1978172"/>
              <a:gd name="connsiteX55" fmla="*/ 8203836 w 10768629"/>
              <a:gd name="connsiteY55" fmla="*/ 1037347 h 1978172"/>
              <a:gd name="connsiteX56" fmla="*/ 8122936 w 10768629"/>
              <a:gd name="connsiteY56" fmla="*/ 1063113 h 1978172"/>
              <a:gd name="connsiteX57" fmla="*/ 8043658 w 10768629"/>
              <a:gd name="connsiteY57" fmla="*/ 1092746 h 1978172"/>
              <a:gd name="connsiteX58" fmla="*/ 8015351 w 10768629"/>
              <a:gd name="connsiteY58" fmla="*/ 1105478 h 1978172"/>
              <a:gd name="connsiteX59" fmla="*/ 7963145 w 10768629"/>
              <a:gd name="connsiteY59" fmla="*/ 1119346 h 1978172"/>
              <a:gd name="connsiteX60" fmla="*/ 7938145 w 10768629"/>
              <a:gd name="connsiteY60" fmla="*/ 1120225 h 1978172"/>
              <a:gd name="connsiteX61" fmla="*/ 7937238 w 10768629"/>
              <a:gd name="connsiteY61" fmla="*/ 1121204 h 1978172"/>
              <a:gd name="connsiteX62" fmla="*/ 7934398 w 10768629"/>
              <a:gd name="connsiteY62" fmla="*/ 1118240 h 1978172"/>
              <a:gd name="connsiteX63" fmla="*/ 7918248 w 10768629"/>
              <a:gd name="connsiteY63" fmla="*/ 1124371 h 1978172"/>
              <a:gd name="connsiteX64" fmla="*/ 7914119 w 10768629"/>
              <a:gd name="connsiteY64" fmla="*/ 1127653 h 1978172"/>
              <a:gd name="connsiteX65" fmla="*/ 7907658 w 10768629"/>
              <a:gd name="connsiteY65" fmla="*/ 1130350 h 1978172"/>
              <a:gd name="connsiteX66" fmla="*/ 7907434 w 10768629"/>
              <a:gd name="connsiteY66" fmla="*/ 1130103 h 1978172"/>
              <a:gd name="connsiteX67" fmla="*/ 7901508 w 10768629"/>
              <a:gd name="connsiteY67" fmla="*/ 1133245 h 1978172"/>
              <a:gd name="connsiteX68" fmla="*/ 7873287 w 10768629"/>
              <a:gd name="connsiteY68" fmla="*/ 1152609 h 1978172"/>
              <a:gd name="connsiteX69" fmla="*/ 7834833 w 10768629"/>
              <a:gd name="connsiteY69" fmla="*/ 1153868 h 1978172"/>
              <a:gd name="connsiteX70" fmla="*/ 7828661 w 10768629"/>
              <a:gd name="connsiteY70" fmla="*/ 1139994 h 1978172"/>
              <a:gd name="connsiteX71" fmla="*/ 7823966 w 10768629"/>
              <a:gd name="connsiteY71" fmla="*/ 1143178 h 1978172"/>
              <a:gd name="connsiteX72" fmla="*/ 7815078 w 10768629"/>
              <a:gd name="connsiteY72" fmla="*/ 1151776 h 1978172"/>
              <a:gd name="connsiteX73" fmla="*/ 7812026 w 10768629"/>
              <a:gd name="connsiteY73" fmla="*/ 1151522 h 1978172"/>
              <a:gd name="connsiteX74" fmla="*/ 7782249 w 10768629"/>
              <a:gd name="connsiteY74" fmla="*/ 1160970 h 1978172"/>
              <a:gd name="connsiteX75" fmla="*/ 7773476 w 10768629"/>
              <a:gd name="connsiteY75" fmla="*/ 1157414 h 1978172"/>
              <a:gd name="connsiteX76" fmla="*/ 7769600 w 10768629"/>
              <a:gd name="connsiteY76" fmla="*/ 1157365 h 1978172"/>
              <a:gd name="connsiteX77" fmla="*/ 7752631 w 10768629"/>
              <a:gd name="connsiteY77" fmla="*/ 1172815 h 1978172"/>
              <a:gd name="connsiteX78" fmla="*/ 7743525 w 10768629"/>
              <a:gd name="connsiteY78" fmla="*/ 1179064 h 1978172"/>
              <a:gd name="connsiteX79" fmla="*/ 7685942 w 10768629"/>
              <a:gd name="connsiteY79" fmla="*/ 1233723 h 1978172"/>
              <a:gd name="connsiteX80" fmla="*/ 7586920 w 10768629"/>
              <a:gd name="connsiteY80" fmla="*/ 1261888 h 1978172"/>
              <a:gd name="connsiteX81" fmla="*/ 7486100 w 10768629"/>
              <a:gd name="connsiteY81" fmla="*/ 1292563 h 1978172"/>
              <a:gd name="connsiteX82" fmla="*/ 7407190 w 10768629"/>
              <a:gd name="connsiteY82" fmla="*/ 1314737 h 1978172"/>
              <a:gd name="connsiteX83" fmla="*/ 7240698 w 10768629"/>
              <a:gd name="connsiteY83" fmla="*/ 1438832 h 1978172"/>
              <a:gd name="connsiteX84" fmla="*/ 7197675 w 10768629"/>
              <a:gd name="connsiteY84" fmla="*/ 1447530 h 1978172"/>
              <a:gd name="connsiteX85" fmla="*/ 7164788 w 10768629"/>
              <a:gd name="connsiteY85" fmla="*/ 1480293 h 1978172"/>
              <a:gd name="connsiteX86" fmla="*/ 7147929 w 10768629"/>
              <a:gd name="connsiteY86" fmla="*/ 1477641 h 1978172"/>
              <a:gd name="connsiteX87" fmla="*/ 7144965 w 10768629"/>
              <a:gd name="connsiteY87" fmla="*/ 1476908 h 1978172"/>
              <a:gd name="connsiteX88" fmla="*/ 7134299 w 10768629"/>
              <a:gd name="connsiteY88" fmla="*/ 1479969 h 1978172"/>
              <a:gd name="connsiteX89" fmla="*/ 7129809 w 10768629"/>
              <a:gd name="connsiteY89" fmla="*/ 1473339 h 1978172"/>
              <a:gd name="connsiteX90" fmla="*/ 7112688 w 10768629"/>
              <a:gd name="connsiteY90" fmla="*/ 1472575 h 1978172"/>
              <a:gd name="connsiteX91" fmla="*/ 7093470 w 10768629"/>
              <a:gd name="connsiteY91" fmla="*/ 1480300 h 1978172"/>
              <a:gd name="connsiteX92" fmla="*/ 7025034 w 10768629"/>
              <a:gd name="connsiteY92" fmla="*/ 1506934 h 1978172"/>
              <a:gd name="connsiteX93" fmla="*/ 7014783 w 10768629"/>
              <a:gd name="connsiteY93" fmla="*/ 1515868 h 1978172"/>
              <a:gd name="connsiteX94" fmla="*/ 6979706 w 10768629"/>
              <a:gd name="connsiteY94" fmla="*/ 1523511 h 1978172"/>
              <a:gd name="connsiteX95" fmla="*/ 6977890 w 10768629"/>
              <a:gd name="connsiteY95" fmla="*/ 1525793 h 1978172"/>
              <a:gd name="connsiteX96" fmla="*/ 6944339 w 10768629"/>
              <a:gd name="connsiteY96" fmla="*/ 1536237 h 1978172"/>
              <a:gd name="connsiteX97" fmla="*/ 6886996 w 10768629"/>
              <a:gd name="connsiteY97" fmla="*/ 1563569 h 1978172"/>
              <a:gd name="connsiteX98" fmla="*/ 6874510 w 10768629"/>
              <a:gd name="connsiteY98" fmla="*/ 1558469 h 1978172"/>
              <a:gd name="connsiteX99" fmla="*/ 6871943 w 10768629"/>
              <a:gd name="connsiteY99" fmla="*/ 1554651 h 1978172"/>
              <a:gd name="connsiteX100" fmla="*/ 6856174 w 10768629"/>
              <a:gd name="connsiteY100" fmla="*/ 1562024 h 1978172"/>
              <a:gd name="connsiteX101" fmla="*/ 6842321 w 10768629"/>
              <a:gd name="connsiteY101" fmla="*/ 1560554 h 1978172"/>
              <a:gd name="connsiteX102" fmla="*/ 6832713 w 10768629"/>
              <a:gd name="connsiteY102" fmla="*/ 1569357 h 1978172"/>
              <a:gd name="connsiteX103" fmla="*/ 6816351 w 10768629"/>
              <a:gd name="connsiteY103" fmla="*/ 1571495 h 1978172"/>
              <a:gd name="connsiteX104" fmla="*/ 6795800 w 10768629"/>
              <a:gd name="connsiteY104" fmla="*/ 1572010 h 1978172"/>
              <a:gd name="connsiteX105" fmla="*/ 6777546 w 10768629"/>
              <a:gd name="connsiteY105" fmla="*/ 1568661 h 1978172"/>
              <a:gd name="connsiteX106" fmla="*/ 6751528 w 10768629"/>
              <a:gd name="connsiteY106" fmla="*/ 1574143 h 1978172"/>
              <a:gd name="connsiteX107" fmla="*/ 6691966 w 10768629"/>
              <a:gd name="connsiteY107" fmla="*/ 1582255 h 1978172"/>
              <a:gd name="connsiteX108" fmla="*/ 6646941 w 10768629"/>
              <a:gd name="connsiteY108" fmla="*/ 1588471 h 1978172"/>
              <a:gd name="connsiteX109" fmla="*/ 6568576 w 10768629"/>
              <a:gd name="connsiteY109" fmla="*/ 1606488 h 1978172"/>
              <a:gd name="connsiteX110" fmla="*/ 6554358 w 10768629"/>
              <a:gd name="connsiteY110" fmla="*/ 1621701 h 1978172"/>
              <a:gd name="connsiteX111" fmla="*/ 6516968 w 10768629"/>
              <a:gd name="connsiteY111" fmla="*/ 1617195 h 1978172"/>
              <a:gd name="connsiteX112" fmla="*/ 6506479 w 10768629"/>
              <a:gd name="connsiteY112" fmla="*/ 1602227 h 1978172"/>
              <a:gd name="connsiteX113" fmla="*/ 6458436 w 10768629"/>
              <a:gd name="connsiteY113" fmla="*/ 1607332 h 1978172"/>
              <a:gd name="connsiteX114" fmla="*/ 6414786 w 10768629"/>
              <a:gd name="connsiteY114" fmla="*/ 1628815 h 1978172"/>
              <a:gd name="connsiteX115" fmla="*/ 6357085 w 10768629"/>
              <a:gd name="connsiteY115" fmla="*/ 1640846 h 1978172"/>
              <a:gd name="connsiteX116" fmla="*/ 6322636 w 10768629"/>
              <a:gd name="connsiteY116" fmla="*/ 1648213 h 1978172"/>
              <a:gd name="connsiteX117" fmla="*/ 6226172 w 10768629"/>
              <a:gd name="connsiteY117" fmla="*/ 1654676 h 1978172"/>
              <a:gd name="connsiteX118" fmla="*/ 6221217 w 10768629"/>
              <a:gd name="connsiteY118" fmla="*/ 1654506 h 1978172"/>
              <a:gd name="connsiteX119" fmla="*/ 6204956 w 10768629"/>
              <a:gd name="connsiteY119" fmla="*/ 1664280 h 1978172"/>
              <a:gd name="connsiteX120" fmla="*/ 6204270 w 10768629"/>
              <a:gd name="connsiteY120" fmla="*/ 1666782 h 1978172"/>
              <a:gd name="connsiteX121" fmla="*/ 6143810 w 10768629"/>
              <a:gd name="connsiteY121" fmla="*/ 1661963 h 1978172"/>
              <a:gd name="connsiteX122" fmla="*/ 6136560 w 10768629"/>
              <a:gd name="connsiteY122" fmla="*/ 1665728 h 1978172"/>
              <a:gd name="connsiteX123" fmla="*/ 6096155 w 10768629"/>
              <a:gd name="connsiteY123" fmla="*/ 1656951 h 1978172"/>
              <a:gd name="connsiteX124" fmla="*/ 6075812 w 10768629"/>
              <a:gd name="connsiteY124" fmla="*/ 1655422 h 1978172"/>
              <a:gd name="connsiteX125" fmla="*/ 6039495 w 10768629"/>
              <a:gd name="connsiteY125" fmla="*/ 1649680 h 1978172"/>
              <a:gd name="connsiteX126" fmla="*/ 6036523 w 10768629"/>
              <a:gd name="connsiteY126" fmla="*/ 1652121 h 1978172"/>
              <a:gd name="connsiteX127" fmla="*/ 6029328 w 10768629"/>
              <a:gd name="connsiteY127" fmla="*/ 1649904 h 1978172"/>
              <a:gd name="connsiteX128" fmla="*/ 6024075 w 10768629"/>
              <a:gd name="connsiteY128" fmla="*/ 1652779 h 1978172"/>
              <a:gd name="connsiteX129" fmla="*/ 6018085 w 10768629"/>
              <a:gd name="connsiteY129" fmla="*/ 1652030 h 1978172"/>
              <a:gd name="connsiteX130" fmla="*/ 5955513 w 10768629"/>
              <a:gd name="connsiteY130" fmla="*/ 1663584 h 1978172"/>
              <a:gd name="connsiteX131" fmla="*/ 5941996 w 10768629"/>
              <a:gd name="connsiteY131" fmla="*/ 1661326 h 1978172"/>
              <a:gd name="connsiteX132" fmla="*/ 5931789 w 10768629"/>
              <a:gd name="connsiteY132" fmla="*/ 1669915 h 1978172"/>
              <a:gd name="connsiteX133" fmla="*/ 5888686 w 10768629"/>
              <a:gd name="connsiteY133" fmla="*/ 1672175 h 1978172"/>
              <a:gd name="connsiteX134" fmla="*/ 5873794 w 10768629"/>
              <a:gd name="connsiteY134" fmla="*/ 1665454 h 1978172"/>
              <a:gd name="connsiteX135" fmla="*/ 5860022 w 10768629"/>
              <a:gd name="connsiteY135" fmla="*/ 1660635 h 1978172"/>
              <a:gd name="connsiteX136" fmla="*/ 5858237 w 10768629"/>
              <a:gd name="connsiteY136" fmla="*/ 1660649 h 1978172"/>
              <a:gd name="connsiteX137" fmla="*/ 5840319 w 10768629"/>
              <a:gd name="connsiteY137" fmla="*/ 1660798 h 1978172"/>
              <a:gd name="connsiteX138" fmla="*/ 5806984 w 10768629"/>
              <a:gd name="connsiteY138" fmla="*/ 1661075 h 1978172"/>
              <a:gd name="connsiteX139" fmla="*/ 5742351 w 10768629"/>
              <a:gd name="connsiteY139" fmla="*/ 1667489 h 1978172"/>
              <a:gd name="connsiteX140" fmla="*/ 5521171 w 10768629"/>
              <a:gd name="connsiteY140" fmla="*/ 1671626 h 1978172"/>
              <a:gd name="connsiteX141" fmla="*/ 5457384 w 10768629"/>
              <a:gd name="connsiteY141" fmla="*/ 1683952 h 1978172"/>
              <a:gd name="connsiteX142" fmla="*/ 4950070 w 10768629"/>
              <a:gd name="connsiteY142" fmla="*/ 1748401 h 1978172"/>
              <a:gd name="connsiteX143" fmla="*/ 4872172 w 10768629"/>
              <a:gd name="connsiteY143" fmla="*/ 1757222 h 1978172"/>
              <a:gd name="connsiteX144" fmla="*/ 4809524 w 10768629"/>
              <a:gd name="connsiteY144" fmla="*/ 1761033 h 1978172"/>
              <a:gd name="connsiteX145" fmla="*/ 4759058 w 10768629"/>
              <a:gd name="connsiteY145" fmla="*/ 1766533 h 1978172"/>
              <a:gd name="connsiteX146" fmla="*/ 4719749 w 10768629"/>
              <a:gd name="connsiteY146" fmla="*/ 1771811 h 1978172"/>
              <a:gd name="connsiteX147" fmla="*/ 4568686 w 10768629"/>
              <a:gd name="connsiteY147" fmla="*/ 1786141 h 1978172"/>
              <a:gd name="connsiteX148" fmla="*/ 4418751 w 10768629"/>
              <a:gd name="connsiteY148" fmla="*/ 1796932 h 1978172"/>
              <a:gd name="connsiteX149" fmla="*/ 4378377 w 10768629"/>
              <a:gd name="connsiteY149" fmla="*/ 1815528 h 1978172"/>
              <a:gd name="connsiteX150" fmla="*/ 4320575 w 10768629"/>
              <a:gd name="connsiteY150" fmla="*/ 1832722 h 1978172"/>
              <a:gd name="connsiteX151" fmla="*/ 4220200 w 10768629"/>
              <a:gd name="connsiteY151" fmla="*/ 1873173 h 1978172"/>
              <a:gd name="connsiteX152" fmla="*/ 4105361 w 10768629"/>
              <a:gd name="connsiteY152" fmla="*/ 1894711 h 1978172"/>
              <a:gd name="connsiteX153" fmla="*/ 3973223 w 10768629"/>
              <a:gd name="connsiteY153" fmla="*/ 1881015 h 1978172"/>
              <a:gd name="connsiteX154" fmla="*/ 3900992 w 10768629"/>
              <a:gd name="connsiteY154" fmla="*/ 1880603 h 1978172"/>
              <a:gd name="connsiteX155" fmla="*/ 3662119 w 10768629"/>
              <a:gd name="connsiteY155" fmla="*/ 1876289 h 1978172"/>
              <a:gd name="connsiteX156" fmla="*/ 3496919 w 10768629"/>
              <a:gd name="connsiteY156" fmla="*/ 1873180 h 1978172"/>
              <a:gd name="connsiteX157" fmla="*/ 3449433 w 10768629"/>
              <a:gd name="connsiteY157" fmla="*/ 1889681 h 1978172"/>
              <a:gd name="connsiteX158" fmla="*/ 3369766 w 10768629"/>
              <a:gd name="connsiteY158" fmla="*/ 1916653 h 1978172"/>
              <a:gd name="connsiteX159" fmla="*/ 3290336 w 10768629"/>
              <a:gd name="connsiteY159" fmla="*/ 1925039 h 1978172"/>
              <a:gd name="connsiteX160" fmla="*/ 3224897 w 10768629"/>
              <a:gd name="connsiteY160" fmla="*/ 1943733 h 1978172"/>
              <a:gd name="connsiteX161" fmla="*/ 3161463 w 10768629"/>
              <a:gd name="connsiteY161" fmla="*/ 1946591 h 1978172"/>
              <a:gd name="connsiteX162" fmla="*/ 3157504 w 10768629"/>
              <a:gd name="connsiteY162" fmla="*/ 1957276 h 1978172"/>
              <a:gd name="connsiteX163" fmla="*/ 3069716 w 10768629"/>
              <a:gd name="connsiteY163" fmla="*/ 1930463 h 1978172"/>
              <a:gd name="connsiteX164" fmla="*/ 3005773 w 10768629"/>
              <a:gd name="connsiteY164" fmla="*/ 1915878 h 1978172"/>
              <a:gd name="connsiteX165" fmla="*/ 2897201 w 10768629"/>
              <a:gd name="connsiteY165" fmla="*/ 1926772 h 1978172"/>
              <a:gd name="connsiteX166" fmla="*/ 2783891 w 10768629"/>
              <a:gd name="connsiteY166" fmla="*/ 1931749 h 1978172"/>
              <a:gd name="connsiteX167" fmla="*/ 2712447 w 10768629"/>
              <a:gd name="connsiteY167" fmla="*/ 1933044 h 1978172"/>
              <a:gd name="connsiteX168" fmla="*/ 2560151 w 10768629"/>
              <a:gd name="connsiteY168" fmla="*/ 1963609 h 1978172"/>
              <a:gd name="connsiteX169" fmla="*/ 2367221 w 10768629"/>
              <a:gd name="connsiteY169" fmla="*/ 1971884 h 1978172"/>
              <a:gd name="connsiteX170" fmla="*/ 2272130 w 10768629"/>
              <a:gd name="connsiteY170" fmla="*/ 1961162 h 1978172"/>
              <a:gd name="connsiteX171" fmla="*/ 2189404 w 10768629"/>
              <a:gd name="connsiteY171" fmla="*/ 1978172 h 1978172"/>
              <a:gd name="connsiteX172" fmla="*/ 2077704 w 10768629"/>
              <a:gd name="connsiteY172" fmla="*/ 1965002 h 1978172"/>
              <a:gd name="connsiteX173" fmla="*/ 2033299 w 10768629"/>
              <a:gd name="connsiteY173" fmla="*/ 1969042 h 1978172"/>
              <a:gd name="connsiteX174" fmla="*/ 1967996 w 10768629"/>
              <a:gd name="connsiteY174" fmla="*/ 1953187 h 1978172"/>
              <a:gd name="connsiteX175" fmla="*/ 1855805 w 10768629"/>
              <a:gd name="connsiteY175" fmla="*/ 1926082 h 1978172"/>
              <a:gd name="connsiteX176" fmla="*/ 1790957 w 10768629"/>
              <a:gd name="connsiteY176" fmla="*/ 1919460 h 1978172"/>
              <a:gd name="connsiteX177" fmla="*/ 1613978 w 10768629"/>
              <a:gd name="connsiteY177" fmla="*/ 1891581 h 1978172"/>
              <a:gd name="connsiteX178" fmla="*/ 1436831 w 10768629"/>
              <a:gd name="connsiteY178" fmla="*/ 1856201 h 1978172"/>
              <a:gd name="connsiteX179" fmla="*/ 1357365 w 10768629"/>
              <a:gd name="connsiteY179" fmla="*/ 1832140 h 1978172"/>
              <a:gd name="connsiteX180" fmla="*/ 1232341 w 10768629"/>
              <a:gd name="connsiteY180" fmla="*/ 1785942 h 1978172"/>
              <a:gd name="connsiteX181" fmla="*/ 1162595 w 10768629"/>
              <a:gd name="connsiteY181" fmla="*/ 1758337 h 1978172"/>
              <a:gd name="connsiteX182" fmla="*/ 1128523 w 10768629"/>
              <a:gd name="connsiteY182" fmla="*/ 1763621 h 1978172"/>
              <a:gd name="connsiteX183" fmla="*/ 991903 w 10768629"/>
              <a:gd name="connsiteY183" fmla="*/ 1786741 h 1978172"/>
              <a:gd name="connsiteX184" fmla="*/ 883960 w 10768629"/>
              <a:gd name="connsiteY184" fmla="*/ 1822386 h 1978172"/>
              <a:gd name="connsiteX185" fmla="*/ 766531 w 10768629"/>
              <a:gd name="connsiteY185" fmla="*/ 1805053 h 1978172"/>
              <a:gd name="connsiteX186" fmla="*/ 669779 w 10768629"/>
              <a:gd name="connsiteY186" fmla="*/ 1800537 h 1978172"/>
              <a:gd name="connsiteX187" fmla="*/ 523898 w 10768629"/>
              <a:gd name="connsiteY187" fmla="*/ 1811085 h 1978172"/>
              <a:gd name="connsiteX188" fmla="*/ 360251 w 10768629"/>
              <a:gd name="connsiteY188" fmla="*/ 1830735 h 1978172"/>
              <a:gd name="connsiteX189" fmla="*/ 255207 w 10768629"/>
              <a:gd name="connsiteY189" fmla="*/ 1818275 h 1978172"/>
              <a:gd name="connsiteX190" fmla="*/ 101803 w 10768629"/>
              <a:gd name="connsiteY190" fmla="*/ 1870647 h 1978172"/>
              <a:gd name="connsiteX191" fmla="*/ 25397 w 10768629"/>
              <a:gd name="connsiteY191" fmla="*/ 1888443 h 1978172"/>
              <a:gd name="connsiteX192" fmla="*/ 2370 w 10768629"/>
              <a:gd name="connsiteY192" fmla="*/ 1878311 h 1978172"/>
              <a:gd name="connsiteX193" fmla="*/ 0 w 10768629"/>
              <a:gd name="connsiteY193" fmla="*/ 1878785 h 1978172"/>
              <a:gd name="connsiteX194" fmla="*/ 0 w 10768629"/>
              <a:gd name="connsiteY194" fmla="*/ 0 h 1978172"/>
              <a:gd name="connsiteX0" fmla="*/ 0 w 10768629"/>
              <a:gd name="connsiteY0" fmla="*/ 0 h 1978172"/>
              <a:gd name="connsiteX1" fmla="*/ 10768629 w 10768629"/>
              <a:gd name="connsiteY1" fmla="*/ 0 h 1978172"/>
              <a:gd name="connsiteX2" fmla="*/ 10733254 w 10768629"/>
              <a:gd name="connsiteY2" fmla="*/ 31439 h 1978172"/>
              <a:gd name="connsiteX3" fmla="*/ 10727085 w 10768629"/>
              <a:gd name="connsiteY3" fmla="*/ 37910 h 1978172"/>
              <a:gd name="connsiteX4" fmla="*/ 10675953 w 10768629"/>
              <a:gd name="connsiteY4" fmla="*/ 68623 h 1978172"/>
              <a:gd name="connsiteX5" fmla="*/ 10637091 w 10768629"/>
              <a:gd name="connsiteY5" fmla="*/ 90361 h 1978172"/>
              <a:gd name="connsiteX6" fmla="*/ 10610971 w 10768629"/>
              <a:gd name="connsiteY6" fmla="*/ 110764 h 1978172"/>
              <a:gd name="connsiteX7" fmla="*/ 10532872 w 10768629"/>
              <a:gd name="connsiteY7" fmla="*/ 138028 h 1978172"/>
              <a:gd name="connsiteX8" fmla="*/ 10398558 w 10768629"/>
              <a:gd name="connsiteY8" fmla="*/ 172911 h 1978172"/>
              <a:gd name="connsiteX9" fmla="*/ 10371128 w 10768629"/>
              <a:gd name="connsiteY9" fmla="*/ 182609 h 1978172"/>
              <a:gd name="connsiteX10" fmla="*/ 10352178 w 10768629"/>
              <a:gd name="connsiteY10" fmla="*/ 199976 h 1978172"/>
              <a:gd name="connsiteX11" fmla="*/ 10351815 w 10768629"/>
              <a:gd name="connsiteY11" fmla="*/ 211879 h 1978172"/>
              <a:gd name="connsiteX12" fmla="*/ 10337471 w 10768629"/>
              <a:gd name="connsiteY12" fmla="*/ 218661 h 1978172"/>
              <a:gd name="connsiteX13" fmla="*/ 10334625 w 10768629"/>
              <a:gd name="connsiteY13" fmla="*/ 222351 h 1978172"/>
              <a:gd name="connsiteX14" fmla="*/ 10256365 w 10768629"/>
              <a:gd name="connsiteY14" fmla="*/ 235917 h 1978172"/>
              <a:gd name="connsiteX15" fmla="*/ 10201127 w 10768629"/>
              <a:gd name="connsiteY15" fmla="*/ 267448 h 1978172"/>
              <a:gd name="connsiteX16" fmla="*/ 9961218 w 10768629"/>
              <a:gd name="connsiteY16" fmla="*/ 326720 h 1978172"/>
              <a:gd name="connsiteX17" fmla="*/ 9859715 w 10768629"/>
              <a:gd name="connsiteY17" fmla="*/ 355698 h 1978172"/>
              <a:gd name="connsiteX18" fmla="*/ 9679867 w 10768629"/>
              <a:gd name="connsiteY18" fmla="*/ 399081 h 1978172"/>
              <a:gd name="connsiteX19" fmla="*/ 9490654 w 10768629"/>
              <a:gd name="connsiteY19" fmla="*/ 455225 h 1978172"/>
              <a:gd name="connsiteX20" fmla="*/ 9470837 w 10768629"/>
              <a:gd name="connsiteY20" fmla="*/ 452539 h 1978172"/>
              <a:gd name="connsiteX21" fmla="*/ 9469082 w 10768629"/>
              <a:gd name="connsiteY21" fmla="*/ 454891 h 1978172"/>
              <a:gd name="connsiteX22" fmla="*/ 9448038 w 10768629"/>
              <a:gd name="connsiteY22" fmla="*/ 459733 h 1978172"/>
              <a:gd name="connsiteX23" fmla="*/ 9396821 w 10768629"/>
              <a:gd name="connsiteY23" fmla="*/ 455795 h 1978172"/>
              <a:gd name="connsiteX24" fmla="*/ 9392197 w 10768629"/>
              <a:gd name="connsiteY24" fmla="*/ 459796 h 1978172"/>
              <a:gd name="connsiteX25" fmla="*/ 9347994 w 10768629"/>
              <a:gd name="connsiteY25" fmla="*/ 464462 h 1978172"/>
              <a:gd name="connsiteX26" fmla="*/ 9347889 w 10768629"/>
              <a:gd name="connsiteY26" fmla="*/ 466539 h 1978172"/>
              <a:gd name="connsiteX27" fmla="*/ 9337639 w 10768629"/>
              <a:gd name="connsiteY27" fmla="*/ 476654 h 1978172"/>
              <a:gd name="connsiteX28" fmla="*/ 9316893 w 10768629"/>
              <a:gd name="connsiteY28" fmla="*/ 491390 h 1978172"/>
              <a:gd name="connsiteX29" fmla="*/ 9229283 w 10768629"/>
              <a:gd name="connsiteY29" fmla="*/ 555377 h 1978172"/>
              <a:gd name="connsiteX30" fmla="*/ 9220274 w 10768629"/>
              <a:gd name="connsiteY30" fmla="*/ 557502 h 1978172"/>
              <a:gd name="connsiteX31" fmla="*/ 9220202 w 10768629"/>
              <a:gd name="connsiteY31" fmla="*/ 558001 h 1978172"/>
              <a:gd name="connsiteX32" fmla="*/ 9210908 w 10768629"/>
              <a:gd name="connsiteY32" fmla="*/ 561147 h 1978172"/>
              <a:gd name="connsiteX33" fmla="*/ 9186374 w 10768629"/>
              <a:gd name="connsiteY33" fmla="*/ 565502 h 1978172"/>
              <a:gd name="connsiteX34" fmla="*/ 9181058 w 10768629"/>
              <a:gd name="connsiteY34" fmla="*/ 569943 h 1978172"/>
              <a:gd name="connsiteX35" fmla="*/ 9179948 w 10768629"/>
              <a:gd name="connsiteY35" fmla="*/ 576062 h 1978172"/>
              <a:gd name="connsiteX36" fmla="*/ 9149110 w 10768629"/>
              <a:gd name="connsiteY36" fmla="*/ 598906 h 1978172"/>
              <a:gd name="connsiteX37" fmla="*/ 9078556 w 10768629"/>
              <a:gd name="connsiteY37" fmla="*/ 644039 h 1978172"/>
              <a:gd name="connsiteX38" fmla="*/ 8996399 w 10768629"/>
              <a:gd name="connsiteY38" fmla="*/ 690055 h 1978172"/>
              <a:gd name="connsiteX39" fmla="*/ 8803791 w 10768629"/>
              <a:gd name="connsiteY39" fmla="*/ 813860 h 1978172"/>
              <a:gd name="connsiteX40" fmla="*/ 8636202 w 10768629"/>
              <a:gd name="connsiteY40" fmla="*/ 848463 h 1978172"/>
              <a:gd name="connsiteX41" fmla="*/ 8555372 w 10768629"/>
              <a:gd name="connsiteY41" fmla="*/ 883171 h 1978172"/>
              <a:gd name="connsiteX42" fmla="*/ 8507229 w 10768629"/>
              <a:gd name="connsiteY42" fmla="*/ 901665 h 1978172"/>
              <a:gd name="connsiteX43" fmla="*/ 8428473 w 10768629"/>
              <a:gd name="connsiteY43" fmla="*/ 927985 h 1978172"/>
              <a:gd name="connsiteX44" fmla="*/ 8427914 w 10768629"/>
              <a:gd name="connsiteY44" fmla="*/ 933480 h 1978172"/>
              <a:gd name="connsiteX45" fmla="*/ 8420327 w 10768629"/>
              <a:gd name="connsiteY45" fmla="*/ 941984 h 1978172"/>
              <a:gd name="connsiteX46" fmla="*/ 8407128 w 10768629"/>
              <a:gd name="connsiteY46" fmla="*/ 961344 h 1978172"/>
              <a:gd name="connsiteX47" fmla="*/ 8380548 w 10768629"/>
              <a:gd name="connsiteY47" fmla="*/ 987916 h 1978172"/>
              <a:gd name="connsiteX48" fmla="*/ 8379462 w 10768629"/>
              <a:gd name="connsiteY48" fmla="*/ 987106 h 1978172"/>
              <a:gd name="connsiteX49" fmla="*/ 8369725 w 10768629"/>
              <a:gd name="connsiteY49" fmla="*/ 989186 h 1978172"/>
              <a:gd name="connsiteX50" fmla="*/ 8304438 w 10768629"/>
              <a:gd name="connsiteY50" fmla="*/ 996739 h 1978172"/>
              <a:gd name="connsiteX51" fmla="*/ 8280929 w 10768629"/>
              <a:gd name="connsiteY51" fmla="*/ 1023089 h 1978172"/>
              <a:gd name="connsiteX52" fmla="*/ 8275760 w 10768629"/>
              <a:gd name="connsiteY52" fmla="*/ 1027772 h 1978172"/>
              <a:gd name="connsiteX53" fmla="*/ 8275478 w 10768629"/>
              <a:gd name="connsiteY53" fmla="*/ 1027605 h 1978172"/>
              <a:gd name="connsiteX54" fmla="*/ 8269666 w 10768629"/>
              <a:gd name="connsiteY54" fmla="*/ 1032033 h 1978172"/>
              <a:gd name="connsiteX55" fmla="*/ 8203836 w 10768629"/>
              <a:gd name="connsiteY55" fmla="*/ 1037347 h 1978172"/>
              <a:gd name="connsiteX56" fmla="*/ 8122936 w 10768629"/>
              <a:gd name="connsiteY56" fmla="*/ 1063113 h 1978172"/>
              <a:gd name="connsiteX57" fmla="*/ 8043658 w 10768629"/>
              <a:gd name="connsiteY57" fmla="*/ 1092746 h 1978172"/>
              <a:gd name="connsiteX58" fmla="*/ 8015351 w 10768629"/>
              <a:gd name="connsiteY58" fmla="*/ 1105478 h 1978172"/>
              <a:gd name="connsiteX59" fmla="*/ 7963145 w 10768629"/>
              <a:gd name="connsiteY59" fmla="*/ 1119346 h 1978172"/>
              <a:gd name="connsiteX60" fmla="*/ 7938145 w 10768629"/>
              <a:gd name="connsiteY60" fmla="*/ 1120225 h 1978172"/>
              <a:gd name="connsiteX61" fmla="*/ 7937238 w 10768629"/>
              <a:gd name="connsiteY61" fmla="*/ 1121204 h 1978172"/>
              <a:gd name="connsiteX62" fmla="*/ 7934398 w 10768629"/>
              <a:gd name="connsiteY62" fmla="*/ 1118240 h 1978172"/>
              <a:gd name="connsiteX63" fmla="*/ 7918248 w 10768629"/>
              <a:gd name="connsiteY63" fmla="*/ 1124371 h 1978172"/>
              <a:gd name="connsiteX64" fmla="*/ 7914119 w 10768629"/>
              <a:gd name="connsiteY64" fmla="*/ 1127653 h 1978172"/>
              <a:gd name="connsiteX65" fmla="*/ 7907658 w 10768629"/>
              <a:gd name="connsiteY65" fmla="*/ 1130350 h 1978172"/>
              <a:gd name="connsiteX66" fmla="*/ 7907434 w 10768629"/>
              <a:gd name="connsiteY66" fmla="*/ 1130103 h 1978172"/>
              <a:gd name="connsiteX67" fmla="*/ 7901508 w 10768629"/>
              <a:gd name="connsiteY67" fmla="*/ 1133245 h 1978172"/>
              <a:gd name="connsiteX68" fmla="*/ 7873287 w 10768629"/>
              <a:gd name="connsiteY68" fmla="*/ 1152609 h 1978172"/>
              <a:gd name="connsiteX69" fmla="*/ 7834833 w 10768629"/>
              <a:gd name="connsiteY69" fmla="*/ 1153868 h 1978172"/>
              <a:gd name="connsiteX70" fmla="*/ 7828661 w 10768629"/>
              <a:gd name="connsiteY70" fmla="*/ 1139994 h 1978172"/>
              <a:gd name="connsiteX71" fmla="*/ 7823966 w 10768629"/>
              <a:gd name="connsiteY71" fmla="*/ 1143178 h 1978172"/>
              <a:gd name="connsiteX72" fmla="*/ 7815078 w 10768629"/>
              <a:gd name="connsiteY72" fmla="*/ 1151776 h 1978172"/>
              <a:gd name="connsiteX73" fmla="*/ 7812026 w 10768629"/>
              <a:gd name="connsiteY73" fmla="*/ 1151522 h 1978172"/>
              <a:gd name="connsiteX74" fmla="*/ 7782249 w 10768629"/>
              <a:gd name="connsiteY74" fmla="*/ 1160970 h 1978172"/>
              <a:gd name="connsiteX75" fmla="*/ 7773476 w 10768629"/>
              <a:gd name="connsiteY75" fmla="*/ 1157414 h 1978172"/>
              <a:gd name="connsiteX76" fmla="*/ 7769600 w 10768629"/>
              <a:gd name="connsiteY76" fmla="*/ 1157365 h 1978172"/>
              <a:gd name="connsiteX77" fmla="*/ 7752631 w 10768629"/>
              <a:gd name="connsiteY77" fmla="*/ 1172815 h 1978172"/>
              <a:gd name="connsiteX78" fmla="*/ 7743525 w 10768629"/>
              <a:gd name="connsiteY78" fmla="*/ 1179064 h 1978172"/>
              <a:gd name="connsiteX79" fmla="*/ 7685942 w 10768629"/>
              <a:gd name="connsiteY79" fmla="*/ 1233723 h 1978172"/>
              <a:gd name="connsiteX80" fmla="*/ 7586920 w 10768629"/>
              <a:gd name="connsiteY80" fmla="*/ 1261888 h 1978172"/>
              <a:gd name="connsiteX81" fmla="*/ 7486100 w 10768629"/>
              <a:gd name="connsiteY81" fmla="*/ 1292563 h 1978172"/>
              <a:gd name="connsiteX82" fmla="*/ 7407190 w 10768629"/>
              <a:gd name="connsiteY82" fmla="*/ 1314737 h 1978172"/>
              <a:gd name="connsiteX83" fmla="*/ 7240698 w 10768629"/>
              <a:gd name="connsiteY83" fmla="*/ 1438832 h 1978172"/>
              <a:gd name="connsiteX84" fmla="*/ 7197675 w 10768629"/>
              <a:gd name="connsiteY84" fmla="*/ 1447530 h 1978172"/>
              <a:gd name="connsiteX85" fmla="*/ 7164788 w 10768629"/>
              <a:gd name="connsiteY85" fmla="*/ 1480293 h 1978172"/>
              <a:gd name="connsiteX86" fmla="*/ 7147929 w 10768629"/>
              <a:gd name="connsiteY86" fmla="*/ 1477641 h 1978172"/>
              <a:gd name="connsiteX87" fmla="*/ 7144965 w 10768629"/>
              <a:gd name="connsiteY87" fmla="*/ 1476908 h 1978172"/>
              <a:gd name="connsiteX88" fmla="*/ 7134299 w 10768629"/>
              <a:gd name="connsiteY88" fmla="*/ 1479969 h 1978172"/>
              <a:gd name="connsiteX89" fmla="*/ 7129809 w 10768629"/>
              <a:gd name="connsiteY89" fmla="*/ 1473339 h 1978172"/>
              <a:gd name="connsiteX90" fmla="*/ 7112688 w 10768629"/>
              <a:gd name="connsiteY90" fmla="*/ 1472575 h 1978172"/>
              <a:gd name="connsiteX91" fmla="*/ 7093470 w 10768629"/>
              <a:gd name="connsiteY91" fmla="*/ 1480300 h 1978172"/>
              <a:gd name="connsiteX92" fmla="*/ 7025034 w 10768629"/>
              <a:gd name="connsiteY92" fmla="*/ 1506934 h 1978172"/>
              <a:gd name="connsiteX93" fmla="*/ 7014783 w 10768629"/>
              <a:gd name="connsiteY93" fmla="*/ 1515868 h 1978172"/>
              <a:gd name="connsiteX94" fmla="*/ 6979706 w 10768629"/>
              <a:gd name="connsiteY94" fmla="*/ 1523511 h 1978172"/>
              <a:gd name="connsiteX95" fmla="*/ 6977890 w 10768629"/>
              <a:gd name="connsiteY95" fmla="*/ 1525793 h 1978172"/>
              <a:gd name="connsiteX96" fmla="*/ 6944339 w 10768629"/>
              <a:gd name="connsiteY96" fmla="*/ 1536237 h 1978172"/>
              <a:gd name="connsiteX97" fmla="*/ 6886996 w 10768629"/>
              <a:gd name="connsiteY97" fmla="*/ 1563569 h 1978172"/>
              <a:gd name="connsiteX98" fmla="*/ 6874510 w 10768629"/>
              <a:gd name="connsiteY98" fmla="*/ 1558469 h 1978172"/>
              <a:gd name="connsiteX99" fmla="*/ 6871943 w 10768629"/>
              <a:gd name="connsiteY99" fmla="*/ 1554651 h 1978172"/>
              <a:gd name="connsiteX100" fmla="*/ 6856174 w 10768629"/>
              <a:gd name="connsiteY100" fmla="*/ 1562024 h 1978172"/>
              <a:gd name="connsiteX101" fmla="*/ 6842321 w 10768629"/>
              <a:gd name="connsiteY101" fmla="*/ 1560554 h 1978172"/>
              <a:gd name="connsiteX102" fmla="*/ 6832713 w 10768629"/>
              <a:gd name="connsiteY102" fmla="*/ 1569357 h 1978172"/>
              <a:gd name="connsiteX103" fmla="*/ 6816351 w 10768629"/>
              <a:gd name="connsiteY103" fmla="*/ 1571495 h 1978172"/>
              <a:gd name="connsiteX104" fmla="*/ 6795800 w 10768629"/>
              <a:gd name="connsiteY104" fmla="*/ 1572010 h 1978172"/>
              <a:gd name="connsiteX105" fmla="*/ 6777546 w 10768629"/>
              <a:gd name="connsiteY105" fmla="*/ 1568661 h 1978172"/>
              <a:gd name="connsiteX106" fmla="*/ 6751528 w 10768629"/>
              <a:gd name="connsiteY106" fmla="*/ 1574143 h 1978172"/>
              <a:gd name="connsiteX107" fmla="*/ 6691966 w 10768629"/>
              <a:gd name="connsiteY107" fmla="*/ 1582255 h 1978172"/>
              <a:gd name="connsiteX108" fmla="*/ 6646941 w 10768629"/>
              <a:gd name="connsiteY108" fmla="*/ 1588471 h 1978172"/>
              <a:gd name="connsiteX109" fmla="*/ 6568576 w 10768629"/>
              <a:gd name="connsiteY109" fmla="*/ 1606488 h 1978172"/>
              <a:gd name="connsiteX110" fmla="*/ 6554358 w 10768629"/>
              <a:gd name="connsiteY110" fmla="*/ 1621701 h 1978172"/>
              <a:gd name="connsiteX111" fmla="*/ 6516968 w 10768629"/>
              <a:gd name="connsiteY111" fmla="*/ 1617195 h 1978172"/>
              <a:gd name="connsiteX112" fmla="*/ 6506479 w 10768629"/>
              <a:gd name="connsiteY112" fmla="*/ 1602227 h 1978172"/>
              <a:gd name="connsiteX113" fmla="*/ 6458436 w 10768629"/>
              <a:gd name="connsiteY113" fmla="*/ 1607332 h 1978172"/>
              <a:gd name="connsiteX114" fmla="*/ 6414786 w 10768629"/>
              <a:gd name="connsiteY114" fmla="*/ 1628815 h 1978172"/>
              <a:gd name="connsiteX115" fmla="*/ 6357085 w 10768629"/>
              <a:gd name="connsiteY115" fmla="*/ 1640846 h 1978172"/>
              <a:gd name="connsiteX116" fmla="*/ 6322636 w 10768629"/>
              <a:gd name="connsiteY116" fmla="*/ 1648213 h 1978172"/>
              <a:gd name="connsiteX117" fmla="*/ 6226172 w 10768629"/>
              <a:gd name="connsiteY117" fmla="*/ 1654676 h 1978172"/>
              <a:gd name="connsiteX118" fmla="*/ 6221217 w 10768629"/>
              <a:gd name="connsiteY118" fmla="*/ 1654506 h 1978172"/>
              <a:gd name="connsiteX119" fmla="*/ 6204956 w 10768629"/>
              <a:gd name="connsiteY119" fmla="*/ 1664280 h 1978172"/>
              <a:gd name="connsiteX120" fmla="*/ 6204270 w 10768629"/>
              <a:gd name="connsiteY120" fmla="*/ 1666782 h 1978172"/>
              <a:gd name="connsiteX121" fmla="*/ 6143810 w 10768629"/>
              <a:gd name="connsiteY121" fmla="*/ 1661963 h 1978172"/>
              <a:gd name="connsiteX122" fmla="*/ 6136560 w 10768629"/>
              <a:gd name="connsiteY122" fmla="*/ 1665728 h 1978172"/>
              <a:gd name="connsiteX123" fmla="*/ 6096155 w 10768629"/>
              <a:gd name="connsiteY123" fmla="*/ 1656951 h 1978172"/>
              <a:gd name="connsiteX124" fmla="*/ 6075812 w 10768629"/>
              <a:gd name="connsiteY124" fmla="*/ 1655422 h 1978172"/>
              <a:gd name="connsiteX125" fmla="*/ 6039495 w 10768629"/>
              <a:gd name="connsiteY125" fmla="*/ 1649680 h 1978172"/>
              <a:gd name="connsiteX126" fmla="*/ 6036523 w 10768629"/>
              <a:gd name="connsiteY126" fmla="*/ 1652121 h 1978172"/>
              <a:gd name="connsiteX127" fmla="*/ 6029328 w 10768629"/>
              <a:gd name="connsiteY127" fmla="*/ 1649904 h 1978172"/>
              <a:gd name="connsiteX128" fmla="*/ 6024075 w 10768629"/>
              <a:gd name="connsiteY128" fmla="*/ 1652779 h 1978172"/>
              <a:gd name="connsiteX129" fmla="*/ 6018085 w 10768629"/>
              <a:gd name="connsiteY129" fmla="*/ 1652030 h 1978172"/>
              <a:gd name="connsiteX130" fmla="*/ 5955513 w 10768629"/>
              <a:gd name="connsiteY130" fmla="*/ 1663584 h 1978172"/>
              <a:gd name="connsiteX131" fmla="*/ 5941996 w 10768629"/>
              <a:gd name="connsiteY131" fmla="*/ 1661326 h 1978172"/>
              <a:gd name="connsiteX132" fmla="*/ 5931789 w 10768629"/>
              <a:gd name="connsiteY132" fmla="*/ 1669915 h 1978172"/>
              <a:gd name="connsiteX133" fmla="*/ 5888686 w 10768629"/>
              <a:gd name="connsiteY133" fmla="*/ 1672175 h 1978172"/>
              <a:gd name="connsiteX134" fmla="*/ 5873794 w 10768629"/>
              <a:gd name="connsiteY134" fmla="*/ 1665454 h 1978172"/>
              <a:gd name="connsiteX135" fmla="*/ 5860022 w 10768629"/>
              <a:gd name="connsiteY135" fmla="*/ 1660635 h 1978172"/>
              <a:gd name="connsiteX136" fmla="*/ 5858237 w 10768629"/>
              <a:gd name="connsiteY136" fmla="*/ 1660649 h 1978172"/>
              <a:gd name="connsiteX137" fmla="*/ 5840319 w 10768629"/>
              <a:gd name="connsiteY137" fmla="*/ 1660798 h 1978172"/>
              <a:gd name="connsiteX138" fmla="*/ 5806984 w 10768629"/>
              <a:gd name="connsiteY138" fmla="*/ 1661075 h 1978172"/>
              <a:gd name="connsiteX139" fmla="*/ 5742351 w 10768629"/>
              <a:gd name="connsiteY139" fmla="*/ 1667489 h 1978172"/>
              <a:gd name="connsiteX140" fmla="*/ 5521171 w 10768629"/>
              <a:gd name="connsiteY140" fmla="*/ 1671626 h 1978172"/>
              <a:gd name="connsiteX141" fmla="*/ 5457384 w 10768629"/>
              <a:gd name="connsiteY141" fmla="*/ 1683952 h 1978172"/>
              <a:gd name="connsiteX142" fmla="*/ 4950070 w 10768629"/>
              <a:gd name="connsiteY142" fmla="*/ 1748401 h 1978172"/>
              <a:gd name="connsiteX143" fmla="*/ 4872172 w 10768629"/>
              <a:gd name="connsiteY143" fmla="*/ 1757222 h 1978172"/>
              <a:gd name="connsiteX144" fmla="*/ 4809524 w 10768629"/>
              <a:gd name="connsiteY144" fmla="*/ 1761033 h 1978172"/>
              <a:gd name="connsiteX145" fmla="*/ 4759058 w 10768629"/>
              <a:gd name="connsiteY145" fmla="*/ 1766533 h 1978172"/>
              <a:gd name="connsiteX146" fmla="*/ 4719749 w 10768629"/>
              <a:gd name="connsiteY146" fmla="*/ 1771811 h 1978172"/>
              <a:gd name="connsiteX147" fmla="*/ 4568686 w 10768629"/>
              <a:gd name="connsiteY147" fmla="*/ 1786141 h 1978172"/>
              <a:gd name="connsiteX148" fmla="*/ 4418751 w 10768629"/>
              <a:gd name="connsiteY148" fmla="*/ 1796932 h 1978172"/>
              <a:gd name="connsiteX149" fmla="*/ 4378377 w 10768629"/>
              <a:gd name="connsiteY149" fmla="*/ 1815528 h 1978172"/>
              <a:gd name="connsiteX150" fmla="*/ 4320575 w 10768629"/>
              <a:gd name="connsiteY150" fmla="*/ 1832722 h 1978172"/>
              <a:gd name="connsiteX151" fmla="*/ 4220200 w 10768629"/>
              <a:gd name="connsiteY151" fmla="*/ 1873173 h 1978172"/>
              <a:gd name="connsiteX152" fmla="*/ 4105361 w 10768629"/>
              <a:gd name="connsiteY152" fmla="*/ 1894711 h 1978172"/>
              <a:gd name="connsiteX153" fmla="*/ 3973223 w 10768629"/>
              <a:gd name="connsiteY153" fmla="*/ 1881015 h 1978172"/>
              <a:gd name="connsiteX154" fmla="*/ 3900992 w 10768629"/>
              <a:gd name="connsiteY154" fmla="*/ 1880603 h 1978172"/>
              <a:gd name="connsiteX155" fmla="*/ 3662119 w 10768629"/>
              <a:gd name="connsiteY155" fmla="*/ 1876289 h 1978172"/>
              <a:gd name="connsiteX156" fmla="*/ 3496919 w 10768629"/>
              <a:gd name="connsiteY156" fmla="*/ 1873180 h 1978172"/>
              <a:gd name="connsiteX157" fmla="*/ 3449433 w 10768629"/>
              <a:gd name="connsiteY157" fmla="*/ 1889681 h 1978172"/>
              <a:gd name="connsiteX158" fmla="*/ 3369766 w 10768629"/>
              <a:gd name="connsiteY158" fmla="*/ 1916653 h 1978172"/>
              <a:gd name="connsiteX159" fmla="*/ 3290336 w 10768629"/>
              <a:gd name="connsiteY159" fmla="*/ 1925039 h 1978172"/>
              <a:gd name="connsiteX160" fmla="*/ 3224897 w 10768629"/>
              <a:gd name="connsiteY160" fmla="*/ 1943733 h 1978172"/>
              <a:gd name="connsiteX161" fmla="*/ 3161463 w 10768629"/>
              <a:gd name="connsiteY161" fmla="*/ 1946591 h 1978172"/>
              <a:gd name="connsiteX162" fmla="*/ 3112044 w 10768629"/>
              <a:gd name="connsiteY162" fmla="*/ 1935614 h 1978172"/>
              <a:gd name="connsiteX163" fmla="*/ 3069716 w 10768629"/>
              <a:gd name="connsiteY163" fmla="*/ 1930463 h 1978172"/>
              <a:gd name="connsiteX164" fmla="*/ 3005773 w 10768629"/>
              <a:gd name="connsiteY164" fmla="*/ 1915878 h 1978172"/>
              <a:gd name="connsiteX165" fmla="*/ 2897201 w 10768629"/>
              <a:gd name="connsiteY165" fmla="*/ 1926772 h 1978172"/>
              <a:gd name="connsiteX166" fmla="*/ 2783891 w 10768629"/>
              <a:gd name="connsiteY166" fmla="*/ 1931749 h 1978172"/>
              <a:gd name="connsiteX167" fmla="*/ 2712447 w 10768629"/>
              <a:gd name="connsiteY167" fmla="*/ 1933044 h 1978172"/>
              <a:gd name="connsiteX168" fmla="*/ 2560151 w 10768629"/>
              <a:gd name="connsiteY168" fmla="*/ 1963609 h 1978172"/>
              <a:gd name="connsiteX169" fmla="*/ 2367221 w 10768629"/>
              <a:gd name="connsiteY169" fmla="*/ 1971884 h 1978172"/>
              <a:gd name="connsiteX170" fmla="*/ 2272130 w 10768629"/>
              <a:gd name="connsiteY170" fmla="*/ 1961162 h 1978172"/>
              <a:gd name="connsiteX171" fmla="*/ 2189404 w 10768629"/>
              <a:gd name="connsiteY171" fmla="*/ 1978172 h 1978172"/>
              <a:gd name="connsiteX172" fmla="*/ 2077704 w 10768629"/>
              <a:gd name="connsiteY172" fmla="*/ 1965002 h 1978172"/>
              <a:gd name="connsiteX173" fmla="*/ 2033299 w 10768629"/>
              <a:gd name="connsiteY173" fmla="*/ 1969042 h 1978172"/>
              <a:gd name="connsiteX174" fmla="*/ 1967996 w 10768629"/>
              <a:gd name="connsiteY174" fmla="*/ 1953187 h 1978172"/>
              <a:gd name="connsiteX175" fmla="*/ 1855805 w 10768629"/>
              <a:gd name="connsiteY175" fmla="*/ 1926082 h 1978172"/>
              <a:gd name="connsiteX176" fmla="*/ 1790957 w 10768629"/>
              <a:gd name="connsiteY176" fmla="*/ 1919460 h 1978172"/>
              <a:gd name="connsiteX177" fmla="*/ 1613978 w 10768629"/>
              <a:gd name="connsiteY177" fmla="*/ 1891581 h 1978172"/>
              <a:gd name="connsiteX178" fmla="*/ 1436831 w 10768629"/>
              <a:gd name="connsiteY178" fmla="*/ 1856201 h 1978172"/>
              <a:gd name="connsiteX179" fmla="*/ 1357365 w 10768629"/>
              <a:gd name="connsiteY179" fmla="*/ 1832140 h 1978172"/>
              <a:gd name="connsiteX180" fmla="*/ 1232341 w 10768629"/>
              <a:gd name="connsiteY180" fmla="*/ 1785942 h 1978172"/>
              <a:gd name="connsiteX181" fmla="*/ 1162595 w 10768629"/>
              <a:gd name="connsiteY181" fmla="*/ 1758337 h 1978172"/>
              <a:gd name="connsiteX182" fmla="*/ 1128523 w 10768629"/>
              <a:gd name="connsiteY182" fmla="*/ 1763621 h 1978172"/>
              <a:gd name="connsiteX183" fmla="*/ 991903 w 10768629"/>
              <a:gd name="connsiteY183" fmla="*/ 1786741 h 1978172"/>
              <a:gd name="connsiteX184" fmla="*/ 883960 w 10768629"/>
              <a:gd name="connsiteY184" fmla="*/ 1822386 h 1978172"/>
              <a:gd name="connsiteX185" fmla="*/ 766531 w 10768629"/>
              <a:gd name="connsiteY185" fmla="*/ 1805053 h 1978172"/>
              <a:gd name="connsiteX186" fmla="*/ 669779 w 10768629"/>
              <a:gd name="connsiteY186" fmla="*/ 1800537 h 1978172"/>
              <a:gd name="connsiteX187" fmla="*/ 523898 w 10768629"/>
              <a:gd name="connsiteY187" fmla="*/ 1811085 h 1978172"/>
              <a:gd name="connsiteX188" fmla="*/ 360251 w 10768629"/>
              <a:gd name="connsiteY188" fmla="*/ 1830735 h 1978172"/>
              <a:gd name="connsiteX189" fmla="*/ 255207 w 10768629"/>
              <a:gd name="connsiteY189" fmla="*/ 1818275 h 1978172"/>
              <a:gd name="connsiteX190" fmla="*/ 101803 w 10768629"/>
              <a:gd name="connsiteY190" fmla="*/ 1870647 h 1978172"/>
              <a:gd name="connsiteX191" fmla="*/ 25397 w 10768629"/>
              <a:gd name="connsiteY191" fmla="*/ 1888443 h 1978172"/>
              <a:gd name="connsiteX192" fmla="*/ 2370 w 10768629"/>
              <a:gd name="connsiteY192" fmla="*/ 1878311 h 1978172"/>
              <a:gd name="connsiteX193" fmla="*/ 0 w 10768629"/>
              <a:gd name="connsiteY193" fmla="*/ 1878785 h 1978172"/>
              <a:gd name="connsiteX194" fmla="*/ 0 w 10768629"/>
              <a:gd name="connsiteY194" fmla="*/ 0 h 1978172"/>
              <a:gd name="connsiteX0" fmla="*/ 0 w 10768629"/>
              <a:gd name="connsiteY0" fmla="*/ 0 h 1978172"/>
              <a:gd name="connsiteX1" fmla="*/ 10768629 w 10768629"/>
              <a:gd name="connsiteY1" fmla="*/ 0 h 1978172"/>
              <a:gd name="connsiteX2" fmla="*/ 10733254 w 10768629"/>
              <a:gd name="connsiteY2" fmla="*/ 31439 h 1978172"/>
              <a:gd name="connsiteX3" fmla="*/ 10727085 w 10768629"/>
              <a:gd name="connsiteY3" fmla="*/ 37910 h 1978172"/>
              <a:gd name="connsiteX4" fmla="*/ 10675953 w 10768629"/>
              <a:gd name="connsiteY4" fmla="*/ 68623 h 1978172"/>
              <a:gd name="connsiteX5" fmla="*/ 10637091 w 10768629"/>
              <a:gd name="connsiteY5" fmla="*/ 90361 h 1978172"/>
              <a:gd name="connsiteX6" fmla="*/ 10610971 w 10768629"/>
              <a:gd name="connsiteY6" fmla="*/ 110764 h 1978172"/>
              <a:gd name="connsiteX7" fmla="*/ 10532872 w 10768629"/>
              <a:gd name="connsiteY7" fmla="*/ 138028 h 1978172"/>
              <a:gd name="connsiteX8" fmla="*/ 10398558 w 10768629"/>
              <a:gd name="connsiteY8" fmla="*/ 172911 h 1978172"/>
              <a:gd name="connsiteX9" fmla="*/ 10371128 w 10768629"/>
              <a:gd name="connsiteY9" fmla="*/ 182609 h 1978172"/>
              <a:gd name="connsiteX10" fmla="*/ 10352178 w 10768629"/>
              <a:gd name="connsiteY10" fmla="*/ 199976 h 1978172"/>
              <a:gd name="connsiteX11" fmla="*/ 10351815 w 10768629"/>
              <a:gd name="connsiteY11" fmla="*/ 211879 h 1978172"/>
              <a:gd name="connsiteX12" fmla="*/ 10337471 w 10768629"/>
              <a:gd name="connsiteY12" fmla="*/ 218661 h 1978172"/>
              <a:gd name="connsiteX13" fmla="*/ 10334625 w 10768629"/>
              <a:gd name="connsiteY13" fmla="*/ 222351 h 1978172"/>
              <a:gd name="connsiteX14" fmla="*/ 10256365 w 10768629"/>
              <a:gd name="connsiteY14" fmla="*/ 235917 h 1978172"/>
              <a:gd name="connsiteX15" fmla="*/ 10201127 w 10768629"/>
              <a:gd name="connsiteY15" fmla="*/ 267448 h 1978172"/>
              <a:gd name="connsiteX16" fmla="*/ 9961218 w 10768629"/>
              <a:gd name="connsiteY16" fmla="*/ 326720 h 1978172"/>
              <a:gd name="connsiteX17" fmla="*/ 9859715 w 10768629"/>
              <a:gd name="connsiteY17" fmla="*/ 355698 h 1978172"/>
              <a:gd name="connsiteX18" fmla="*/ 9679867 w 10768629"/>
              <a:gd name="connsiteY18" fmla="*/ 399081 h 1978172"/>
              <a:gd name="connsiteX19" fmla="*/ 9490654 w 10768629"/>
              <a:gd name="connsiteY19" fmla="*/ 455225 h 1978172"/>
              <a:gd name="connsiteX20" fmla="*/ 9470837 w 10768629"/>
              <a:gd name="connsiteY20" fmla="*/ 452539 h 1978172"/>
              <a:gd name="connsiteX21" fmla="*/ 9469082 w 10768629"/>
              <a:gd name="connsiteY21" fmla="*/ 454891 h 1978172"/>
              <a:gd name="connsiteX22" fmla="*/ 9448038 w 10768629"/>
              <a:gd name="connsiteY22" fmla="*/ 459733 h 1978172"/>
              <a:gd name="connsiteX23" fmla="*/ 9396821 w 10768629"/>
              <a:gd name="connsiteY23" fmla="*/ 455795 h 1978172"/>
              <a:gd name="connsiteX24" fmla="*/ 9392197 w 10768629"/>
              <a:gd name="connsiteY24" fmla="*/ 459796 h 1978172"/>
              <a:gd name="connsiteX25" fmla="*/ 9347994 w 10768629"/>
              <a:gd name="connsiteY25" fmla="*/ 464462 h 1978172"/>
              <a:gd name="connsiteX26" fmla="*/ 9347889 w 10768629"/>
              <a:gd name="connsiteY26" fmla="*/ 466539 h 1978172"/>
              <a:gd name="connsiteX27" fmla="*/ 9337639 w 10768629"/>
              <a:gd name="connsiteY27" fmla="*/ 476654 h 1978172"/>
              <a:gd name="connsiteX28" fmla="*/ 9316893 w 10768629"/>
              <a:gd name="connsiteY28" fmla="*/ 491390 h 1978172"/>
              <a:gd name="connsiteX29" fmla="*/ 9229283 w 10768629"/>
              <a:gd name="connsiteY29" fmla="*/ 555377 h 1978172"/>
              <a:gd name="connsiteX30" fmla="*/ 9220274 w 10768629"/>
              <a:gd name="connsiteY30" fmla="*/ 557502 h 1978172"/>
              <a:gd name="connsiteX31" fmla="*/ 9220202 w 10768629"/>
              <a:gd name="connsiteY31" fmla="*/ 558001 h 1978172"/>
              <a:gd name="connsiteX32" fmla="*/ 9210908 w 10768629"/>
              <a:gd name="connsiteY32" fmla="*/ 561147 h 1978172"/>
              <a:gd name="connsiteX33" fmla="*/ 9186374 w 10768629"/>
              <a:gd name="connsiteY33" fmla="*/ 565502 h 1978172"/>
              <a:gd name="connsiteX34" fmla="*/ 9181058 w 10768629"/>
              <a:gd name="connsiteY34" fmla="*/ 569943 h 1978172"/>
              <a:gd name="connsiteX35" fmla="*/ 9179948 w 10768629"/>
              <a:gd name="connsiteY35" fmla="*/ 576062 h 1978172"/>
              <a:gd name="connsiteX36" fmla="*/ 9149110 w 10768629"/>
              <a:gd name="connsiteY36" fmla="*/ 598906 h 1978172"/>
              <a:gd name="connsiteX37" fmla="*/ 9078556 w 10768629"/>
              <a:gd name="connsiteY37" fmla="*/ 644039 h 1978172"/>
              <a:gd name="connsiteX38" fmla="*/ 8996399 w 10768629"/>
              <a:gd name="connsiteY38" fmla="*/ 690055 h 1978172"/>
              <a:gd name="connsiteX39" fmla="*/ 8803791 w 10768629"/>
              <a:gd name="connsiteY39" fmla="*/ 813860 h 1978172"/>
              <a:gd name="connsiteX40" fmla="*/ 8636202 w 10768629"/>
              <a:gd name="connsiteY40" fmla="*/ 848463 h 1978172"/>
              <a:gd name="connsiteX41" fmla="*/ 8555372 w 10768629"/>
              <a:gd name="connsiteY41" fmla="*/ 883171 h 1978172"/>
              <a:gd name="connsiteX42" fmla="*/ 8507229 w 10768629"/>
              <a:gd name="connsiteY42" fmla="*/ 901665 h 1978172"/>
              <a:gd name="connsiteX43" fmla="*/ 8428473 w 10768629"/>
              <a:gd name="connsiteY43" fmla="*/ 927985 h 1978172"/>
              <a:gd name="connsiteX44" fmla="*/ 8427914 w 10768629"/>
              <a:gd name="connsiteY44" fmla="*/ 933480 h 1978172"/>
              <a:gd name="connsiteX45" fmla="*/ 8420327 w 10768629"/>
              <a:gd name="connsiteY45" fmla="*/ 941984 h 1978172"/>
              <a:gd name="connsiteX46" fmla="*/ 8407128 w 10768629"/>
              <a:gd name="connsiteY46" fmla="*/ 961344 h 1978172"/>
              <a:gd name="connsiteX47" fmla="*/ 8380548 w 10768629"/>
              <a:gd name="connsiteY47" fmla="*/ 987916 h 1978172"/>
              <a:gd name="connsiteX48" fmla="*/ 8379462 w 10768629"/>
              <a:gd name="connsiteY48" fmla="*/ 987106 h 1978172"/>
              <a:gd name="connsiteX49" fmla="*/ 8369725 w 10768629"/>
              <a:gd name="connsiteY49" fmla="*/ 989186 h 1978172"/>
              <a:gd name="connsiteX50" fmla="*/ 8304438 w 10768629"/>
              <a:gd name="connsiteY50" fmla="*/ 996739 h 1978172"/>
              <a:gd name="connsiteX51" fmla="*/ 8280929 w 10768629"/>
              <a:gd name="connsiteY51" fmla="*/ 1023089 h 1978172"/>
              <a:gd name="connsiteX52" fmla="*/ 8275760 w 10768629"/>
              <a:gd name="connsiteY52" fmla="*/ 1027772 h 1978172"/>
              <a:gd name="connsiteX53" fmla="*/ 8275478 w 10768629"/>
              <a:gd name="connsiteY53" fmla="*/ 1027605 h 1978172"/>
              <a:gd name="connsiteX54" fmla="*/ 8269666 w 10768629"/>
              <a:gd name="connsiteY54" fmla="*/ 1032033 h 1978172"/>
              <a:gd name="connsiteX55" fmla="*/ 8203836 w 10768629"/>
              <a:gd name="connsiteY55" fmla="*/ 1037347 h 1978172"/>
              <a:gd name="connsiteX56" fmla="*/ 8122936 w 10768629"/>
              <a:gd name="connsiteY56" fmla="*/ 1063113 h 1978172"/>
              <a:gd name="connsiteX57" fmla="*/ 8043658 w 10768629"/>
              <a:gd name="connsiteY57" fmla="*/ 1092746 h 1978172"/>
              <a:gd name="connsiteX58" fmla="*/ 8015351 w 10768629"/>
              <a:gd name="connsiteY58" fmla="*/ 1105478 h 1978172"/>
              <a:gd name="connsiteX59" fmla="*/ 7963145 w 10768629"/>
              <a:gd name="connsiteY59" fmla="*/ 1119346 h 1978172"/>
              <a:gd name="connsiteX60" fmla="*/ 7938145 w 10768629"/>
              <a:gd name="connsiteY60" fmla="*/ 1120225 h 1978172"/>
              <a:gd name="connsiteX61" fmla="*/ 7937238 w 10768629"/>
              <a:gd name="connsiteY61" fmla="*/ 1121204 h 1978172"/>
              <a:gd name="connsiteX62" fmla="*/ 7934398 w 10768629"/>
              <a:gd name="connsiteY62" fmla="*/ 1118240 h 1978172"/>
              <a:gd name="connsiteX63" fmla="*/ 7918248 w 10768629"/>
              <a:gd name="connsiteY63" fmla="*/ 1124371 h 1978172"/>
              <a:gd name="connsiteX64" fmla="*/ 7914119 w 10768629"/>
              <a:gd name="connsiteY64" fmla="*/ 1127653 h 1978172"/>
              <a:gd name="connsiteX65" fmla="*/ 7907658 w 10768629"/>
              <a:gd name="connsiteY65" fmla="*/ 1130350 h 1978172"/>
              <a:gd name="connsiteX66" fmla="*/ 7907434 w 10768629"/>
              <a:gd name="connsiteY66" fmla="*/ 1130103 h 1978172"/>
              <a:gd name="connsiteX67" fmla="*/ 7901508 w 10768629"/>
              <a:gd name="connsiteY67" fmla="*/ 1133245 h 1978172"/>
              <a:gd name="connsiteX68" fmla="*/ 7873287 w 10768629"/>
              <a:gd name="connsiteY68" fmla="*/ 1152609 h 1978172"/>
              <a:gd name="connsiteX69" fmla="*/ 7834833 w 10768629"/>
              <a:gd name="connsiteY69" fmla="*/ 1153868 h 1978172"/>
              <a:gd name="connsiteX70" fmla="*/ 7828661 w 10768629"/>
              <a:gd name="connsiteY70" fmla="*/ 1139994 h 1978172"/>
              <a:gd name="connsiteX71" fmla="*/ 7823966 w 10768629"/>
              <a:gd name="connsiteY71" fmla="*/ 1143178 h 1978172"/>
              <a:gd name="connsiteX72" fmla="*/ 7815078 w 10768629"/>
              <a:gd name="connsiteY72" fmla="*/ 1151776 h 1978172"/>
              <a:gd name="connsiteX73" fmla="*/ 7812026 w 10768629"/>
              <a:gd name="connsiteY73" fmla="*/ 1151522 h 1978172"/>
              <a:gd name="connsiteX74" fmla="*/ 7782249 w 10768629"/>
              <a:gd name="connsiteY74" fmla="*/ 1160970 h 1978172"/>
              <a:gd name="connsiteX75" fmla="*/ 7773476 w 10768629"/>
              <a:gd name="connsiteY75" fmla="*/ 1157414 h 1978172"/>
              <a:gd name="connsiteX76" fmla="*/ 7769600 w 10768629"/>
              <a:gd name="connsiteY76" fmla="*/ 1157365 h 1978172"/>
              <a:gd name="connsiteX77" fmla="*/ 7752631 w 10768629"/>
              <a:gd name="connsiteY77" fmla="*/ 1172815 h 1978172"/>
              <a:gd name="connsiteX78" fmla="*/ 7743525 w 10768629"/>
              <a:gd name="connsiteY78" fmla="*/ 1179064 h 1978172"/>
              <a:gd name="connsiteX79" fmla="*/ 7685942 w 10768629"/>
              <a:gd name="connsiteY79" fmla="*/ 1233723 h 1978172"/>
              <a:gd name="connsiteX80" fmla="*/ 7586920 w 10768629"/>
              <a:gd name="connsiteY80" fmla="*/ 1261888 h 1978172"/>
              <a:gd name="connsiteX81" fmla="*/ 7486100 w 10768629"/>
              <a:gd name="connsiteY81" fmla="*/ 1292563 h 1978172"/>
              <a:gd name="connsiteX82" fmla="*/ 7407190 w 10768629"/>
              <a:gd name="connsiteY82" fmla="*/ 1314737 h 1978172"/>
              <a:gd name="connsiteX83" fmla="*/ 7240698 w 10768629"/>
              <a:gd name="connsiteY83" fmla="*/ 1438832 h 1978172"/>
              <a:gd name="connsiteX84" fmla="*/ 7197675 w 10768629"/>
              <a:gd name="connsiteY84" fmla="*/ 1447530 h 1978172"/>
              <a:gd name="connsiteX85" fmla="*/ 7164788 w 10768629"/>
              <a:gd name="connsiteY85" fmla="*/ 1480293 h 1978172"/>
              <a:gd name="connsiteX86" fmla="*/ 7147929 w 10768629"/>
              <a:gd name="connsiteY86" fmla="*/ 1477641 h 1978172"/>
              <a:gd name="connsiteX87" fmla="*/ 7144965 w 10768629"/>
              <a:gd name="connsiteY87" fmla="*/ 1476908 h 1978172"/>
              <a:gd name="connsiteX88" fmla="*/ 7134299 w 10768629"/>
              <a:gd name="connsiteY88" fmla="*/ 1479969 h 1978172"/>
              <a:gd name="connsiteX89" fmla="*/ 7129809 w 10768629"/>
              <a:gd name="connsiteY89" fmla="*/ 1473339 h 1978172"/>
              <a:gd name="connsiteX90" fmla="*/ 7112688 w 10768629"/>
              <a:gd name="connsiteY90" fmla="*/ 1472575 h 1978172"/>
              <a:gd name="connsiteX91" fmla="*/ 7093470 w 10768629"/>
              <a:gd name="connsiteY91" fmla="*/ 1480300 h 1978172"/>
              <a:gd name="connsiteX92" fmla="*/ 7025034 w 10768629"/>
              <a:gd name="connsiteY92" fmla="*/ 1506934 h 1978172"/>
              <a:gd name="connsiteX93" fmla="*/ 7014783 w 10768629"/>
              <a:gd name="connsiteY93" fmla="*/ 1515868 h 1978172"/>
              <a:gd name="connsiteX94" fmla="*/ 6979706 w 10768629"/>
              <a:gd name="connsiteY94" fmla="*/ 1523511 h 1978172"/>
              <a:gd name="connsiteX95" fmla="*/ 6977890 w 10768629"/>
              <a:gd name="connsiteY95" fmla="*/ 1525793 h 1978172"/>
              <a:gd name="connsiteX96" fmla="*/ 6944339 w 10768629"/>
              <a:gd name="connsiteY96" fmla="*/ 1536237 h 1978172"/>
              <a:gd name="connsiteX97" fmla="*/ 6886996 w 10768629"/>
              <a:gd name="connsiteY97" fmla="*/ 1563569 h 1978172"/>
              <a:gd name="connsiteX98" fmla="*/ 6874510 w 10768629"/>
              <a:gd name="connsiteY98" fmla="*/ 1558469 h 1978172"/>
              <a:gd name="connsiteX99" fmla="*/ 6871943 w 10768629"/>
              <a:gd name="connsiteY99" fmla="*/ 1554651 h 1978172"/>
              <a:gd name="connsiteX100" fmla="*/ 6856174 w 10768629"/>
              <a:gd name="connsiteY100" fmla="*/ 1562024 h 1978172"/>
              <a:gd name="connsiteX101" fmla="*/ 6842321 w 10768629"/>
              <a:gd name="connsiteY101" fmla="*/ 1560554 h 1978172"/>
              <a:gd name="connsiteX102" fmla="*/ 6832713 w 10768629"/>
              <a:gd name="connsiteY102" fmla="*/ 1569357 h 1978172"/>
              <a:gd name="connsiteX103" fmla="*/ 6816351 w 10768629"/>
              <a:gd name="connsiteY103" fmla="*/ 1571495 h 1978172"/>
              <a:gd name="connsiteX104" fmla="*/ 6795800 w 10768629"/>
              <a:gd name="connsiteY104" fmla="*/ 1572010 h 1978172"/>
              <a:gd name="connsiteX105" fmla="*/ 6777546 w 10768629"/>
              <a:gd name="connsiteY105" fmla="*/ 1568661 h 1978172"/>
              <a:gd name="connsiteX106" fmla="*/ 6751528 w 10768629"/>
              <a:gd name="connsiteY106" fmla="*/ 1574143 h 1978172"/>
              <a:gd name="connsiteX107" fmla="*/ 6691966 w 10768629"/>
              <a:gd name="connsiteY107" fmla="*/ 1582255 h 1978172"/>
              <a:gd name="connsiteX108" fmla="*/ 6646941 w 10768629"/>
              <a:gd name="connsiteY108" fmla="*/ 1588471 h 1978172"/>
              <a:gd name="connsiteX109" fmla="*/ 6568576 w 10768629"/>
              <a:gd name="connsiteY109" fmla="*/ 1606488 h 1978172"/>
              <a:gd name="connsiteX110" fmla="*/ 6554358 w 10768629"/>
              <a:gd name="connsiteY110" fmla="*/ 1621701 h 1978172"/>
              <a:gd name="connsiteX111" fmla="*/ 6516968 w 10768629"/>
              <a:gd name="connsiteY111" fmla="*/ 1617195 h 1978172"/>
              <a:gd name="connsiteX112" fmla="*/ 6506479 w 10768629"/>
              <a:gd name="connsiteY112" fmla="*/ 1602227 h 1978172"/>
              <a:gd name="connsiteX113" fmla="*/ 6458436 w 10768629"/>
              <a:gd name="connsiteY113" fmla="*/ 1607332 h 1978172"/>
              <a:gd name="connsiteX114" fmla="*/ 6414786 w 10768629"/>
              <a:gd name="connsiteY114" fmla="*/ 1628815 h 1978172"/>
              <a:gd name="connsiteX115" fmla="*/ 6357085 w 10768629"/>
              <a:gd name="connsiteY115" fmla="*/ 1640846 h 1978172"/>
              <a:gd name="connsiteX116" fmla="*/ 6322636 w 10768629"/>
              <a:gd name="connsiteY116" fmla="*/ 1648213 h 1978172"/>
              <a:gd name="connsiteX117" fmla="*/ 6226172 w 10768629"/>
              <a:gd name="connsiteY117" fmla="*/ 1654676 h 1978172"/>
              <a:gd name="connsiteX118" fmla="*/ 6221217 w 10768629"/>
              <a:gd name="connsiteY118" fmla="*/ 1654506 h 1978172"/>
              <a:gd name="connsiteX119" fmla="*/ 6204956 w 10768629"/>
              <a:gd name="connsiteY119" fmla="*/ 1664280 h 1978172"/>
              <a:gd name="connsiteX120" fmla="*/ 6204270 w 10768629"/>
              <a:gd name="connsiteY120" fmla="*/ 1666782 h 1978172"/>
              <a:gd name="connsiteX121" fmla="*/ 6143810 w 10768629"/>
              <a:gd name="connsiteY121" fmla="*/ 1661963 h 1978172"/>
              <a:gd name="connsiteX122" fmla="*/ 6136560 w 10768629"/>
              <a:gd name="connsiteY122" fmla="*/ 1665728 h 1978172"/>
              <a:gd name="connsiteX123" fmla="*/ 6096155 w 10768629"/>
              <a:gd name="connsiteY123" fmla="*/ 1656951 h 1978172"/>
              <a:gd name="connsiteX124" fmla="*/ 6075812 w 10768629"/>
              <a:gd name="connsiteY124" fmla="*/ 1655422 h 1978172"/>
              <a:gd name="connsiteX125" fmla="*/ 6039495 w 10768629"/>
              <a:gd name="connsiteY125" fmla="*/ 1649680 h 1978172"/>
              <a:gd name="connsiteX126" fmla="*/ 6036523 w 10768629"/>
              <a:gd name="connsiteY126" fmla="*/ 1652121 h 1978172"/>
              <a:gd name="connsiteX127" fmla="*/ 6029328 w 10768629"/>
              <a:gd name="connsiteY127" fmla="*/ 1649904 h 1978172"/>
              <a:gd name="connsiteX128" fmla="*/ 6024075 w 10768629"/>
              <a:gd name="connsiteY128" fmla="*/ 1652779 h 1978172"/>
              <a:gd name="connsiteX129" fmla="*/ 6018085 w 10768629"/>
              <a:gd name="connsiteY129" fmla="*/ 1652030 h 1978172"/>
              <a:gd name="connsiteX130" fmla="*/ 5955513 w 10768629"/>
              <a:gd name="connsiteY130" fmla="*/ 1663584 h 1978172"/>
              <a:gd name="connsiteX131" fmla="*/ 5941996 w 10768629"/>
              <a:gd name="connsiteY131" fmla="*/ 1661326 h 1978172"/>
              <a:gd name="connsiteX132" fmla="*/ 5931789 w 10768629"/>
              <a:gd name="connsiteY132" fmla="*/ 1669915 h 1978172"/>
              <a:gd name="connsiteX133" fmla="*/ 5888686 w 10768629"/>
              <a:gd name="connsiteY133" fmla="*/ 1672175 h 1978172"/>
              <a:gd name="connsiteX134" fmla="*/ 5873794 w 10768629"/>
              <a:gd name="connsiteY134" fmla="*/ 1665454 h 1978172"/>
              <a:gd name="connsiteX135" fmla="*/ 5860022 w 10768629"/>
              <a:gd name="connsiteY135" fmla="*/ 1660635 h 1978172"/>
              <a:gd name="connsiteX136" fmla="*/ 5858237 w 10768629"/>
              <a:gd name="connsiteY136" fmla="*/ 1660649 h 1978172"/>
              <a:gd name="connsiteX137" fmla="*/ 5840319 w 10768629"/>
              <a:gd name="connsiteY137" fmla="*/ 1660798 h 1978172"/>
              <a:gd name="connsiteX138" fmla="*/ 5806984 w 10768629"/>
              <a:gd name="connsiteY138" fmla="*/ 1661075 h 1978172"/>
              <a:gd name="connsiteX139" fmla="*/ 5742351 w 10768629"/>
              <a:gd name="connsiteY139" fmla="*/ 1667489 h 1978172"/>
              <a:gd name="connsiteX140" fmla="*/ 5521171 w 10768629"/>
              <a:gd name="connsiteY140" fmla="*/ 1671626 h 1978172"/>
              <a:gd name="connsiteX141" fmla="*/ 5457384 w 10768629"/>
              <a:gd name="connsiteY141" fmla="*/ 1683952 h 1978172"/>
              <a:gd name="connsiteX142" fmla="*/ 4950070 w 10768629"/>
              <a:gd name="connsiteY142" fmla="*/ 1748401 h 1978172"/>
              <a:gd name="connsiteX143" fmla="*/ 4872172 w 10768629"/>
              <a:gd name="connsiteY143" fmla="*/ 1757222 h 1978172"/>
              <a:gd name="connsiteX144" fmla="*/ 4809524 w 10768629"/>
              <a:gd name="connsiteY144" fmla="*/ 1761033 h 1978172"/>
              <a:gd name="connsiteX145" fmla="*/ 4759058 w 10768629"/>
              <a:gd name="connsiteY145" fmla="*/ 1766533 h 1978172"/>
              <a:gd name="connsiteX146" fmla="*/ 4719749 w 10768629"/>
              <a:gd name="connsiteY146" fmla="*/ 1771811 h 1978172"/>
              <a:gd name="connsiteX147" fmla="*/ 4568686 w 10768629"/>
              <a:gd name="connsiteY147" fmla="*/ 1786141 h 1978172"/>
              <a:gd name="connsiteX148" fmla="*/ 4418751 w 10768629"/>
              <a:gd name="connsiteY148" fmla="*/ 1796932 h 1978172"/>
              <a:gd name="connsiteX149" fmla="*/ 4378377 w 10768629"/>
              <a:gd name="connsiteY149" fmla="*/ 1815528 h 1978172"/>
              <a:gd name="connsiteX150" fmla="*/ 4320575 w 10768629"/>
              <a:gd name="connsiteY150" fmla="*/ 1832722 h 1978172"/>
              <a:gd name="connsiteX151" fmla="*/ 4220200 w 10768629"/>
              <a:gd name="connsiteY151" fmla="*/ 1873173 h 1978172"/>
              <a:gd name="connsiteX152" fmla="*/ 4105361 w 10768629"/>
              <a:gd name="connsiteY152" fmla="*/ 1894711 h 1978172"/>
              <a:gd name="connsiteX153" fmla="*/ 3973223 w 10768629"/>
              <a:gd name="connsiteY153" fmla="*/ 1881015 h 1978172"/>
              <a:gd name="connsiteX154" fmla="*/ 3900992 w 10768629"/>
              <a:gd name="connsiteY154" fmla="*/ 1880603 h 1978172"/>
              <a:gd name="connsiteX155" fmla="*/ 3662119 w 10768629"/>
              <a:gd name="connsiteY155" fmla="*/ 1876289 h 1978172"/>
              <a:gd name="connsiteX156" fmla="*/ 3496919 w 10768629"/>
              <a:gd name="connsiteY156" fmla="*/ 1873180 h 1978172"/>
              <a:gd name="connsiteX157" fmla="*/ 3449433 w 10768629"/>
              <a:gd name="connsiteY157" fmla="*/ 1889681 h 1978172"/>
              <a:gd name="connsiteX158" fmla="*/ 3369766 w 10768629"/>
              <a:gd name="connsiteY158" fmla="*/ 1916653 h 1978172"/>
              <a:gd name="connsiteX159" fmla="*/ 3269672 w 10768629"/>
              <a:gd name="connsiteY159" fmla="*/ 1938036 h 1978172"/>
              <a:gd name="connsiteX160" fmla="*/ 3224897 w 10768629"/>
              <a:gd name="connsiteY160" fmla="*/ 1943733 h 1978172"/>
              <a:gd name="connsiteX161" fmla="*/ 3161463 w 10768629"/>
              <a:gd name="connsiteY161" fmla="*/ 1946591 h 1978172"/>
              <a:gd name="connsiteX162" fmla="*/ 3112044 w 10768629"/>
              <a:gd name="connsiteY162" fmla="*/ 1935614 h 1978172"/>
              <a:gd name="connsiteX163" fmla="*/ 3069716 w 10768629"/>
              <a:gd name="connsiteY163" fmla="*/ 1930463 h 1978172"/>
              <a:gd name="connsiteX164" fmla="*/ 3005773 w 10768629"/>
              <a:gd name="connsiteY164" fmla="*/ 1915878 h 1978172"/>
              <a:gd name="connsiteX165" fmla="*/ 2897201 w 10768629"/>
              <a:gd name="connsiteY165" fmla="*/ 1926772 h 1978172"/>
              <a:gd name="connsiteX166" fmla="*/ 2783891 w 10768629"/>
              <a:gd name="connsiteY166" fmla="*/ 1931749 h 1978172"/>
              <a:gd name="connsiteX167" fmla="*/ 2712447 w 10768629"/>
              <a:gd name="connsiteY167" fmla="*/ 1933044 h 1978172"/>
              <a:gd name="connsiteX168" fmla="*/ 2560151 w 10768629"/>
              <a:gd name="connsiteY168" fmla="*/ 1963609 h 1978172"/>
              <a:gd name="connsiteX169" fmla="*/ 2367221 w 10768629"/>
              <a:gd name="connsiteY169" fmla="*/ 1971884 h 1978172"/>
              <a:gd name="connsiteX170" fmla="*/ 2272130 w 10768629"/>
              <a:gd name="connsiteY170" fmla="*/ 1961162 h 1978172"/>
              <a:gd name="connsiteX171" fmla="*/ 2189404 w 10768629"/>
              <a:gd name="connsiteY171" fmla="*/ 1978172 h 1978172"/>
              <a:gd name="connsiteX172" fmla="*/ 2077704 w 10768629"/>
              <a:gd name="connsiteY172" fmla="*/ 1965002 h 1978172"/>
              <a:gd name="connsiteX173" fmla="*/ 2033299 w 10768629"/>
              <a:gd name="connsiteY173" fmla="*/ 1969042 h 1978172"/>
              <a:gd name="connsiteX174" fmla="*/ 1967996 w 10768629"/>
              <a:gd name="connsiteY174" fmla="*/ 1953187 h 1978172"/>
              <a:gd name="connsiteX175" fmla="*/ 1855805 w 10768629"/>
              <a:gd name="connsiteY175" fmla="*/ 1926082 h 1978172"/>
              <a:gd name="connsiteX176" fmla="*/ 1790957 w 10768629"/>
              <a:gd name="connsiteY176" fmla="*/ 1919460 h 1978172"/>
              <a:gd name="connsiteX177" fmla="*/ 1613978 w 10768629"/>
              <a:gd name="connsiteY177" fmla="*/ 1891581 h 1978172"/>
              <a:gd name="connsiteX178" fmla="*/ 1436831 w 10768629"/>
              <a:gd name="connsiteY178" fmla="*/ 1856201 h 1978172"/>
              <a:gd name="connsiteX179" fmla="*/ 1357365 w 10768629"/>
              <a:gd name="connsiteY179" fmla="*/ 1832140 h 1978172"/>
              <a:gd name="connsiteX180" fmla="*/ 1232341 w 10768629"/>
              <a:gd name="connsiteY180" fmla="*/ 1785942 h 1978172"/>
              <a:gd name="connsiteX181" fmla="*/ 1162595 w 10768629"/>
              <a:gd name="connsiteY181" fmla="*/ 1758337 h 1978172"/>
              <a:gd name="connsiteX182" fmla="*/ 1128523 w 10768629"/>
              <a:gd name="connsiteY182" fmla="*/ 1763621 h 1978172"/>
              <a:gd name="connsiteX183" fmla="*/ 991903 w 10768629"/>
              <a:gd name="connsiteY183" fmla="*/ 1786741 h 1978172"/>
              <a:gd name="connsiteX184" fmla="*/ 883960 w 10768629"/>
              <a:gd name="connsiteY184" fmla="*/ 1822386 h 1978172"/>
              <a:gd name="connsiteX185" fmla="*/ 766531 w 10768629"/>
              <a:gd name="connsiteY185" fmla="*/ 1805053 h 1978172"/>
              <a:gd name="connsiteX186" fmla="*/ 669779 w 10768629"/>
              <a:gd name="connsiteY186" fmla="*/ 1800537 h 1978172"/>
              <a:gd name="connsiteX187" fmla="*/ 523898 w 10768629"/>
              <a:gd name="connsiteY187" fmla="*/ 1811085 h 1978172"/>
              <a:gd name="connsiteX188" fmla="*/ 360251 w 10768629"/>
              <a:gd name="connsiteY188" fmla="*/ 1830735 h 1978172"/>
              <a:gd name="connsiteX189" fmla="*/ 255207 w 10768629"/>
              <a:gd name="connsiteY189" fmla="*/ 1818275 h 1978172"/>
              <a:gd name="connsiteX190" fmla="*/ 101803 w 10768629"/>
              <a:gd name="connsiteY190" fmla="*/ 1870647 h 1978172"/>
              <a:gd name="connsiteX191" fmla="*/ 25397 w 10768629"/>
              <a:gd name="connsiteY191" fmla="*/ 1888443 h 1978172"/>
              <a:gd name="connsiteX192" fmla="*/ 2370 w 10768629"/>
              <a:gd name="connsiteY192" fmla="*/ 1878311 h 1978172"/>
              <a:gd name="connsiteX193" fmla="*/ 0 w 10768629"/>
              <a:gd name="connsiteY193" fmla="*/ 1878785 h 1978172"/>
              <a:gd name="connsiteX194" fmla="*/ 0 w 10768629"/>
              <a:gd name="connsiteY194" fmla="*/ 0 h 1978172"/>
              <a:gd name="connsiteX0" fmla="*/ 0 w 10768629"/>
              <a:gd name="connsiteY0" fmla="*/ 0 h 1978172"/>
              <a:gd name="connsiteX1" fmla="*/ 10768629 w 10768629"/>
              <a:gd name="connsiteY1" fmla="*/ 0 h 1978172"/>
              <a:gd name="connsiteX2" fmla="*/ 10733254 w 10768629"/>
              <a:gd name="connsiteY2" fmla="*/ 31439 h 1978172"/>
              <a:gd name="connsiteX3" fmla="*/ 10727085 w 10768629"/>
              <a:gd name="connsiteY3" fmla="*/ 37910 h 1978172"/>
              <a:gd name="connsiteX4" fmla="*/ 10675953 w 10768629"/>
              <a:gd name="connsiteY4" fmla="*/ 68623 h 1978172"/>
              <a:gd name="connsiteX5" fmla="*/ 10637091 w 10768629"/>
              <a:gd name="connsiteY5" fmla="*/ 90361 h 1978172"/>
              <a:gd name="connsiteX6" fmla="*/ 10610971 w 10768629"/>
              <a:gd name="connsiteY6" fmla="*/ 110764 h 1978172"/>
              <a:gd name="connsiteX7" fmla="*/ 10532872 w 10768629"/>
              <a:gd name="connsiteY7" fmla="*/ 138028 h 1978172"/>
              <a:gd name="connsiteX8" fmla="*/ 10398558 w 10768629"/>
              <a:gd name="connsiteY8" fmla="*/ 172911 h 1978172"/>
              <a:gd name="connsiteX9" fmla="*/ 10371128 w 10768629"/>
              <a:gd name="connsiteY9" fmla="*/ 182609 h 1978172"/>
              <a:gd name="connsiteX10" fmla="*/ 10352178 w 10768629"/>
              <a:gd name="connsiteY10" fmla="*/ 199976 h 1978172"/>
              <a:gd name="connsiteX11" fmla="*/ 10351815 w 10768629"/>
              <a:gd name="connsiteY11" fmla="*/ 211879 h 1978172"/>
              <a:gd name="connsiteX12" fmla="*/ 10337471 w 10768629"/>
              <a:gd name="connsiteY12" fmla="*/ 218661 h 1978172"/>
              <a:gd name="connsiteX13" fmla="*/ 10334625 w 10768629"/>
              <a:gd name="connsiteY13" fmla="*/ 222351 h 1978172"/>
              <a:gd name="connsiteX14" fmla="*/ 10256365 w 10768629"/>
              <a:gd name="connsiteY14" fmla="*/ 235917 h 1978172"/>
              <a:gd name="connsiteX15" fmla="*/ 10201127 w 10768629"/>
              <a:gd name="connsiteY15" fmla="*/ 267448 h 1978172"/>
              <a:gd name="connsiteX16" fmla="*/ 9961218 w 10768629"/>
              <a:gd name="connsiteY16" fmla="*/ 326720 h 1978172"/>
              <a:gd name="connsiteX17" fmla="*/ 9859715 w 10768629"/>
              <a:gd name="connsiteY17" fmla="*/ 355698 h 1978172"/>
              <a:gd name="connsiteX18" fmla="*/ 9679867 w 10768629"/>
              <a:gd name="connsiteY18" fmla="*/ 399081 h 1978172"/>
              <a:gd name="connsiteX19" fmla="*/ 9490654 w 10768629"/>
              <a:gd name="connsiteY19" fmla="*/ 455225 h 1978172"/>
              <a:gd name="connsiteX20" fmla="*/ 9470837 w 10768629"/>
              <a:gd name="connsiteY20" fmla="*/ 452539 h 1978172"/>
              <a:gd name="connsiteX21" fmla="*/ 9469082 w 10768629"/>
              <a:gd name="connsiteY21" fmla="*/ 454891 h 1978172"/>
              <a:gd name="connsiteX22" fmla="*/ 9448038 w 10768629"/>
              <a:gd name="connsiteY22" fmla="*/ 459733 h 1978172"/>
              <a:gd name="connsiteX23" fmla="*/ 9396821 w 10768629"/>
              <a:gd name="connsiteY23" fmla="*/ 455795 h 1978172"/>
              <a:gd name="connsiteX24" fmla="*/ 9392197 w 10768629"/>
              <a:gd name="connsiteY24" fmla="*/ 459796 h 1978172"/>
              <a:gd name="connsiteX25" fmla="*/ 9347994 w 10768629"/>
              <a:gd name="connsiteY25" fmla="*/ 464462 h 1978172"/>
              <a:gd name="connsiteX26" fmla="*/ 9347889 w 10768629"/>
              <a:gd name="connsiteY26" fmla="*/ 466539 h 1978172"/>
              <a:gd name="connsiteX27" fmla="*/ 9337639 w 10768629"/>
              <a:gd name="connsiteY27" fmla="*/ 476654 h 1978172"/>
              <a:gd name="connsiteX28" fmla="*/ 9316893 w 10768629"/>
              <a:gd name="connsiteY28" fmla="*/ 491390 h 1978172"/>
              <a:gd name="connsiteX29" fmla="*/ 9229283 w 10768629"/>
              <a:gd name="connsiteY29" fmla="*/ 555377 h 1978172"/>
              <a:gd name="connsiteX30" fmla="*/ 9220274 w 10768629"/>
              <a:gd name="connsiteY30" fmla="*/ 557502 h 1978172"/>
              <a:gd name="connsiteX31" fmla="*/ 9220202 w 10768629"/>
              <a:gd name="connsiteY31" fmla="*/ 558001 h 1978172"/>
              <a:gd name="connsiteX32" fmla="*/ 9210908 w 10768629"/>
              <a:gd name="connsiteY32" fmla="*/ 561147 h 1978172"/>
              <a:gd name="connsiteX33" fmla="*/ 9186374 w 10768629"/>
              <a:gd name="connsiteY33" fmla="*/ 565502 h 1978172"/>
              <a:gd name="connsiteX34" fmla="*/ 9181058 w 10768629"/>
              <a:gd name="connsiteY34" fmla="*/ 569943 h 1978172"/>
              <a:gd name="connsiteX35" fmla="*/ 9179948 w 10768629"/>
              <a:gd name="connsiteY35" fmla="*/ 576062 h 1978172"/>
              <a:gd name="connsiteX36" fmla="*/ 9149110 w 10768629"/>
              <a:gd name="connsiteY36" fmla="*/ 598906 h 1978172"/>
              <a:gd name="connsiteX37" fmla="*/ 9078556 w 10768629"/>
              <a:gd name="connsiteY37" fmla="*/ 644039 h 1978172"/>
              <a:gd name="connsiteX38" fmla="*/ 8996399 w 10768629"/>
              <a:gd name="connsiteY38" fmla="*/ 690055 h 1978172"/>
              <a:gd name="connsiteX39" fmla="*/ 8803791 w 10768629"/>
              <a:gd name="connsiteY39" fmla="*/ 813860 h 1978172"/>
              <a:gd name="connsiteX40" fmla="*/ 8636202 w 10768629"/>
              <a:gd name="connsiteY40" fmla="*/ 848463 h 1978172"/>
              <a:gd name="connsiteX41" fmla="*/ 8555372 w 10768629"/>
              <a:gd name="connsiteY41" fmla="*/ 883171 h 1978172"/>
              <a:gd name="connsiteX42" fmla="*/ 8507229 w 10768629"/>
              <a:gd name="connsiteY42" fmla="*/ 901665 h 1978172"/>
              <a:gd name="connsiteX43" fmla="*/ 8428473 w 10768629"/>
              <a:gd name="connsiteY43" fmla="*/ 927985 h 1978172"/>
              <a:gd name="connsiteX44" fmla="*/ 8427914 w 10768629"/>
              <a:gd name="connsiteY44" fmla="*/ 933480 h 1978172"/>
              <a:gd name="connsiteX45" fmla="*/ 8420327 w 10768629"/>
              <a:gd name="connsiteY45" fmla="*/ 941984 h 1978172"/>
              <a:gd name="connsiteX46" fmla="*/ 8407128 w 10768629"/>
              <a:gd name="connsiteY46" fmla="*/ 961344 h 1978172"/>
              <a:gd name="connsiteX47" fmla="*/ 8380548 w 10768629"/>
              <a:gd name="connsiteY47" fmla="*/ 987916 h 1978172"/>
              <a:gd name="connsiteX48" fmla="*/ 8379462 w 10768629"/>
              <a:gd name="connsiteY48" fmla="*/ 987106 h 1978172"/>
              <a:gd name="connsiteX49" fmla="*/ 8369725 w 10768629"/>
              <a:gd name="connsiteY49" fmla="*/ 989186 h 1978172"/>
              <a:gd name="connsiteX50" fmla="*/ 8304438 w 10768629"/>
              <a:gd name="connsiteY50" fmla="*/ 996739 h 1978172"/>
              <a:gd name="connsiteX51" fmla="*/ 8280929 w 10768629"/>
              <a:gd name="connsiteY51" fmla="*/ 1023089 h 1978172"/>
              <a:gd name="connsiteX52" fmla="*/ 8275760 w 10768629"/>
              <a:gd name="connsiteY52" fmla="*/ 1027772 h 1978172"/>
              <a:gd name="connsiteX53" fmla="*/ 8275478 w 10768629"/>
              <a:gd name="connsiteY53" fmla="*/ 1027605 h 1978172"/>
              <a:gd name="connsiteX54" fmla="*/ 8269666 w 10768629"/>
              <a:gd name="connsiteY54" fmla="*/ 1032033 h 1978172"/>
              <a:gd name="connsiteX55" fmla="*/ 8203836 w 10768629"/>
              <a:gd name="connsiteY55" fmla="*/ 1037347 h 1978172"/>
              <a:gd name="connsiteX56" fmla="*/ 8122936 w 10768629"/>
              <a:gd name="connsiteY56" fmla="*/ 1063113 h 1978172"/>
              <a:gd name="connsiteX57" fmla="*/ 8043658 w 10768629"/>
              <a:gd name="connsiteY57" fmla="*/ 1092746 h 1978172"/>
              <a:gd name="connsiteX58" fmla="*/ 8015351 w 10768629"/>
              <a:gd name="connsiteY58" fmla="*/ 1105478 h 1978172"/>
              <a:gd name="connsiteX59" fmla="*/ 7963145 w 10768629"/>
              <a:gd name="connsiteY59" fmla="*/ 1119346 h 1978172"/>
              <a:gd name="connsiteX60" fmla="*/ 7938145 w 10768629"/>
              <a:gd name="connsiteY60" fmla="*/ 1120225 h 1978172"/>
              <a:gd name="connsiteX61" fmla="*/ 7937238 w 10768629"/>
              <a:gd name="connsiteY61" fmla="*/ 1121204 h 1978172"/>
              <a:gd name="connsiteX62" fmla="*/ 7934398 w 10768629"/>
              <a:gd name="connsiteY62" fmla="*/ 1118240 h 1978172"/>
              <a:gd name="connsiteX63" fmla="*/ 7918248 w 10768629"/>
              <a:gd name="connsiteY63" fmla="*/ 1124371 h 1978172"/>
              <a:gd name="connsiteX64" fmla="*/ 7914119 w 10768629"/>
              <a:gd name="connsiteY64" fmla="*/ 1127653 h 1978172"/>
              <a:gd name="connsiteX65" fmla="*/ 7907658 w 10768629"/>
              <a:gd name="connsiteY65" fmla="*/ 1130350 h 1978172"/>
              <a:gd name="connsiteX66" fmla="*/ 7907434 w 10768629"/>
              <a:gd name="connsiteY66" fmla="*/ 1130103 h 1978172"/>
              <a:gd name="connsiteX67" fmla="*/ 7901508 w 10768629"/>
              <a:gd name="connsiteY67" fmla="*/ 1133245 h 1978172"/>
              <a:gd name="connsiteX68" fmla="*/ 7873287 w 10768629"/>
              <a:gd name="connsiteY68" fmla="*/ 1152609 h 1978172"/>
              <a:gd name="connsiteX69" fmla="*/ 7834833 w 10768629"/>
              <a:gd name="connsiteY69" fmla="*/ 1153868 h 1978172"/>
              <a:gd name="connsiteX70" fmla="*/ 7828661 w 10768629"/>
              <a:gd name="connsiteY70" fmla="*/ 1139994 h 1978172"/>
              <a:gd name="connsiteX71" fmla="*/ 7823966 w 10768629"/>
              <a:gd name="connsiteY71" fmla="*/ 1143178 h 1978172"/>
              <a:gd name="connsiteX72" fmla="*/ 7815078 w 10768629"/>
              <a:gd name="connsiteY72" fmla="*/ 1151776 h 1978172"/>
              <a:gd name="connsiteX73" fmla="*/ 7812026 w 10768629"/>
              <a:gd name="connsiteY73" fmla="*/ 1151522 h 1978172"/>
              <a:gd name="connsiteX74" fmla="*/ 7782249 w 10768629"/>
              <a:gd name="connsiteY74" fmla="*/ 1160970 h 1978172"/>
              <a:gd name="connsiteX75" fmla="*/ 7773476 w 10768629"/>
              <a:gd name="connsiteY75" fmla="*/ 1157414 h 1978172"/>
              <a:gd name="connsiteX76" fmla="*/ 7769600 w 10768629"/>
              <a:gd name="connsiteY76" fmla="*/ 1157365 h 1978172"/>
              <a:gd name="connsiteX77" fmla="*/ 7752631 w 10768629"/>
              <a:gd name="connsiteY77" fmla="*/ 1172815 h 1978172"/>
              <a:gd name="connsiteX78" fmla="*/ 7743525 w 10768629"/>
              <a:gd name="connsiteY78" fmla="*/ 1179064 h 1978172"/>
              <a:gd name="connsiteX79" fmla="*/ 7685942 w 10768629"/>
              <a:gd name="connsiteY79" fmla="*/ 1233723 h 1978172"/>
              <a:gd name="connsiteX80" fmla="*/ 7586920 w 10768629"/>
              <a:gd name="connsiteY80" fmla="*/ 1261888 h 1978172"/>
              <a:gd name="connsiteX81" fmla="*/ 7486100 w 10768629"/>
              <a:gd name="connsiteY81" fmla="*/ 1292563 h 1978172"/>
              <a:gd name="connsiteX82" fmla="*/ 7407190 w 10768629"/>
              <a:gd name="connsiteY82" fmla="*/ 1314737 h 1978172"/>
              <a:gd name="connsiteX83" fmla="*/ 7240698 w 10768629"/>
              <a:gd name="connsiteY83" fmla="*/ 1438832 h 1978172"/>
              <a:gd name="connsiteX84" fmla="*/ 7197675 w 10768629"/>
              <a:gd name="connsiteY84" fmla="*/ 1447530 h 1978172"/>
              <a:gd name="connsiteX85" fmla="*/ 7164788 w 10768629"/>
              <a:gd name="connsiteY85" fmla="*/ 1480293 h 1978172"/>
              <a:gd name="connsiteX86" fmla="*/ 7147929 w 10768629"/>
              <a:gd name="connsiteY86" fmla="*/ 1477641 h 1978172"/>
              <a:gd name="connsiteX87" fmla="*/ 7144965 w 10768629"/>
              <a:gd name="connsiteY87" fmla="*/ 1476908 h 1978172"/>
              <a:gd name="connsiteX88" fmla="*/ 7134299 w 10768629"/>
              <a:gd name="connsiteY88" fmla="*/ 1479969 h 1978172"/>
              <a:gd name="connsiteX89" fmla="*/ 7129809 w 10768629"/>
              <a:gd name="connsiteY89" fmla="*/ 1473339 h 1978172"/>
              <a:gd name="connsiteX90" fmla="*/ 7112688 w 10768629"/>
              <a:gd name="connsiteY90" fmla="*/ 1472575 h 1978172"/>
              <a:gd name="connsiteX91" fmla="*/ 7093470 w 10768629"/>
              <a:gd name="connsiteY91" fmla="*/ 1480300 h 1978172"/>
              <a:gd name="connsiteX92" fmla="*/ 7025034 w 10768629"/>
              <a:gd name="connsiteY92" fmla="*/ 1506934 h 1978172"/>
              <a:gd name="connsiteX93" fmla="*/ 7014783 w 10768629"/>
              <a:gd name="connsiteY93" fmla="*/ 1515868 h 1978172"/>
              <a:gd name="connsiteX94" fmla="*/ 6979706 w 10768629"/>
              <a:gd name="connsiteY94" fmla="*/ 1523511 h 1978172"/>
              <a:gd name="connsiteX95" fmla="*/ 6977890 w 10768629"/>
              <a:gd name="connsiteY95" fmla="*/ 1525793 h 1978172"/>
              <a:gd name="connsiteX96" fmla="*/ 6944339 w 10768629"/>
              <a:gd name="connsiteY96" fmla="*/ 1536237 h 1978172"/>
              <a:gd name="connsiteX97" fmla="*/ 6886996 w 10768629"/>
              <a:gd name="connsiteY97" fmla="*/ 1563569 h 1978172"/>
              <a:gd name="connsiteX98" fmla="*/ 6874510 w 10768629"/>
              <a:gd name="connsiteY98" fmla="*/ 1558469 h 1978172"/>
              <a:gd name="connsiteX99" fmla="*/ 6871943 w 10768629"/>
              <a:gd name="connsiteY99" fmla="*/ 1554651 h 1978172"/>
              <a:gd name="connsiteX100" fmla="*/ 6856174 w 10768629"/>
              <a:gd name="connsiteY100" fmla="*/ 1562024 h 1978172"/>
              <a:gd name="connsiteX101" fmla="*/ 6842321 w 10768629"/>
              <a:gd name="connsiteY101" fmla="*/ 1560554 h 1978172"/>
              <a:gd name="connsiteX102" fmla="*/ 6832713 w 10768629"/>
              <a:gd name="connsiteY102" fmla="*/ 1569357 h 1978172"/>
              <a:gd name="connsiteX103" fmla="*/ 6816351 w 10768629"/>
              <a:gd name="connsiteY103" fmla="*/ 1571495 h 1978172"/>
              <a:gd name="connsiteX104" fmla="*/ 6795800 w 10768629"/>
              <a:gd name="connsiteY104" fmla="*/ 1572010 h 1978172"/>
              <a:gd name="connsiteX105" fmla="*/ 6777546 w 10768629"/>
              <a:gd name="connsiteY105" fmla="*/ 1568661 h 1978172"/>
              <a:gd name="connsiteX106" fmla="*/ 6751528 w 10768629"/>
              <a:gd name="connsiteY106" fmla="*/ 1574143 h 1978172"/>
              <a:gd name="connsiteX107" fmla="*/ 6691966 w 10768629"/>
              <a:gd name="connsiteY107" fmla="*/ 1582255 h 1978172"/>
              <a:gd name="connsiteX108" fmla="*/ 6646941 w 10768629"/>
              <a:gd name="connsiteY108" fmla="*/ 1588471 h 1978172"/>
              <a:gd name="connsiteX109" fmla="*/ 6568576 w 10768629"/>
              <a:gd name="connsiteY109" fmla="*/ 1606488 h 1978172"/>
              <a:gd name="connsiteX110" fmla="*/ 6554358 w 10768629"/>
              <a:gd name="connsiteY110" fmla="*/ 1621701 h 1978172"/>
              <a:gd name="connsiteX111" fmla="*/ 6516968 w 10768629"/>
              <a:gd name="connsiteY111" fmla="*/ 1617195 h 1978172"/>
              <a:gd name="connsiteX112" fmla="*/ 6506479 w 10768629"/>
              <a:gd name="connsiteY112" fmla="*/ 1602227 h 1978172"/>
              <a:gd name="connsiteX113" fmla="*/ 6458436 w 10768629"/>
              <a:gd name="connsiteY113" fmla="*/ 1607332 h 1978172"/>
              <a:gd name="connsiteX114" fmla="*/ 6414786 w 10768629"/>
              <a:gd name="connsiteY114" fmla="*/ 1628815 h 1978172"/>
              <a:gd name="connsiteX115" fmla="*/ 6357085 w 10768629"/>
              <a:gd name="connsiteY115" fmla="*/ 1640846 h 1978172"/>
              <a:gd name="connsiteX116" fmla="*/ 6322636 w 10768629"/>
              <a:gd name="connsiteY116" fmla="*/ 1648213 h 1978172"/>
              <a:gd name="connsiteX117" fmla="*/ 6226172 w 10768629"/>
              <a:gd name="connsiteY117" fmla="*/ 1654676 h 1978172"/>
              <a:gd name="connsiteX118" fmla="*/ 6221217 w 10768629"/>
              <a:gd name="connsiteY118" fmla="*/ 1654506 h 1978172"/>
              <a:gd name="connsiteX119" fmla="*/ 6204956 w 10768629"/>
              <a:gd name="connsiteY119" fmla="*/ 1664280 h 1978172"/>
              <a:gd name="connsiteX120" fmla="*/ 6204270 w 10768629"/>
              <a:gd name="connsiteY120" fmla="*/ 1666782 h 1978172"/>
              <a:gd name="connsiteX121" fmla="*/ 6143810 w 10768629"/>
              <a:gd name="connsiteY121" fmla="*/ 1661963 h 1978172"/>
              <a:gd name="connsiteX122" fmla="*/ 6136560 w 10768629"/>
              <a:gd name="connsiteY122" fmla="*/ 1665728 h 1978172"/>
              <a:gd name="connsiteX123" fmla="*/ 6096155 w 10768629"/>
              <a:gd name="connsiteY123" fmla="*/ 1656951 h 1978172"/>
              <a:gd name="connsiteX124" fmla="*/ 6075812 w 10768629"/>
              <a:gd name="connsiteY124" fmla="*/ 1655422 h 1978172"/>
              <a:gd name="connsiteX125" fmla="*/ 6039495 w 10768629"/>
              <a:gd name="connsiteY125" fmla="*/ 1649680 h 1978172"/>
              <a:gd name="connsiteX126" fmla="*/ 6036523 w 10768629"/>
              <a:gd name="connsiteY126" fmla="*/ 1652121 h 1978172"/>
              <a:gd name="connsiteX127" fmla="*/ 6029328 w 10768629"/>
              <a:gd name="connsiteY127" fmla="*/ 1649904 h 1978172"/>
              <a:gd name="connsiteX128" fmla="*/ 6024075 w 10768629"/>
              <a:gd name="connsiteY128" fmla="*/ 1652779 h 1978172"/>
              <a:gd name="connsiteX129" fmla="*/ 6018085 w 10768629"/>
              <a:gd name="connsiteY129" fmla="*/ 1652030 h 1978172"/>
              <a:gd name="connsiteX130" fmla="*/ 5955513 w 10768629"/>
              <a:gd name="connsiteY130" fmla="*/ 1663584 h 1978172"/>
              <a:gd name="connsiteX131" fmla="*/ 5941996 w 10768629"/>
              <a:gd name="connsiteY131" fmla="*/ 1661326 h 1978172"/>
              <a:gd name="connsiteX132" fmla="*/ 5931789 w 10768629"/>
              <a:gd name="connsiteY132" fmla="*/ 1669915 h 1978172"/>
              <a:gd name="connsiteX133" fmla="*/ 5888686 w 10768629"/>
              <a:gd name="connsiteY133" fmla="*/ 1672175 h 1978172"/>
              <a:gd name="connsiteX134" fmla="*/ 5873794 w 10768629"/>
              <a:gd name="connsiteY134" fmla="*/ 1665454 h 1978172"/>
              <a:gd name="connsiteX135" fmla="*/ 5860022 w 10768629"/>
              <a:gd name="connsiteY135" fmla="*/ 1660635 h 1978172"/>
              <a:gd name="connsiteX136" fmla="*/ 5858237 w 10768629"/>
              <a:gd name="connsiteY136" fmla="*/ 1660649 h 1978172"/>
              <a:gd name="connsiteX137" fmla="*/ 5840319 w 10768629"/>
              <a:gd name="connsiteY137" fmla="*/ 1660798 h 1978172"/>
              <a:gd name="connsiteX138" fmla="*/ 5806984 w 10768629"/>
              <a:gd name="connsiteY138" fmla="*/ 1661075 h 1978172"/>
              <a:gd name="connsiteX139" fmla="*/ 5742351 w 10768629"/>
              <a:gd name="connsiteY139" fmla="*/ 1667489 h 1978172"/>
              <a:gd name="connsiteX140" fmla="*/ 5521171 w 10768629"/>
              <a:gd name="connsiteY140" fmla="*/ 1671626 h 1978172"/>
              <a:gd name="connsiteX141" fmla="*/ 5457384 w 10768629"/>
              <a:gd name="connsiteY141" fmla="*/ 1683952 h 1978172"/>
              <a:gd name="connsiteX142" fmla="*/ 4950070 w 10768629"/>
              <a:gd name="connsiteY142" fmla="*/ 1748401 h 1978172"/>
              <a:gd name="connsiteX143" fmla="*/ 4872172 w 10768629"/>
              <a:gd name="connsiteY143" fmla="*/ 1757222 h 1978172"/>
              <a:gd name="connsiteX144" fmla="*/ 4809524 w 10768629"/>
              <a:gd name="connsiteY144" fmla="*/ 1761033 h 1978172"/>
              <a:gd name="connsiteX145" fmla="*/ 4759058 w 10768629"/>
              <a:gd name="connsiteY145" fmla="*/ 1766533 h 1978172"/>
              <a:gd name="connsiteX146" fmla="*/ 4719749 w 10768629"/>
              <a:gd name="connsiteY146" fmla="*/ 1771811 h 1978172"/>
              <a:gd name="connsiteX147" fmla="*/ 4568686 w 10768629"/>
              <a:gd name="connsiteY147" fmla="*/ 1786141 h 1978172"/>
              <a:gd name="connsiteX148" fmla="*/ 4418751 w 10768629"/>
              <a:gd name="connsiteY148" fmla="*/ 1796932 h 1978172"/>
              <a:gd name="connsiteX149" fmla="*/ 4378377 w 10768629"/>
              <a:gd name="connsiteY149" fmla="*/ 1815528 h 1978172"/>
              <a:gd name="connsiteX150" fmla="*/ 4320575 w 10768629"/>
              <a:gd name="connsiteY150" fmla="*/ 1832722 h 1978172"/>
              <a:gd name="connsiteX151" fmla="*/ 4220200 w 10768629"/>
              <a:gd name="connsiteY151" fmla="*/ 1873173 h 1978172"/>
              <a:gd name="connsiteX152" fmla="*/ 4105361 w 10768629"/>
              <a:gd name="connsiteY152" fmla="*/ 1894711 h 1978172"/>
              <a:gd name="connsiteX153" fmla="*/ 3973223 w 10768629"/>
              <a:gd name="connsiteY153" fmla="*/ 1881015 h 1978172"/>
              <a:gd name="connsiteX154" fmla="*/ 3900992 w 10768629"/>
              <a:gd name="connsiteY154" fmla="*/ 1880603 h 1978172"/>
              <a:gd name="connsiteX155" fmla="*/ 3662119 w 10768629"/>
              <a:gd name="connsiteY155" fmla="*/ 1876289 h 1978172"/>
              <a:gd name="connsiteX156" fmla="*/ 3496919 w 10768629"/>
              <a:gd name="connsiteY156" fmla="*/ 1873180 h 1978172"/>
              <a:gd name="connsiteX157" fmla="*/ 3449433 w 10768629"/>
              <a:gd name="connsiteY157" fmla="*/ 1889681 h 1978172"/>
              <a:gd name="connsiteX158" fmla="*/ 3369766 w 10768629"/>
              <a:gd name="connsiteY158" fmla="*/ 1916653 h 1978172"/>
              <a:gd name="connsiteX159" fmla="*/ 3269672 w 10768629"/>
              <a:gd name="connsiteY159" fmla="*/ 1938036 h 1978172"/>
              <a:gd name="connsiteX160" fmla="*/ 3224897 w 10768629"/>
              <a:gd name="connsiteY160" fmla="*/ 1943733 h 1978172"/>
              <a:gd name="connsiteX161" fmla="*/ 3161463 w 10768629"/>
              <a:gd name="connsiteY161" fmla="*/ 1946591 h 1978172"/>
              <a:gd name="connsiteX162" fmla="*/ 3112044 w 10768629"/>
              <a:gd name="connsiteY162" fmla="*/ 1935614 h 1978172"/>
              <a:gd name="connsiteX163" fmla="*/ 3069716 w 10768629"/>
              <a:gd name="connsiteY163" fmla="*/ 1930463 h 1978172"/>
              <a:gd name="connsiteX164" fmla="*/ 3005773 w 10768629"/>
              <a:gd name="connsiteY164" fmla="*/ 1915878 h 1978172"/>
              <a:gd name="connsiteX165" fmla="*/ 2897201 w 10768629"/>
              <a:gd name="connsiteY165" fmla="*/ 1926772 h 1978172"/>
              <a:gd name="connsiteX166" fmla="*/ 2783891 w 10768629"/>
              <a:gd name="connsiteY166" fmla="*/ 1931749 h 1978172"/>
              <a:gd name="connsiteX167" fmla="*/ 2712447 w 10768629"/>
              <a:gd name="connsiteY167" fmla="*/ 1933044 h 1978172"/>
              <a:gd name="connsiteX168" fmla="*/ 2560151 w 10768629"/>
              <a:gd name="connsiteY168" fmla="*/ 1963609 h 1978172"/>
              <a:gd name="connsiteX169" fmla="*/ 2367221 w 10768629"/>
              <a:gd name="connsiteY169" fmla="*/ 1971884 h 1978172"/>
              <a:gd name="connsiteX170" fmla="*/ 2272130 w 10768629"/>
              <a:gd name="connsiteY170" fmla="*/ 1961162 h 1978172"/>
              <a:gd name="connsiteX171" fmla="*/ 2189404 w 10768629"/>
              <a:gd name="connsiteY171" fmla="*/ 1978172 h 1978172"/>
              <a:gd name="connsiteX172" fmla="*/ 2077704 w 10768629"/>
              <a:gd name="connsiteY172" fmla="*/ 1965002 h 1978172"/>
              <a:gd name="connsiteX173" fmla="*/ 2033299 w 10768629"/>
              <a:gd name="connsiteY173" fmla="*/ 1969042 h 1978172"/>
              <a:gd name="connsiteX174" fmla="*/ 1967996 w 10768629"/>
              <a:gd name="connsiteY174" fmla="*/ 1953187 h 1978172"/>
              <a:gd name="connsiteX175" fmla="*/ 1855805 w 10768629"/>
              <a:gd name="connsiteY175" fmla="*/ 1926082 h 1978172"/>
              <a:gd name="connsiteX176" fmla="*/ 1790957 w 10768629"/>
              <a:gd name="connsiteY176" fmla="*/ 1919460 h 1978172"/>
              <a:gd name="connsiteX177" fmla="*/ 1613978 w 10768629"/>
              <a:gd name="connsiteY177" fmla="*/ 1891581 h 1978172"/>
              <a:gd name="connsiteX178" fmla="*/ 1436831 w 10768629"/>
              <a:gd name="connsiteY178" fmla="*/ 1856201 h 1978172"/>
              <a:gd name="connsiteX179" fmla="*/ 1357365 w 10768629"/>
              <a:gd name="connsiteY179" fmla="*/ 1832140 h 1978172"/>
              <a:gd name="connsiteX180" fmla="*/ 1232341 w 10768629"/>
              <a:gd name="connsiteY180" fmla="*/ 1785942 h 1978172"/>
              <a:gd name="connsiteX181" fmla="*/ 1162595 w 10768629"/>
              <a:gd name="connsiteY181" fmla="*/ 1758337 h 1978172"/>
              <a:gd name="connsiteX182" fmla="*/ 1128523 w 10768629"/>
              <a:gd name="connsiteY182" fmla="*/ 1763621 h 1978172"/>
              <a:gd name="connsiteX183" fmla="*/ 991903 w 10768629"/>
              <a:gd name="connsiteY183" fmla="*/ 1786741 h 1978172"/>
              <a:gd name="connsiteX184" fmla="*/ 883960 w 10768629"/>
              <a:gd name="connsiteY184" fmla="*/ 1822386 h 1978172"/>
              <a:gd name="connsiteX185" fmla="*/ 766531 w 10768629"/>
              <a:gd name="connsiteY185" fmla="*/ 1805053 h 1978172"/>
              <a:gd name="connsiteX186" fmla="*/ 669779 w 10768629"/>
              <a:gd name="connsiteY186" fmla="*/ 1800537 h 1978172"/>
              <a:gd name="connsiteX187" fmla="*/ 523898 w 10768629"/>
              <a:gd name="connsiteY187" fmla="*/ 1811085 h 1978172"/>
              <a:gd name="connsiteX188" fmla="*/ 360251 w 10768629"/>
              <a:gd name="connsiteY188" fmla="*/ 1830735 h 1978172"/>
              <a:gd name="connsiteX189" fmla="*/ 255207 w 10768629"/>
              <a:gd name="connsiteY189" fmla="*/ 1818275 h 1978172"/>
              <a:gd name="connsiteX190" fmla="*/ 101803 w 10768629"/>
              <a:gd name="connsiteY190" fmla="*/ 1870647 h 1978172"/>
              <a:gd name="connsiteX191" fmla="*/ 25397 w 10768629"/>
              <a:gd name="connsiteY191" fmla="*/ 1888443 h 1978172"/>
              <a:gd name="connsiteX192" fmla="*/ 2370 w 10768629"/>
              <a:gd name="connsiteY192" fmla="*/ 1878311 h 1978172"/>
              <a:gd name="connsiteX193" fmla="*/ 0 w 10768629"/>
              <a:gd name="connsiteY193" fmla="*/ 1878785 h 1978172"/>
              <a:gd name="connsiteX194" fmla="*/ 0 w 10768629"/>
              <a:gd name="connsiteY194" fmla="*/ 0 h 1978172"/>
              <a:gd name="connsiteX0" fmla="*/ 0 w 10768629"/>
              <a:gd name="connsiteY0" fmla="*/ 0 h 1978172"/>
              <a:gd name="connsiteX1" fmla="*/ 10768629 w 10768629"/>
              <a:gd name="connsiteY1" fmla="*/ 0 h 1978172"/>
              <a:gd name="connsiteX2" fmla="*/ 10733254 w 10768629"/>
              <a:gd name="connsiteY2" fmla="*/ 31439 h 1978172"/>
              <a:gd name="connsiteX3" fmla="*/ 10727085 w 10768629"/>
              <a:gd name="connsiteY3" fmla="*/ 37910 h 1978172"/>
              <a:gd name="connsiteX4" fmla="*/ 10675953 w 10768629"/>
              <a:gd name="connsiteY4" fmla="*/ 68623 h 1978172"/>
              <a:gd name="connsiteX5" fmla="*/ 10637091 w 10768629"/>
              <a:gd name="connsiteY5" fmla="*/ 90361 h 1978172"/>
              <a:gd name="connsiteX6" fmla="*/ 10610971 w 10768629"/>
              <a:gd name="connsiteY6" fmla="*/ 110764 h 1978172"/>
              <a:gd name="connsiteX7" fmla="*/ 10532872 w 10768629"/>
              <a:gd name="connsiteY7" fmla="*/ 138028 h 1978172"/>
              <a:gd name="connsiteX8" fmla="*/ 10398558 w 10768629"/>
              <a:gd name="connsiteY8" fmla="*/ 172911 h 1978172"/>
              <a:gd name="connsiteX9" fmla="*/ 10371128 w 10768629"/>
              <a:gd name="connsiteY9" fmla="*/ 182609 h 1978172"/>
              <a:gd name="connsiteX10" fmla="*/ 10352178 w 10768629"/>
              <a:gd name="connsiteY10" fmla="*/ 199976 h 1978172"/>
              <a:gd name="connsiteX11" fmla="*/ 10351815 w 10768629"/>
              <a:gd name="connsiteY11" fmla="*/ 211879 h 1978172"/>
              <a:gd name="connsiteX12" fmla="*/ 10337471 w 10768629"/>
              <a:gd name="connsiteY12" fmla="*/ 218661 h 1978172"/>
              <a:gd name="connsiteX13" fmla="*/ 10334625 w 10768629"/>
              <a:gd name="connsiteY13" fmla="*/ 222351 h 1978172"/>
              <a:gd name="connsiteX14" fmla="*/ 10256365 w 10768629"/>
              <a:gd name="connsiteY14" fmla="*/ 235917 h 1978172"/>
              <a:gd name="connsiteX15" fmla="*/ 10201127 w 10768629"/>
              <a:gd name="connsiteY15" fmla="*/ 267448 h 1978172"/>
              <a:gd name="connsiteX16" fmla="*/ 9961218 w 10768629"/>
              <a:gd name="connsiteY16" fmla="*/ 326720 h 1978172"/>
              <a:gd name="connsiteX17" fmla="*/ 9859715 w 10768629"/>
              <a:gd name="connsiteY17" fmla="*/ 355698 h 1978172"/>
              <a:gd name="connsiteX18" fmla="*/ 9679867 w 10768629"/>
              <a:gd name="connsiteY18" fmla="*/ 399081 h 1978172"/>
              <a:gd name="connsiteX19" fmla="*/ 9490654 w 10768629"/>
              <a:gd name="connsiteY19" fmla="*/ 455225 h 1978172"/>
              <a:gd name="connsiteX20" fmla="*/ 9470837 w 10768629"/>
              <a:gd name="connsiteY20" fmla="*/ 452539 h 1978172"/>
              <a:gd name="connsiteX21" fmla="*/ 9469082 w 10768629"/>
              <a:gd name="connsiteY21" fmla="*/ 454891 h 1978172"/>
              <a:gd name="connsiteX22" fmla="*/ 9448038 w 10768629"/>
              <a:gd name="connsiteY22" fmla="*/ 459733 h 1978172"/>
              <a:gd name="connsiteX23" fmla="*/ 9396821 w 10768629"/>
              <a:gd name="connsiteY23" fmla="*/ 455795 h 1978172"/>
              <a:gd name="connsiteX24" fmla="*/ 9392197 w 10768629"/>
              <a:gd name="connsiteY24" fmla="*/ 459796 h 1978172"/>
              <a:gd name="connsiteX25" fmla="*/ 9347994 w 10768629"/>
              <a:gd name="connsiteY25" fmla="*/ 464462 h 1978172"/>
              <a:gd name="connsiteX26" fmla="*/ 9347889 w 10768629"/>
              <a:gd name="connsiteY26" fmla="*/ 466539 h 1978172"/>
              <a:gd name="connsiteX27" fmla="*/ 9337639 w 10768629"/>
              <a:gd name="connsiteY27" fmla="*/ 476654 h 1978172"/>
              <a:gd name="connsiteX28" fmla="*/ 9316893 w 10768629"/>
              <a:gd name="connsiteY28" fmla="*/ 491390 h 1978172"/>
              <a:gd name="connsiteX29" fmla="*/ 9229283 w 10768629"/>
              <a:gd name="connsiteY29" fmla="*/ 555377 h 1978172"/>
              <a:gd name="connsiteX30" fmla="*/ 9220274 w 10768629"/>
              <a:gd name="connsiteY30" fmla="*/ 557502 h 1978172"/>
              <a:gd name="connsiteX31" fmla="*/ 9220202 w 10768629"/>
              <a:gd name="connsiteY31" fmla="*/ 558001 h 1978172"/>
              <a:gd name="connsiteX32" fmla="*/ 9210908 w 10768629"/>
              <a:gd name="connsiteY32" fmla="*/ 561147 h 1978172"/>
              <a:gd name="connsiteX33" fmla="*/ 9186374 w 10768629"/>
              <a:gd name="connsiteY33" fmla="*/ 565502 h 1978172"/>
              <a:gd name="connsiteX34" fmla="*/ 9181058 w 10768629"/>
              <a:gd name="connsiteY34" fmla="*/ 569943 h 1978172"/>
              <a:gd name="connsiteX35" fmla="*/ 9179948 w 10768629"/>
              <a:gd name="connsiteY35" fmla="*/ 576062 h 1978172"/>
              <a:gd name="connsiteX36" fmla="*/ 9149110 w 10768629"/>
              <a:gd name="connsiteY36" fmla="*/ 598906 h 1978172"/>
              <a:gd name="connsiteX37" fmla="*/ 9078556 w 10768629"/>
              <a:gd name="connsiteY37" fmla="*/ 644039 h 1978172"/>
              <a:gd name="connsiteX38" fmla="*/ 8996399 w 10768629"/>
              <a:gd name="connsiteY38" fmla="*/ 690055 h 1978172"/>
              <a:gd name="connsiteX39" fmla="*/ 8803791 w 10768629"/>
              <a:gd name="connsiteY39" fmla="*/ 813860 h 1978172"/>
              <a:gd name="connsiteX40" fmla="*/ 8636202 w 10768629"/>
              <a:gd name="connsiteY40" fmla="*/ 848463 h 1978172"/>
              <a:gd name="connsiteX41" fmla="*/ 8555372 w 10768629"/>
              <a:gd name="connsiteY41" fmla="*/ 883171 h 1978172"/>
              <a:gd name="connsiteX42" fmla="*/ 8507229 w 10768629"/>
              <a:gd name="connsiteY42" fmla="*/ 901665 h 1978172"/>
              <a:gd name="connsiteX43" fmla="*/ 8428473 w 10768629"/>
              <a:gd name="connsiteY43" fmla="*/ 927985 h 1978172"/>
              <a:gd name="connsiteX44" fmla="*/ 8427914 w 10768629"/>
              <a:gd name="connsiteY44" fmla="*/ 933480 h 1978172"/>
              <a:gd name="connsiteX45" fmla="*/ 8420327 w 10768629"/>
              <a:gd name="connsiteY45" fmla="*/ 941984 h 1978172"/>
              <a:gd name="connsiteX46" fmla="*/ 8407128 w 10768629"/>
              <a:gd name="connsiteY46" fmla="*/ 961344 h 1978172"/>
              <a:gd name="connsiteX47" fmla="*/ 8380548 w 10768629"/>
              <a:gd name="connsiteY47" fmla="*/ 987916 h 1978172"/>
              <a:gd name="connsiteX48" fmla="*/ 8379462 w 10768629"/>
              <a:gd name="connsiteY48" fmla="*/ 987106 h 1978172"/>
              <a:gd name="connsiteX49" fmla="*/ 8369725 w 10768629"/>
              <a:gd name="connsiteY49" fmla="*/ 989186 h 1978172"/>
              <a:gd name="connsiteX50" fmla="*/ 8304438 w 10768629"/>
              <a:gd name="connsiteY50" fmla="*/ 996739 h 1978172"/>
              <a:gd name="connsiteX51" fmla="*/ 8280929 w 10768629"/>
              <a:gd name="connsiteY51" fmla="*/ 1023089 h 1978172"/>
              <a:gd name="connsiteX52" fmla="*/ 8275760 w 10768629"/>
              <a:gd name="connsiteY52" fmla="*/ 1027772 h 1978172"/>
              <a:gd name="connsiteX53" fmla="*/ 8275478 w 10768629"/>
              <a:gd name="connsiteY53" fmla="*/ 1027605 h 1978172"/>
              <a:gd name="connsiteX54" fmla="*/ 8269666 w 10768629"/>
              <a:gd name="connsiteY54" fmla="*/ 1032033 h 1978172"/>
              <a:gd name="connsiteX55" fmla="*/ 8203836 w 10768629"/>
              <a:gd name="connsiteY55" fmla="*/ 1037347 h 1978172"/>
              <a:gd name="connsiteX56" fmla="*/ 8122936 w 10768629"/>
              <a:gd name="connsiteY56" fmla="*/ 1063113 h 1978172"/>
              <a:gd name="connsiteX57" fmla="*/ 8043658 w 10768629"/>
              <a:gd name="connsiteY57" fmla="*/ 1092746 h 1978172"/>
              <a:gd name="connsiteX58" fmla="*/ 8015351 w 10768629"/>
              <a:gd name="connsiteY58" fmla="*/ 1105478 h 1978172"/>
              <a:gd name="connsiteX59" fmla="*/ 7963145 w 10768629"/>
              <a:gd name="connsiteY59" fmla="*/ 1119346 h 1978172"/>
              <a:gd name="connsiteX60" fmla="*/ 7938145 w 10768629"/>
              <a:gd name="connsiteY60" fmla="*/ 1120225 h 1978172"/>
              <a:gd name="connsiteX61" fmla="*/ 7937238 w 10768629"/>
              <a:gd name="connsiteY61" fmla="*/ 1121204 h 1978172"/>
              <a:gd name="connsiteX62" fmla="*/ 7934398 w 10768629"/>
              <a:gd name="connsiteY62" fmla="*/ 1118240 h 1978172"/>
              <a:gd name="connsiteX63" fmla="*/ 7918248 w 10768629"/>
              <a:gd name="connsiteY63" fmla="*/ 1124371 h 1978172"/>
              <a:gd name="connsiteX64" fmla="*/ 7914119 w 10768629"/>
              <a:gd name="connsiteY64" fmla="*/ 1127653 h 1978172"/>
              <a:gd name="connsiteX65" fmla="*/ 7907658 w 10768629"/>
              <a:gd name="connsiteY65" fmla="*/ 1130350 h 1978172"/>
              <a:gd name="connsiteX66" fmla="*/ 7907434 w 10768629"/>
              <a:gd name="connsiteY66" fmla="*/ 1130103 h 1978172"/>
              <a:gd name="connsiteX67" fmla="*/ 7901508 w 10768629"/>
              <a:gd name="connsiteY67" fmla="*/ 1133245 h 1978172"/>
              <a:gd name="connsiteX68" fmla="*/ 7873287 w 10768629"/>
              <a:gd name="connsiteY68" fmla="*/ 1152609 h 1978172"/>
              <a:gd name="connsiteX69" fmla="*/ 7834833 w 10768629"/>
              <a:gd name="connsiteY69" fmla="*/ 1153868 h 1978172"/>
              <a:gd name="connsiteX70" fmla="*/ 7828661 w 10768629"/>
              <a:gd name="connsiteY70" fmla="*/ 1139994 h 1978172"/>
              <a:gd name="connsiteX71" fmla="*/ 7823966 w 10768629"/>
              <a:gd name="connsiteY71" fmla="*/ 1143178 h 1978172"/>
              <a:gd name="connsiteX72" fmla="*/ 7815078 w 10768629"/>
              <a:gd name="connsiteY72" fmla="*/ 1151776 h 1978172"/>
              <a:gd name="connsiteX73" fmla="*/ 7812026 w 10768629"/>
              <a:gd name="connsiteY73" fmla="*/ 1151522 h 1978172"/>
              <a:gd name="connsiteX74" fmla="*/ 7782249 w 10768629"/>
              <a:gd name="connsiteY74" fmla="*/ 1160970 h 1978172"/>
              <a:gd name="connsiteX75" fmla="*/ 7773476 w 10768629"/>
              <a:gd name="connsiteY75" fmla="*/ 1157414 h 1978172"/>
              <a:gd name="connsiteX76" fmla="*/ 7769600 w 10768629"/>
              <a:gd name="connsiteY76" fmla="*/ 1157365 h 1978172"/>
              <a:gd name="connsiteX77" fmla="*/ 7752631 w 10768629"/>
              <a:gd name="connsiteY77" fmla="*/ 1172815 h 1978172"/>
              <a:gd name="connsiteX78" fmla="*/ 7743525 w 10768629"/>
              <a:gd name="connsiteY78" fmla="*/ 1179064 h 1978172"/>
              <a:gd name="connsiteX79" fmla="*/ 7685942 w 10768629"/>
              <a:gd name="connsiteY79" fmla="*/ 1233723 h 1978172"/>
              <a:gd name="connsiteX80" fmla="*/ 7586920 w 10768629"/>
              <a:gd name="connsiteY80" fmla="*/ 1261888 h 1978172"/>
              <a:gd name="connsiteX81" fmla="*/ 7486100 w 10768629"/>
              <a:gd name="connsiteY81" fmla="*/ 1292563 h 1978172"/>
              <a:gd name="connsiteX82" fmla="*/ 7407190 w 10768629"/>
              <a:gd name="connsiteY82" fmla="*/ 1314737 h 1978172"/>
              <a:gd name="connsiteX83" fmla="*/ 7240698 w 10768629"/>
              <a:gd name="connsiteY83" fmla="*/ 1438832 h 1978172"/>
              <a:gd name="connsiteX84" fmla="*/ 7197675 w 10768629"/>
              <a:gd name="connsiteY84" fmla="*/ 1447530 h 1978172"/>
              <a:gd name="connsiteX85" fmla="*/ 7164788 w 10768629"/>
              <a:gd name="connsiteY85" fmla="*/ 1480293 h 1978172"/>
              <a:gd name="connsiteX86" fmla="*/ 7147929 w 10768629"/>
              <a:gd name="connsiteY86" fmla="*/ 1477641 h 1978172"/>
              <a:gd name="connsiteX87" fmla="*/ 7144965 w 10768629"/>
              <a:gd name="connsiteY87" fmla="*/ 1476908 h 1978172"/>
              <a:gd name="connsiteX88" fmla="*/ 7134299 w 10768629"/>
              <a:gd name="connsiteY88" fmla="*/ 1479969 h 1978172"/>
              <a:gd name="connsiteX89" fmla="*/ 7129809 w 10768629"/>
              <a:gd name="connsiteY89" fmla="*/ 1473339 h 1978172"/>
              <a:gd name="connsiteX90" fmla="*/ 7112688 w 10768629"/>
              <a:gd name="connsiteY90" fmla="*/ 1472575 h 1978172"/>
              <a:gd name="connsiteX91" fmla="*/ 7093470 w 10768629"/>
              <a:gd name="connsiteY91" fmla="*/ 1480300 h 1978172"/>
              <a:gd name="connsiteX92" fmla="*/ 7025034 w 10768629"/>
              <a:gd name="connsiteY92" fmla="*/ 1506934 h 1978172"/>
              <a:gd name="connsiteX93" fmla="*/ 7014783 w 10768629"/>
              <a:gd name="connsiteY93" fmla="*/ 1515868 h 1978172"/>
              <a:gd name="connsiteX94" fmla="*/ 6979706 w 10768629"/>
              <a:gd name="connsiteY94" fmla="*/ 1523511 h 1978172"/>
              <a:gd name="connsiteX95" fmla="*/ 6977890 w 10768629"/>
              <a:gd name="connsiteY95" fmla="*/ 1525793 h 1978172"/>
              <a:gd name="connsiteX96" fmla="*/ 6944339 w 10768629"/>
              <a:gd name="connsiteY96" fmla="*/ 1536237 h 1978172"/>
              <a:gd name="connsiteX97" fmla="*/ 6886996 w 10768629"/>
              <a:gd name="connsiteY97" fmla="*/ 1563569 h 1978172"/>
              <a:gd name="connsiteX98" fmla="*/ 6874510 w 10768629"/>
              <a:gd name="connsiteY98" fmla="*/ 1558469 h 1978172"/>
              <a:gd name="connsiteX99" fmla="*/ 6871943 w 10768629"/>
              <a:gd name="connsiteY99" fmla="*/ 1554651 h 1978172"/>
              <a:gd name="connsiteX100" fmla="*/ 6856174 w 10768629"/>
              <a:gd name="connsiteY100" fmla="*/ 1562024 h 1978172"/>
              <a:gd name="connsiteX101" fmla="*/ 6842321 w 10768629"/>
              <a:gd name="connsiteY101" fmla="*/ 1560554 h 1978172"/>
              <a:gd name="connsiteX102" fmla="*/ 6832713 w 10768629"/>
              <a:gd name="connsiteY102" fmla="*/ 1569357 h 1978172"/>
              <a:gd name="connsiteX103" fmla="*/ 6816351 w 10768629"/>
              <a:gd name="connsiteY103" fmla="*/ 1571495 h 1978172"/>
              <a:gd name="connsiteX104" fmla="*/ 6795800 w 10768629"/>
              <a:gd name="connsiteY104" fmla="*/ 1572010 h 1978172"/>
              <a:gd name="connsiteX105" fmla="*/ 6777546 w 10768629"/>
              <a:gd name="connsiteY105" fmla="*/ 1568661 h 1978172"/>
              <a:gd name="connsiteX106" fmla="*/ 6751528 w 10768629"/>
              <a:gd name="connsiteY106" fmla="*/ 1574143 h 1978172"/>
              <a:gd name="connsiteX107" fmla="*/ 6691966 w 10768629"/>
              <a:gd name="connsiteY107" fmla="*/ 1582255 h 1978172"/>
              <a:gd name="connsiteX108" fmla="*/ 6646941 w 10768629"/>
              <a:gd name="connsiteY108" fmla="*/ 1588471 h 1978172"/>
              <a:gd name="connsiteX109" fmla="*/ 6568576 w 10768629"/>
              <a:gd name="connsiteY109" fmla="*/ 1606488 h 1978172"/>
              <a:gd name="connsiteX110" fmla="*/ 6554358 w 10768629"/>
              <a:gd name="connsiteY110" fmla="*/ 1621701 h 1978172"/>
              <a:gd name="connsiteX111" fmla="*/ 6516968 w 10768629"/>
              <a:gd name="connsiteY111" fmla="*/ 1617195 h 1978172"/>
              <a:gd name="connsiteX112" fmla="*/ 6506479 w 10768629"/>
              <a:gd name="connsiteY112" fmla="*/ 1602227 h 1978172"/>
              <a:gd name="connsiteX113" fmla="*/ 6458436 w 10768629"/>
              <a:gd name="connsiteY113" fmla="*/ 1607332 h 1978172"/>
              <a:gd name="connsiteX114" fmla="*/ 6414786 w 10768629"/>
              <a:gd name="connsiteY114" fmla="*/ 1628815 h 1978172"/>
              <a:gd name="connsiteX115" fmla="*/ 6357085 w 10768629"/>
              <a:gd name="connsiteY115" fmla="*/ 1640846 h 1978172"/>
              <a:gd name="connsiteX116" fmla="*/ 6322636 w 10768629"/>
              <a:gd name="connsiteY116" fmla="*/ 1648213 h 1978172"/>
              <a:gd name="connsiteX117" fmla="*/ 6226172 w 10768629"/>
              <a:gd name="connsiteY117" fmla="*/ 1654676 h 1978172"/>
              <a:gd name="connsiteX118" fmla="*/ 6221217 w 10768629"/>
              <a:gd name="connsiteY118" fmla="*/ 1654506 h 1978172"/>
              <a:gd name="connsiteX119" fmla="*/ 6204956 w 10768629"/>
              <a:gd name="connsiteY119" fmla="*/ 1664280 h 1978172"/>
              <a:gd name="connsiteX120" fmla="*/ 6204270 w 10768629"/>
              <a:gd name="connsiteY120" fmla="*/ 1666782 h 1978172"/>
              <a:gd name="connsiteX121" fmla="*/ 6143810 w 10768629"/>
              <a:gd name="connsiteY121" fmla="*/ 1661963 h 1978172"/>
              <a:gd name="connsiteX122" fmla="*/ 6136560 w 10768629"/>
              <a:gd name="connsiteY122" fmla="*/ 1665728 h 1978172"/>
              <a:gd name="connsiteX123" fmla="*/ 6096155 w 10768629"/>
              <a:gd name="connsiteY123" fmla="*/ 1656951 h 1978172"/>
              <a:gd name="connsiteX124" fmla="*/ 6075812 w 10768629"/>
              <a:gd name="connsiteY124" fmla="*/ 1655422 h 1978172"/>
              <a:gd name="connsiteX125" fmla="*/ 6039495 w 10768629"/>
              <a:gd name="connsiteY125" fmla="*/ 1649680 h 1978172"/>
              <a:gd name="connsiteX126" fmla="*/ 6036523 w 10768629"/>
              <a:gd name="connsiteY126" fmla="*/ 1652121 h 1978172"/>
              <a:gd name="connsiteX127" fmla="*/ 6029328 w 10768629"/>
              <a:gd name="connsiteY127" fmla="*/ 1649904 h 1978172"/>
              <a:gd name="connsiteX128" fmla="*/ 6024075 w 10768629"/>
              <a:gd name="connsiteY128" fmla="*/ 1652779 h 1978172"/>
              <a:gd name="connsiteX129" fmla="*/ 6018085 w 10768629"/>
              <a:gd name="connsiteY129" fmla="*/ 1652030 h 1978172"/>
              <a:gd name="connsiteX130" fmla="*/ 5955513 w 10768629"/>
              <a:gd name="connsiteY130" fmla="*/ 1663584 h 1978172"/>
              <a:gd name="connsiteX131" fmla="*/ 5941996 w 10768629"/>
              <a:gd name="connsiteY131" fmla="*/ 1661326 h 1978172"/>
              <a:gd name="connsiteX132" fmla="*/ 5931789 w 10768629"/>
              <a:gd name="connsiteY132" fmla="*/ 1669915 h 1978172"/>
              <a:gd name="connsiteX133" fmla="*/ 5888686 w 10768629"/>
              <a:gd name="connsiteY133" fmla="*/ 1672175 h 1978172"/>
              <a:gd name="connsiteX134" fmla="*/ 5873794 w 10768629"/>
              <a:gd name="connsiteY134" fmla="*/ 1665454 h 1978172"/>
              <a:gd name="connsiteX135" fmla="*/ 5860022 w 10768629"/>
              <a:gd name="connsiteY135" fmla="*/ 1660635 h 1978172"/>
              <a:gd name="connsiteX136" fmla="*/ 5858237 w 10768629"/>
              <a:gd name="connsiteY136" fmla="*/ 1660649 h 1978172"/>
              <a:gd name="connsiteX137" fmla="*/ 5840319 w 10768629"/>
              <a:gd name="connsiteY137" fmla="*/ 1660798 h 1978172"/>
              <a:gd name="connsiteX138" fmla="*/ 5806984 w 10768629"/>
              <a:gd name="connsiteY138" fmla="*/ 1661075 h 1978172"/>
              <a:gd name="connsiteX139" fmla="*/ 5742351 w 10768629"/>
              <a:gd name="connsiteY139" fmla="*/ 1667489 h 1978172"/>
              <a:gd name="connsiteX140" fmla="*/ 5521171 w 10768629"/>
              <a:gd name="connsiteY140" fmla="*/ 1671626 h 1978172"/>
              <a:gd name="connsiteX141" fmla="*/ 5457384 w 10768629"/>
              <a:gd name="connsiteY141" fmla="*/ 1683952 h 1978172"/>
              <a:gd name="connsiteX142" fmla="*/ 4950070 w 10768629"/>
              <a:gd name="connsiteY142" fmla="*/ 1748401 h 1978172"/>
              <a:gd name="connsiteX143" fmla="*/ 4872172 w 10768629"/>
              <a:gd name="connsiteY143" fmla="*/ 1757222 h 1978172"/>
              <a:gd name="connsiteX144" fmla="*/ 4809524 w 10768629"/>
              <a:gd name="connsiteY144" fmla="*/ 1761033 h 1978172"/>
              <a:gd name="connsiteX145" fmla="*/ 4759058 w 10768629"/>
              <a:gd name="connsiteY145" fmla="*/ 1766533 h 1978172"/>
              <a:gd name="connsiteX146" fmla="*/ 4719749 w 10768629"/>
              <a:gd name="connsiteY146" fmla="*/ 1771811 h 1978172"/>
              <a:gd name="connsiteX147" fmla="*/ 4568686 w 10768629"/>
              <a:gd name="connsiteY147" fmla="*/ 1786141 h 1978172"/>
              <a:gd name="connsiteX148" fmla="*/ 4418751 w 10768629"/>
              <a:gd name="connsiteY148" fmla="*/ 1796932 h 1978172"/>
              <a:gd name="connsiteX149" fmla="*/ 4378377 w 10768629"/>
              <a:gd name="connsiteY149" fmla="*/ 1815528 h 1978172"/>
              <a:gd name="connsiteX150" fmla="*/ 4320575 w 10768629"/>
              <a:gd name="connsiteY150" fmla="*/ 1832722 h 1978172"/>
              <a:gd name="connsiteX151" fmla="*/ 4220200 w 10768629"/>
              <a:gd name="connsiteY151" fmla="*/ 1873173 h 1978172"/>
              <a:gd name="connsiteX152" fmla="*/ 4105361 w 10768629"/>
              <a:gd name="connsiteY152" fmla="*/ 1894711 h 1978172"/>
              <a:gd name="connsiteX153" fmla="*/ 3973223 w 10768629"/>
              <a:gd name="connsiteY153" fmla="*/ 1881015 h 1978172"/>
              <a:gd name="connsiteX154" fmla="*/ 3900992 w 10768629"/>
              <a:gd name="connsiteY154" fmla="*/ 1880603 h 1978172"/>
              <a:gd name="connsiteX155" fmla="*/ 3662119 w 10768629"/>
              <a:gd name="connsiteY155" fmla="*/ 1876289 h 1978172"/>
              <a:gd name="connsiteX156" fmla="*/ 3496919 w 10768629"/>
              <a:gd name="connsiteY156" fmla="*/ 1873180 h 1978172"/>
              <a:gd name="connsiteX157" fmla="*/ 3449433 w 10768629"/>
              <a:gd name="connsiteY157" fmla="*/ 1889681 h 1978172"/>
              <a:gd name="connsiteX158" fmla="*/ 3369766 w 10768629"/>
              <a:gd name="connsiteY158" fmla="*/ 1916653 h 1978172"/>
              <a:gd name="connsiteX159" fmla="*/ 3269672 w 10768629"/>
              <a:gd name="connsiteY159" fmla="*/ 1938036 h 1978172"/>
              <a:gd name="connsiteX160" fmla="*/ 3224897 w 10768629"/>
              <a:gd name="connsiteY160" fmla="*/ 1943733 h 1978172"/>
              <a:gd name="connsiteX161" fmla="*/ 3161463 w 10768629"/>
              <a:gd name="connsiteY161" fmla="*/ 1946591 h 1978172"/>
              <a:gd name="connsiteX162" fmla="*/ 3112044 w 10768629"/>
              <a:gd name="connsiteY162" fmla="*/ 1935614 h 1978172"/>
              <a:gd name="connsiteX163" fmla="*/ 3069716 w 10768629"/>
              <a:gd name="connsiteY163" fmla="*/ 1930463 h 1978172"/>
              <a:gd name="connsiteX164" fmla="*/ 3005773 w 10768629"/>
              <a:gd name="connsiteY164" fmla="*/ 1915878 h 1978172"/>
              <a:gd name="connsiteX165" fmla="*/ 2897201 w 10768629"/>
              <a:gd name="connsiteY165" fmla="*/ 1926772 h 1978172"/>
              <a:gd name="connsiteX166" fmla="*/ 2783891 w 10768629"/>
              <a:gd name="connsiteY166" fmla="*/ 1931749 h 1978172"/>
              <a:gd name="connsiteX167" fmla="*/ 2712447 w 10768629"/>
              <a:gd name="connsiteY167" fmla="*/ 1933044 h 1978172"/>
              <a:gd name="connsiteX168" fmla="*/ 2560151 w 10768629"/>
              <a:gd name="connsiteY168" fmla="*/ 1963609 h 1978172"/>
              <a:gd name="connsiteX169" fmla="*/ 2367221 w 10768629"/>
              <a:gd name="connsiteY169" fmla="*/ 1971884 h 1978172"/>
              <a:gd name="connsiteX170" fmla="*/ 2272130 w 10768629"/>
              <a:gd name="connsiteY170" fmla="*/ 1961162 h 1978172"/>
              <a:gd name="connsiteX171" fmla="*/ 2189404 w 10768629"/>
              <a:gd name="connsiteY171" fmla="*/ 1978172 h 1978172"/>
              <a:gd name="connsiteX172" fmla="*/ 2077704 w 10768629"/>
              <a:gd name="connsiteY172" fmla="*/ 1965002 h 1978172"/>
              <a:gd name="connsiteX173" fmla="*/ 2033299 w 10768629"/>
              <a:gd name="connsiteY173" fmla="*/ 1969042 h 1978172"/>
              <a:gd name="connsiteX174" fmla="*/ 1967996 w 10768629"/>
              <a:gd name="connsiteY174" fmla="*/ 1953187 h 1978172"/>
              <a:gd name="connsiteX175" fmla="*/ 1855805 w 10768629"/>
              <a:gd name="connsiteY175" fmla="*/ 1926082 h 1978172"/>
              <a:gd name="connsiteX176" fmla="*/ 1790957 w 10768629"/>
              <a:gd name="connsiteY176" fmla="*/ 1919460 h 1978172"/>
              <a:gd name="connsiteX177" fmla="*/ 1613978 w 10768629"/>
              <a:gd name="connsiteY177" fmla="*/ 1891581 h 1978172"/>
              <a:gd name="connsiteX178" fmla="*/ 1436831 w 10768629"/>
              <a:gd name="connsiteY178" fmla="*/ 1856201 h 1978172"/>
              <a:gd name="connsiteX179" fmla="*/ 1357365 w 10768629"/>
              <a:gd name="connsiteY179" fmla="*/ 1832140 h 1978172"/>
              <a:gd name="connsiteX180" fmla="*/ 1232341 w 10768629"/>
              <a:gd name="connsiteY180" fmla="*/ 1785942 h 1978172"/>
              <a:gd name="connsiteX181" fmla="*/ 1162595 w 10768629"/>
              <a:gd name="connsiteY181" fmla="*/ 1758337 h 1978172"/>
              <a:gd name="connsiteX182" fmla="*/ 1128523 w 10768629"/>
              <a:gd name="connsiteY182" fmla="*/ 1763621 h 1978172"/>
              <a:gd name="connsiteX183" fmla="*/ 991903 w 10768629"/>
              <a:gd name="connsiteY183" fmla="*/ 1786741 h 1978172"/>
              <a:gd name="connsiteX184" fmla="*/ 883960 w 10768629"/>
              <a:gd name="connsiteY184" fmla="*/ 1822386 h 1978172"/>
              <a:gd name="connsiteX185" fmla="*/ 766531 w 10768629"/>
              <a:gd name="connsiteY185" fmla="*/ 1805053 h 1978172"/>
              <a:gd name="connsiteX186" fmla="*/ 669779 w 10768629"/>
              <a:gd name="connsiteY186" fmla="*/ 1800537 h 1978172"/>
              <a:gd name="connsiteX187" fmla="*/ 523898 w 10768629"/>
              <a:gd name="connsiteY187" fmla="*/ 1811085 h 1978172"/>
              <a:gd name="connsiteX188" fmla="*/ 360251 w 10768629"/>
              <a:gd name="connsiteY188" fmla="*/ 1830735 h 1978172"/>
              <a:gd name="connsiteX189" fmla="*/ 255207 w 10768629"/>
              <a:gd name="connsiteY189" fmla="*/ 1818275 h 1978172"/>
              <a:gd name="connsiteX190" fmla="*/ 101803 w 10768629"/>
              <a:gd name="connsiteY190" fmla="*/ 1870647 h 1978172"/>
              <a:gd name="connsiteX191" fmla="*/ 25397 w 10768629"/>
              <a:gd name="connsiteY191" fmla="*/ 1888443 h 1978172"/>
              <a:gd name="connsiteX192" fmla="*/ 2370 w 10768629"/>
              <a:gd name="connsiteY192" fmla="*/ 1878311 h 1978172"/>
              <a:gd name="connsiteX193" fmla="*/ 0 w 10768629"/>
              <a:gd name="connsiteY193" fmla="*/ 1878785 h 1978172"/>
              <a:gd name="connsiteX194" fmla="*/ 0 w 10768629"/>
              <a:gd name="connsiteY194" fmla="*/ 0 h 1978172"/>
              <a:gd name="connsiteX0" fmla="*/ 0 w 10768629"/>
              <a:gd name="connsiteY0" fmla="*/ 0 h 1978172"/>
              <a:gd name="connsiteX1" fmla="*/ 10768629 w 10768629"/>
              <a:gd name="connsiteY1" fmla="*/ 0 h 1978172"/>
              <a:gd name="connsiteX2" fmla="*/ 10733254 w 10768629"/>
              <a:gd name="connsiteY2" fmla="*/ 31439 h 1978172"/>
              <a:gd name="connsiteX3" fmla="*/ 10727085 w 10768629"/>
              <a:gd name="connsiteY3" fmla="*/ 37910 h 1978172"/>
              <a:gd name="connsiteX4" fmla="*/ 10675953 w 10768629"/>
              <a:gd name="connsiteY4" fmla="*/ 68623 h 1978172"/>
              <a:gd name="connsiteX5" fmla="*/ 10637091 w 10768629"/>
              <a:gd name="connsiteY5" fmla="*/ 90361 h 1978172"/>
              <a:gd name="connsiteX6" fmla="*/ 10610971 w 10768629"/>
              <a:gd name="connsiteY6" fmla="*/ 110764 h 1978172"/>
              <a:gd name="connsiteX7" fmla="*/ 10532872 w 10768629"/>
              <a:gd name="connsiteY7" fmla="*/ 138028 h 1978172"/>
              <a:gd name="connsiteX8" fmla="*/ 10398558 w 10768629"/>
              <a:gd name="connsiteY8" fmla="*/ 172911 h 1978172"/>
              <a:gd name="connsiteX9" fmla="*/ 10371128 w 10768629"/>
              <a:gd name="connsiteY9" fmla="*/ 182609 h 1978172"/>
              <a:gd name="connsiteX10" fmla="*/ 10352178 w 10768629"/>
              <a:gd name="connsiteY10" fmla="*/ 199976 h 1978172"/>
              <a:gd name="connsiteX11" fmla="*/ 10351815 w 10768629"/>
              <a:gd name="connsiteY11" fmla="*/ 211879 h 1978172"/>
              <a:gd name="connsiteX12" fmla="*/ 10337471 w 10768629"/>
              <a:gd name="connsiteY12" fmla="*/ 218661 h 1978172"/>
              <a:gd name="connsiteX13" fmla="*/ 10334625 w 10768629"/>
              <a:gd name="connsiteY13" fmla="*/ 222351 h 1978172"/>
              <a:gd name="connsiteX14" fmla="*/ 10256365 w 10768629"/>
              <a:gd name="connsiteY14" fmla="*/ 235917 h 1978172"/>
              <a:gd name="connsiteX15" fmla="*/ 10201127 w 10768629"/>
              <a:gd name="connsiteY15" fmla="*/ 267448 h 1978172"/>
              <a:gd name="connsiteX16" fmla="*/ 9961218 w 10768629"/>
              <a:gd name="connsiteY16" fmla="*/ 326720 h 1978172"/>
              <a:gd name="connsiteX17" fmla="*/ 9859715 w 10768629"/>
              <a:gd name="connsiteY17" fmla="*/ 355698 h 1978172"/>
              <a:gd name="connsiteX18" fmla="*/ 9679867 w 10768629"/>
              <a:gd name="connsiteY18" fmla="*/ 399081 h 1978172"/>
              <a:gd name="connsiteX19" fmla="*/ 9490654 w 10768629"/>
              <a:gd name="connsiteY19" fmla="*/ 455225 h 1978172"/>
              <a:gd name="connsiteX20" fmla="*/ 9470837 w 10768629"/>
              <a:gd name="connsiteY20" fmla="*/ 452539 h 1978172"/>
              <a:gd name="connsiteX21" fmla="*/ 9469082 w 10768629"/>
              <a:gd name="connsiteY21" fmla="*/ 454891 h 1978172"/>
              <a:gd name="connsiteX22" fmla="*/ 9448038 w 10768629"/>
              <a:gd name="connsiteY22" fmla="*/ 459733 h 1978172"/>
              <a:gd name="connsiteX23" fmla="*/ 9396821 w 10768629"/>
              <a:gd name="connsiteY23" fmla="*/ 455795 h 1978172"/>
              <a:gd name="connsiteX24" fmla="*/ 9392197 w 10768629"/>
              <a:gd name="connsiteY24" fmla="*/ 459796 h 1978172"/>
              <a:gd name="connsiteX25" fmla="*/ 9347994 w 10768629"/>
              <a:gd name="connsiteY25" fmla="*/ 464462 h 1978172"/>
              <a:gd name="connsiteX26" fmla="*/ 9347889 w 10768629"/>
              <a:gd name="connsiteY26" fmla="*/ 466539 h 1978172"/>
              <a:gd name="connsiteX27" fmla="*/ 9337639 w 10768629"/>
              <a:gd name="connsiteY27" fmla="*/ 476654 h 1978172"/>
              <a:gd name="connsiteX28" fmla="*/ 9316893 w 10768629"/>
              <a:gd name="connsiteY28" fmla="*/ 491390 h 1978172"/>
              <a:gd name="connsiteX29" fmla="*/ 9229283 w 10768629"/>
              <a:gd name="connsiteY29" fmla="*/ 555377 h 1978172"/>
              <a:gd name="connsiteX30" fmla="*/ 9220274 w 10768629"/>
              <a:gd name="connsiteY30" fmla="*/ 557502 h 1978172"/>
              <a:gd name="connsiteX31" fmla="*/ 9220202 w 10768629"/>
              <a:gd name="connsiteY31" fmla="*/ 558001 h 1978172"/>
              <a:gd name="connsiteX32" fmla="*/ 9210908 w 10768629"/>
              <a:gd name="connsiteY32" fmla="*/ 561147 h 1978172"/>
              <a:gd name="connsiteX33" fmla="*/ 9186374 w 10768629"/>
              <a:gd name="connsiteY33" fmla="*/ 565502 h 1978172"/>
              <a:gd name="connsiteX34" fmla="*/ 9181058 w 10768629"/>
              <a:gd name="connsiteY34" fmla="*/ 569943 h 1978172"/>
              <a:gd name="connsiteX35" fmla="*/ 9179948 w 10768629"/>
              <a:gd name="connsiteY35" fmla="*/ 576062 h 1978172"/>
              <a:gd name="connsiteX36" fmla="*/ 9149110 w 10768629"/>
              <a:gd name="connsiteY36" fmla="*/ 598906 h 1978172"/>
              <a:gd name="connsiteX37" fmla="*/ 9078556 w 10768629"/>
              <a:gd name="connsiteY37" fmla="*/ 644039 h 1978172"/>
              <a:gd name="connsiteX38" fmla="*/ 8996399 w 10768629"/>
              <a:gd name="connsiteY38" fmla="*/ 690055 h 1978172"/>
              <a:gd name="connsiteX39" fmla="*/ 8803791 w 10768629"/>
              <a:gd name="connsiteY39" fmla="*/ 813860 h 1978172"/>
              <a:gd name="connsiteX40" fmla="*/ 8636202 w 10768629"/>
              <a:gd name="connsiteY40" fmla="*/ 848463 h 1978172"/>
              <a:gd name="connsiteX41" fmla="*/ 8555372 w 10768629"/>
              <a:gd name="connsiteY41" fmla="*/ 883171 h 1978172"/>
              <a:gd name="connsiteX42" fmla="*/ 8507229 w 10768629"/>
              <a:gd name="connsiteY42" fmla="*/ 901665 h 1978172"/>
              <a:gd name="connsiteX43" fmla="*/ 8428473 w 10768629"/>
              <a:gd name="connsiteY43" fmla="*/ 927985 h 1978172"/>
              <a:gd name="connsiteX44" fmla="*/ 8427914 w 10768629"/>
              <a:gd name="connsiteY44" fmla="*/ 933480 h 1978172"/>
              <a:gd name="connsiteX45" fmla="*/ 8420327 w 10768629"/>
              <a:gd name="connsiteY45" fmla="*/ 941984 h 1978172"/>
              <a:gd name="connsiteX46" fmla="*/ 8407128 w 10768629"/>
              <a:gd name="connsiteY46" fmla="*/ 961344 h 1978172"/>
              <a:gd name="connsiteX47" fmla="*/ 8380548 w 10768629"/>
              <a:gd name="connsiteY47" fmla="*/ 987916 h 1978172"/>
              <a:gd name="connsiteX48" fmla="*/ 8379462 w 10768629"/>
              <a:gd name="connsiteY48" fmla="*/ 987106 h 1978172"/>
              <a:gd name="connsiteX49" fmla="*/ 8369725 w 10768629"/>
              <a:gd name="connsiteY49" fmla="*/ 989186 h 1978172"/>
              <a:gd name="connsiteX50" fmla="*/ 8304438 w 10768629"/>
              <a:gd name="connsiteY50" fmla="*/ 996739 h 1978172"/>
              <a:gd name="connsiteX51" fmla="*/ 8280929 w 10768629"/>
              <a:gd name="connsiteY51" fmla="*/ 1023089 h 1978172"/>
              <a:gd name="connsiteX52" fmla="*/ 8275760 w 10768629"/>
              <a:gd name="connsiteY52" fmla="*/ 1027772 h 1978172"/>
              <a:gd name="connsiteX53" fmla="*/ 8275478 w 10768629"/>
              <a:gd name="connsiteY53" fmla="*/ 1027605 h 1978172"/>
              <a:gd name="connsiteX54" fmla="*/ 8269666 w 10768629"/>
              <a:gd name="connsiteY54" fmla="*/ 1032033 h 1978172"/>
              <a:gd name="connsiteX55" fmla="*/ 8203836 w 10768629"/>
              <a:gd name="connsiteY55" fmla="*/ 1037347 h 1978172"/>
              <a:gd name="connsiteX56" fmla="*/ 8122936 w 10768629"/>
              <a:gd name="connsiteY56" fmla="*/ 1063113 h 1978172"/>
              <a:gd name="connsiteX57" fmla="*/ 8043658 w 10768629"/>
              <a:gd name="connsiteY57" fmla="*/ 1092746 h 1978172"/>
              <a:gd name="connsiteX58" fmla="*/ 8015351 w 10768629"/>
              <a:gd name="connsiteY58" fmla="*/ 1105478 h 1978172"/>
              <a:gd name="connsiteX59" fmla="*/ 7963145 w 10768629"/>
              <a:gd name="connsiteY59" fmla="*/ 1119346 h 1978172"/>
              <a:gd name="connsiteX60" fmla="*/ 7938145 w 10768629"/>
              <a:gd name="connsiteY60" fmla="*/ 1120225 h 1978172"/>
              <a:gd name="connsiteX61" fmla="*/ 7937238 w 10768629"/>
              <a:gd name="connsiteY61" fmla="*/ 1121204 h 1978172"/>
              <a:gd name="connsiteX62" fmla="*/ 7934398 w 10768629"/>
              <a:gd name="connsiteY62" fmla="*/ 1118240 h 1978172"/>
              <a:gd name="connsiteX63" fmla="*/ 7918248 w 10768629"/>
              <a:gd name="connsiteY63" fmla="*/ 1124371 h 1978172"/>
              <a:gd name="connsiteX64" fmla="*/ 7914119 w 10768629"/>
              <a:gd name="connsiteY64" fmla="*/ 1127653 h 1978172"/>
              <a:gd name="connsiteX65" fmla="*/ 7907658 w 10768629"/>
              <a:gd name="connsiteY65" fmla="*/ 1130350 h 1978172"/>
              <a:gd name="connsiteX66" fmla="*/ 7907434 w 10768629"/>
              <a:gd name="connsiteY66" fmla="*/ 1130103 h 1978172"/>
              <a:gd name="connsiteX67" fmla="*/ 7901508 w 10768629"/>
              <a:gd name="connsiteY67" fmla="*/ 1133245 h 1978172"/>
              <a:gd name="connsiteX68" fmla="*/ 7873287 w 10768629"/>
              <a:gd name="connsiteY68" fmla="*/ 1152609 h 1978172"/>
              <a:gd name="connsiteX69" fmla="*/ 7834833 w 10768629"/>
              <a:gd name="connsiteY69" fmla="*/ 1153868 h 1978172"/>
              <a:gd name="connsiteX70" fmla="*/ 7828661 w 10768629"/>
              <a:gd name="connsiteY70" fmla="*/ 1139994 h 1978172"/>
              <a:gd name="connsiteX71" fmla="*/ 7823966 w 10768629"/>
              <a:gd name="connsiteY71" fmla="*/ 1143178 h 1978172"/>
              <a:gd name="connsiteX72" fmla="*/ 7815078 w 10768629"/>
              <a:gd name="connsiteY72" fmla="*/ 1151776 h 1978172"/>
              <a:gd name="connsiteX73" fmla="*/ 7812026 w 10768629"/>
              <a:gd name="connsiteY73" fmla="*/ 1151522 h 1978172"/>
              <a:gd name="connsiteX74" fmla="*/ 7782249 w 10768629"/>
              <a:gd name="connsiteY74" fmla="*/ 1160970 h 1978172"/>
              <a:gd name="connsiteX75" fmla="*/ 7773476 w 10768629"/>
              <a:gd name="connsiteY75" fmla="*/ 1157414 h 1978172"/>
              <a:gd name="connsiteX76" fmla="*/ 7769600 w 10768629"/>
              <a:gd name="connsiteY76" fmla="*/ 1157365 h 1978172"/>
              <a:gd name="connsiteX77" fmla="*/ 7752631 w 10768629"/>
              <a:gd name="connsiteY77" fmla="*/ 1172815 h 1978172"/>
              <a:gd name="connsiteX78" fmla="*/ 7743525 w 10768629"/>
              <a:gd name="connsiteY78" fmla="*/ 1179064 h 1978172"/>
              <a:gd name="connsiteX79" fmla="*/ 7685942 w 10768629"/>
              <a:gd name="connsiteY79" fmla="*/ 1233723 h 1978172"/>
              <a:gd name="connsiteX80" fmla="*/ 7586920 w 10768629"/>
              <a:gd name="connsiteY80" fmla="*/ 1261888 h 1978172"/>
              <a:gd name="connsiteX81" fmla="*/ 7486100 w 10768629"/>
              <a:gd name="connsiteY81" fmla="*/ 1292563 h 1978172"/>
              <a:gd name="connsiteX82" fmla="*/ 7407190 w 10768629"/>
              <a:gd name="connsiteY82" fmla="*/ 1314737 h 1978172"/>
              <a:gd name="connsiteX83" fmla="*/ 7240698 w 10768629"/>
              <a:gd name="connsiteY83" fmla="*/ 1438832 h 1978172"/>
              <a:gd name="connsiteX84" fmla="*/ 7197675 w 10768629"/>
              <a:gd name="connsiteY84" fmla="*/ 1447530 h 1978172"/>
              <a:gd name="connsiteX85" fmla="*/ 7164788 w 10768629"/>
              <a:gd name="connsiteY85" fmla="*/ 1480293 h 1978172"/>
              <a:gd name="connsiteX86" fmla="*/ 7147929 w 10768629"/>
              <a:gd name="connsiteY86" fmla="*/ 1477641 h 1978172"/>
              <a:gd name="connsiteX87" fmla="*/ 7144965 w 10768629"/>
              <a:gd name="connsiteY87" fmla="*/ 1476908 h 1978172"/>
              <a:gd name="connsiteX88" fmla="*/ 7134299 w 10768629"/>
              <a:gd name="connsiteY88" fmla="*/ 1479969 h 1978172"/>
              <a:gd name="connsiteX89" fmla="*/ 7129809 w 10768629"/>
              <a:gd name="connsiteY89" fmla="*/ 1473339 h 1978172"/>
              <a:gd name="connsiteX90" fmla="*/ 7112688 w 10768629"/>
              <a:gd name="connsiteY90" fmla="*/ 1472575 h 1978172"/>
              <a:gd name="connsiteX91" fmla="*/ 7093470 w 10768629"/>
              <a:gd name="connsiteY91" fmla="*/ 1480300 h 1978172"/>
              <a:gd name="connsiteX92" fmla="*/ 7025034 w 10768629"/>
              <a:gd name="connsiteY92" fmla="*/ 1506934 h 1978172"/>
              <a:gd name="connsiteX93" fmla="*/ 7014783 w 10768629"/>
              <a:gd name="connsiteY93" fmla="*/ 1515868 h 1978172"/>
              <a:gd name="connsiteX94" fmla="*/ 6979706 w 10768629"/>
              <a:gd name="connsiteY94" fmla="*/ 1523511 h 1978172"/>
              <a:gd name="connsiteX95" fmla="*/ 6977890 w 10768629"/>
              <a:gd name="connsiteY95" fmla="*/ 1525793 h 1978172"/>
              <a:gd name="connsiteX96" fmla="*/ 6944339 w 10768629"/>
              <a:gd name="connsiteY96" fmla="*/ 1536237 h 1978172"/>
              <a:gd name="connsiteX97" fmla="*/ 6886996 w 10768629"/>
              <a:gd name="connsiteY97" fmla="*/ 1563569 h 1978172"/>
              <a:gd name="connsiteX98" fmla="*/ 6874510 w 10768629"/>
              <a:gd name="connsiteY98" fmla="*/ 1558469 h 1978172"/>
              <a:gd name="connsiteX99" fmla="*/ 6871943 w 10768629"/>
              <a:gd name="connsiteY99" fmla="*/ 1554651 h 1978172"/>
              <a:gd name="connsiteX100" fmla="*/ 6856174 w 10768629"/>
              <a:gd name="connsiteY100" fmla="*/ 1562024 h 1978172"/>
              <a:gd name="connsiteX101" fmla="*/ 6842321 w 10768629"/>
              <a:gd name="connsiteY101" fmla="*/ 1560554 h 1978172"/>
              <a:gd name="connsiteX102" fmla="*/ 6832713 w 10768629"/>
              <a:gd name="connsiteY102" fmla="*/ 1569357 h 1978172"/>
              <a:gd name="connsiteX103" fmla="*/ 6816351 w 10768629"/>
              <a:gd name="connsiteY103" fmla="*/ 1571495 h 1978172"/>
              <a:gd name="connsiteX104" fmla="*/ 6795800 w 10768629"/>
              <a:gd name="connsiteY104" fmla="*/ 1572010 h 1978172"/>
              <a:gd name="connsiteX105" fmla="*/ 6777546 w 10768629"/>
              <a:gd name="connsiteY105" fmla="*/ 1568661 h 1978172"/>
              <a:gd name="connsiteX106" fmla="*/ 6751528 w 10768629"/>
              <a:gd name="connsiteY106" fmla="*/ 1574143 h 1978172"/>
              <a:gd name="connsiteX107" fmla="*/ 6691966 w 10768629"/>
              <a:gd name="connsiteY107" fmla="*/ 1582255 h 1978172"/>
              <a:gd name="connsiteX108" fmla="*/ 6646941 w 10768629"/>
              <a:gd name="connsiteY108" fmla="*/ 1588471 h 1978172"/>
              <a:gd name="connsiteX109" fmla="*/ 6568576 w 10768629"/>
              <a:gd name="connsiteY109" fmla="*/ 1606488 h 1978172"/>
              <a:gd name="connsiteX110" fmla="*/ 6554358 w 10768629"/>
              <a:gd name="connsiteY110" fmla="*/ 1621701 h 1978172"/>
              <a:gd name="connsiteX111" fmla="*/ 6516968 w 10768629"/>
              <a:gd name="connsiteY111" fmla="*/ 1617195 h 1978172"/>
              <a:gd name="connsiteX112" fmla="*/ 6506479 w 10768629"/>
              <a:gd name="connsiteY112" fmla="*/ 1602227 h 1978172"/>
              <a:gd name="connsiteX113" fmla="*/ 6458436 w 10768629"/>
              <a:gd name="connsiteY113" fmla="*/ 1607332 h 1978172"/>
              <a:gd name="connsiteX114" fmla="*/ 6414786 w 10768629"/>
              <a:gd name="connsiteY114" fmla="*/ 1628815 h 1978172"/>
              <a:gd name="connsiteX115" fmla="*/ 6357085 w 10768629"/>
              <a:gd name="connsiteY115" fmla="*/ 1640846 h 1978172"/>
              <a:gd name="connsiteX116" fmla="*/ 6322636 w 10768629"/>
              <a:gd name="connsiteY116" fmla="*/ 1648213 h 1978172"/>
              <a:gd name="connsiteX117" fmla="*/ 6226172 w 10768629"/>
              <a:gd name="connsiteY117" fmla="*/ 1654676 h 1978172"/>
              <a:gd name="connsiteX118" fmla="*/ 6221217 w 10768629"/>
              <a:gd name="connsiteY118" fmla="*/ 1654506 h 1978172"/>
              <a:gd name="connsiteX119" fmla="*/ 6204956 w 10768629"/>
              <a:gd name="connsiteY119" fmla="*/ 1664280 h 1978172"/>
              <a:gd name="connsiteX120" fmla="*/ 6204270 w 10768629"/>
              <a:gd name="connsiteY120" fmla="*/ 1666782 h 1978172"/>
              <a:gd name="connsiteX121" fmla="*/ 6143810 w 10768629"/>
              <a:gd name="connsiteY121" fmla="*/ 1661963 h 1978172"/>
              <a:gd name="connsiteX122" fmla="*/ 6136560 w 10768629"/>
              <a:gd name="connsiteY122" fmla="*/ 1665728 h 1978172"/>
              <a:gd name="connsiteX123" fmla="*/ 6096155 w 10768629"/>
              <a:gd name="connsiteY123" fmla="*/ 1656951 h 1978172"/>
              <a:gd name="connsiteX124" fmla="*/ 6075812 w 10768629"/>
              <a:gd name="connsiteY124" fmla="*/ 1655422 h 1978172"/>
              <a:gd name="connsiteX125" fmla="*/ 6039495 w 10768629"/>
              <a:gd name="connsiteY125" fmla="*/ 1649680 h 1978172"/>
              <a:gd name="connsiteX126" fmla="*/ 6036523 w 10768629"/>
              <a:gd name="connsiteY126" fmla="*/ 1652121 h 1978172"/>
              <a:gd name="connsiteX127" fmla="*/ 6029328 w 10768629"/>
              <a:gd name="connsiteY127" fmla="*/ 1649904 h 1978172"/>
              <a:gd name="connsiteX128" fmla="*/ 6024075 w 10768629"/>
              <a:gd name="connsiteY128" fmla="*/ 1652779 h 1978172"/>
              <a:gd name="connsiteX129" fmla="*/ 6018085 w 10768629"/>
              <a:gd name="connsiteY129" fmla="*/ 1652030 h 1978172"/>
              <a:gd name="connsiteX130" fmla="*/ 5955513 w 10768629"/>
              <a:gd name="connsiteY130" fmla="*/ 1663584 h 1978172"/>
              <a:gd name="connsiteX131" fmla="*/ 5941996 w 10768629"/>
              <a:gd name="connsiteY131" fmla="*/ 1661326 h 1978172"/>
              <a:gd name="connsiteX132" fmla="*/ 5931789 w 10768629"/>
              <a:gd name="connsiteY132" fmla="*/ 1669915 h 1978172"/>
              <a:gd name="connsiteX133" fmla="*/ 5888686 w 10768629"/>
              <a:gd name="connsiteY133" fmla="*/ 1672175 h 1978172"/>
              <a:gd name="connsiteX134" fmla="*/ 5873794 w 10768629"/>
              <a:gd name="connsiteY134" fmla="*/ 1665454 h 1978172"/>
              <a:gd name="connsiteX135" fmla="*/ 5860022 w 10768629"/>
              <a:gd name="connsiteY135" fmla="*/ 1660635 h 1978172"/>
              <a:gd name="connsiteX136" fmla="*/ 5858237 w 10768629"/>
              <a:gd name="connsiteY136" fmla="*/ 1660649 h 1978172"/>
              <a:gd name="connsiteX137" fmla="*/ 5840319 w 10768629"/>
              <a:gd name="connsiteY137" fmla="*/ 1660798 h 1978172"/>
              <a:gd name="connsiteX138" fmla="*/ 5806984 w 10768629"/>
              <a:gd name="connsiteY138" fmla="*/ 1661075 h 1978172"/>
              <a:gd name="connsiteX139" fmla="*/ 5742351 w 10768629"/>
              <a:gd name="connsiteY139" fmla="*/ 1667489 h 1978172"/>
              <a:gd name="connsiteX140" fmla="*/ 5521171 w 10768629"/>
              <a:gd name="connsiteY140" fmla="*/ 1671626 h 1978172"/>
              <a:gd name="connsiteX141" fmla="*/ 5457384 w 10768629"/>
              <a:gd name="connsiteY141" fmla="*/ 1683952 h 1978172"/>
              <a:gd name="connsiteX142" fmla="*/ 4950070 w 10768629"/>
              <a:gd name="connsiteY142" fmla="*/ 1748401 h 1978172"/>
              <a:gd name="connsiteX143" fmla="*/ 4872172 w 10768629"/>
              <a:gd name="connsiteY143" fmla="*/ 1757222 h 1978172"/>
              <a:gd name="connsiteX144" fmla="*/ 4809524 w 10768629"/>
              <a:gd name="connsiteY144" fmla="*/ 1761033 h 1978172"/>
              <a:gd name="connsiteX145" fmla="*/ 4759058 w 10768629"/>
              <a:gd name="connsiteY145" fmla="*/ 1766533 h 1978172"/>
              <a:gd name="connsiteX146" fmla="*/ 4719749 w 10768629"/>
              <a:gd name="connsiteY146" fmla="*/ 1771811 h 1978172"/>
              <a:gd name="connsiteX147" fmla="*/ 4568686 w 10768629"/>
              <a:gd name="connsiteY147" fmla="*/ 1786141 h 1978172"/>
              <a:gd name="connsiteX148" fmla="*/ 4418751 w 10768629"/>
              <a:gd name="connsiteY148" fmla="*/ 1796932 h 1978172"/>
              <a:gd name="connsiteX149" fmla="*/ 4378377 w 10768629"/>
              <a:gd name="connsiteY149" fmla="*/ 1815528 h 1978172"/>
              <a:gd name="connsiteX150" fmla="*/ 4320575 w 10768629"/>
              <a:gd name="connsiteY150" fmla="*/ 1832722 h 1978172"/>
              <a:gd name="connsiteX151" fmla="*/ 4220200 w 10768629"/>
              <a:gd name="connsiteY151" fmla="*/ 1873173 h 1978172"/>
              <a:gd name="connsiteX152" fmla="*/ 4105361 w 10768629"/>
              <a:gd name="connsiteY152" fmla="*/ 1894711 h 1978172"/>
              <a:gd name="connsiteX153" fmla="*/ 3973223 w 10768629"/>
              <a:gd name="connsiteY153" fmla="*/ 1881015 h 1978172"/>
              <a:gd name="connsiteX154" fmla="*/ 3900992 w 10768629"/>
              <a:gd name="connsiteY154" fmla="*/ 1880603 h 1978172"/>
              <a:gd name="connsiteX155" fmla="*/ 3662119 w 10768629"/>
              <a:gd name="connsiteY155" fmla="*/ 1889285 h 1978172"/>
              <a:gd name="connsiteX156" fmla="*/ 3496919 w 10768629"/>
              <a:gd name="connsiteY156" fmla="*/ 1873180 h 1978172"/>
              <a:gd name="connsiteX157" fmla="*/ 3449433 w 10768629"/>
              <a:gd name="connsiteY157" fmla="*/ 1889681 h 1978172"/>
              <a:gd name="connsiteX158" fmla="*/ 3369766 w 10768629"/>
              <a:gd name="connsiteY158" fmla="*/ 1916653 h 1978172"/>
              <a:gd name="connsiteX159" fmla="*/ 3269672 w 10768629"/>
              <a:gd name="connsiteY159" fmla="*/ 1938036 h 1978172"/>
              <a:gd name="connsiteX160" fmla="*/ 3224897 w 10768629"/>
              <a:gd name="connsiteY160" fmla="*/ 1943733 h 1978172"/>
              <a:gd name="connsiteX161" fmla="*/ 3161463 w 10768629"/>
              <a:gd name="connsiteY161" fmla="*/ 1946591 h 1978172"/>
              <a:gd name="connsiteX162" fmla="*/ 3112044 w 10768629"/>
              <a:gd name="connsiteY162" fmla="*/ 1935614 h 1978172"/>
              <a:gd name="connsiteX163" fmla="*/ 3069716 w 10768629"/>
              <a:gd name="connsiteY163" fmla="*/ 1930463 h 1978172"/>
              <a:gd name="connsiteX164" fmla="*/ 3005773 w 10768629"/>
              <a:gd name="connsiteY164" fmla="*/ 1915878 h 1978172"/>
              <a:gd name="connsiteX165" fmla="*/ 2897201 w 10768629"/>
              <a:gd name="connsiteY165" fmla="*/ 1926772 h 1978172"/>
              <a:gd name="connsiteX166" fmla="*/ 2783891 w 10768629"/>
              <a:gd name="connsiteY166" fmla="*/ 1931749 h 1978172"/>
              <a:gd name="connsiteX167" fmla="*/ 2712447 w 10768629"/>
              <a:gd name="connsiteY167" fmla="*/ 1933044 h 1978172"/>
              <a:gd name="connsiteX168" fmla="*/ 2560151 w 10768629"/>
              <a:gd name="connsiteY168" fmla="*/ 1963609 h 1978172"/>
              <a:gd name="connsiteX169" fmla="*/ 2367221 w 10768629"/>
              <a:gd name="connsiteY169" fmla="*/ 1971884 h 1978172"/>
              <a:gd name="connsiteX170" fmla="*/ 2272130 w 10768629"/>
              <a:gd name="connsiteY170" fmla="*/ 1961162 h 1978172"/>
              <a:gd name="connsiteX171" fmla="*/ 2189404 w 10768629"/>
              <a:gd name="connsiteY171" fmla="*/ 1978172 h 1978172"/>
              <a:gd name="connsiteX172" fmla="*/ 2077704 w 10768629"/>
              <a:gd name="connsiteY172" fmla="*/ 1965002 h 1978172"/>
              <a:gd name="connsiteX173" fmla="*/ 2033299 w 10768629"/>
              <a:gd name="connsiteY173" fmla="*/ 1969042 h 1978172"/>
              <a:gd name="connsiteX174" fmla="*/ 1967996 w 10768629"/>
              <a:gd name="connsiteY174" fmla="*/ 1953187 h 1978172"/>
              <a:gd name="connsiteX175" fmla="*/ 1855805 w 10768629"/>
              <a:gd name="connsiteY175" fmla="*/ 1926082 h 1978172"/>
              <a:gd name="connsiteX176" fmla="*/ 1790957 w 10768629"/>
              <a:gd name="connsiteY176" fmla="*/ 1919460 h 1978172"/>
              <a:gd name="connsiteX177" fmla="*/ 1613978 w 10768629"/>
              <a:gd name="connsiteY177" fmla="*/ 1891581 h 1978172"/>
              <a:gd name="connsiteX178" fmla="*/ 1436831 w 10768629"/>
              <a:gd name="connsiteY178" fmla="*/ 1856201 h 1978172"/>
              <a:gd name="connsiteX179" fmla="*/ 1357365 w 10768629"/>
              <a:gd name="connsiteY179" fmla="*/ 1832140 h 1978172"/>
              <a:gd name="connsiteX180" fmla="*/ 1232341 w 10768629"/>
              <a:gd name="connsiteY180" fmla="*/ 1785942 h 1978172"/>
              <a:gd name="connsiteX181" fmla="*/ 1162595 w 10768629"/>
              <a:gd name="connsiteY181" fmla="*/ 1758337 h 1978172"/>
              <a:gd name="connsiteX182" fmla="*/ 1128523 w 10768629"/>
              <a:gd name="connsiteY182" fmla="*/ 1763621 h 1978172"/>
              <a:gd name="connsiteX183" fmla="*/ 991903 w 10768629"/>
              <a:gd name="connsiteY183" fmla="*/ 1786741 h 1978172"/>
              <a:gd name="connsiteX184" fmla="*/ 883960 w 10768629"/>
              <a:gd name="connsiteY184" fmla="*/ 1822386 h 1978172"/>
              <a:gd name="connsiteX185" fmla="*/ 766531 w 10768629"/>
              <a:gd name="connsiteY185" fmla="*/ 1805053 h 1978172"/>
              <a:gd name="connsiteX186" fmla="*/ 669779 w 10768629"/>
              <a:gd name="connsiteY186" fmla="*/ 1800537 h 1978172"/>
              <a:gd name="connsiteX187" fmla="*/ 523898 w 10768629"/>
              <a:gd name="connsiteY187" fmla="*/ 1811085 h 1978172"/>
              <a:gd name="connsiteX188" fmla="*/ 360251 w 10768629"/>
              <a:gd name="connsiteY188" fmla="*/ 1830735 h 1978172"/>
              <a:gd name="connsiteX189" fmla="*/ 255207 w 10768629"/>
              <a:gd name="connsiteY189" fmla="*/ 1818275 h 1978172"/>
              <a:gd name="connsiteX190" fmla="*/ 101803 w 10768629"/>
              <a:gd name="connsiteY190" fmla="*/ 1870647 h 1978172"/>
              <a:gd name="connsiteX191" fmla="*/ 25397 w 10768629"/>
              <a:gd name="connsiteY191" fmla="*/ 1888443 h 1978172"/>
              <a:gd name="connsiteX192" fmla="*/ 2370 w 10768629"/>
              <a:gd name="connsiteY192" fmla="*/ 1878311 h 1978172"/>
              <a:gd name="connsiteX193" fmla="*/ 0 w 10768629"/>
              <a:gd name="connsiteY193" fmla="*/ 1878785 h 1978172"/>
              <a:gd name="connsiteX194" fmla="*/ 0 w 10768629"/>
              <a:gd name="connsiteY194" fmla="*/ 0 h 1978172"/>
              <a:gd name="connsiteX0" fmla="*/ 0 w 10768629"/>
              <a:gd name="connsiteY0" fmla="*/ 0 h 1978172"/>
              <a:gd name="connsiteX1" fmla="*/ 10768629 w 10768629"/>
              <a:gd name="connsiteY1" fmla="*/ 0 h 1978172"/>
              <a:gd name="connsiteX2" fmla="*/ 10733254 w 10768629"/>
              <a:gd name="connsiteY2" fmla="*/ 31439 h 1978172"/>
              <a:gd name="connsiteX3" fmla="*/ 10727085 w 10768629"/>
              <a:gd name="connsiteY3" fmla="*/ 37910 h 1978172"/>
              <a:gd name="connsiteX4" fmla="*/ 10675953 w 10768629"/>
              <a:gd name="connsiteY4" fmla="*/ 68623 h 1978172"/>
              <a:gd name="connsiteX5" fmla="*/ 10637091 w 10768629"/>
              <a:gd name="connsiteY5" fmla="*/ 90361 h 1978172"/>
              <a:gd name="connsiteX6" fmla="*/ 10610971 w 10768629"/>
              <a:gd name="connsiteY6" fmla="*/ 110764 h 1978172"/>
              <a:gd name="connsiteX7" fmla="*/ 10532872 w 10768629"/>
              <a:gd name="connsiteY7" fmla="*/ 138028 h 1978172"/>
              <a:gd name="connsiteX8" fmla="*/ 10398558 w 10768629"/>
              <a:gd name="connsiteY8" fmla="*/ 172911 h 1978172"/>
              <a:gd name="connsiteX9" fmla="*/ 10371128 w 10768629"/>
              <a:gd name="connsiteY9" fmla="*/ 182609 h 1978172"/>
              <a:gd name="connsiteX10" fmla="*/ 10352178 w 10768629"/>
              <a:gd name="connsiteY10" fmla="*/ 199976 h 1978172"/>
              <a:gd name="connsiteX11" fmla="*/ 10351815 w 10768629"/>
              <a:gd name="connsiteY11" fmla="*/ 211879 h 1978172"/>
              <a:gd name="connsiteX12" fmla="*/ 10337471 w 10768629"/>
              <a:gd name="connsiteY12" fmla="*/ 218661 h 1978172"/>
              <a:gd name="connsiteX13" fmla="*/ 10334625 w 10768629"/>
              <a:gd name="connsiteY13" fmla="*/ 222351 h 1978172"/>
              <a:gd name="connsiteX14" fmla="*/ 10256365 w 10768629"/>
              <a:gd name="connsiteY14" fmla="*/ 235917 h 1978172"/>
              <a:gd name="connsiteX15" fmla="*/ 10201127 w 10768629"/>
              <a:gd name="connsiteY15" fmla="*/ 267448 h 1978172"/>
              <a:gd name="connsiteX16" fmla="*/ 9961218 w 10768629"/>
              <a:gd name="connsiteY16" fmla="*/ 326720 h 1978172"/>
              <a:gd name="connsiteX17" fmla="*/ 9859715 w 10768629"/>
              <a:gd name="connsiteY17" fmla="*/ 355698 h 1978172"/>
              <a:gd name="connsiteX18" fmla="*/ 9679867 w 10768629"/>
              <a:gd name="connsiteY18" fmla="*/ 399081 h 1978172"/>
              <a:gd name="connsiteX19" fmla="*/ 9490654 w 10768629"/>
              <a:gd name="connsiteY19" fmla="*/ 455225 h 1978172"/>
              <a:gd name="connsiteX20" fmla="*/ 9470837 w 10768629"/>
              <a:gd name="connsiteY20" fmla="*/ 452539 h 1978172"/>
              <a:gd name="connsiteX21" fmla="*/ 9469082 w 10768629"/>
              <a:gd name="connsiteY21" fmla="*/ 454891 h 1978172"/>
              <a:gd name="connsiteX22" fmla="*/ 9448038 w 10768629"/>
              <a:gd name="connsiteY22" fmla="*/ 459733 h 1978172"/>
              <a:gd name="connsiteX23" fmla="*/ 9396821 w 10768629"/>
              <a:gd name="connsiteY23" fmla="*/ 455795 h 1978172"/>
              <a:gd name="connsiteX24" fmla="*/ 9392197 w 10768629"/>
              <a:gd name="connsiteY24" fmla="*/ 459796 h 1978172"/>
              <a:gd name="connsiteX25" fmla="*/ 9347994 w 10768629"/>
              <a:gd name="connsiteY25" fmla="*/ 464462 h 1978172"/>
              <a:gd name="connsiteX26" fmla="*/ 9347889 w 10768629"/>
              <a:gd name="connsiteY26" fmla="*/ 466539 h 1978172"/>
              <a:gd name="connsiteX27" fmla="*/ 9337639 w 10768629"/>
              <a:gd name="connsiteY27" fmla="*/ 476654 h 1978172"/>
              <a:gd name="connsiteX28" fmla="*/ 9316893 w 10768629"/>
              <a:gd name="connsiteY28" fmla="*/ 491390 h 1978172"/>
              <a:gd name="connsiteX29" fmla="*/ 9229283 w 10768629"/>
              <a:gd name="connsiteY29" fmla="*/ 555377 h 1978172"/>
              <a:gd name="connsiteX30" fmla="*/ 9220274 w 10768629"/>
              <a:gd name="connsiteY30" fmla="*/ 557502 h 1978172"/>
              <a:gd name="connsiteX31" fmla="*/ 9220202 w 10768629"/>
              <a:gd name="connsiteY31" fmla="*/ 558001 h 1978172"/>
              <a:gd name="connsiteX32" fmla="*/ 9210908 w 10768629"/>
              <a:gd name="connsiteY32" fmla="*/ 561147 h 1978172"/>
              <a:gd name="connsiteX33" fmla="*/ 9186374 w 10768629"/>
              <a:gd name="connsiteY33" fmla="*/ 565502 h 1978172"/>
              <a:gd name="connsiteX34" fmla="*/ 9181058 w 10768629"/>
              <a:gd name="connsiteY34" fmla="*/ 569943 h 1978172"/>
              <a:gd name="connsiteX35" fmla="*/ 9179948 w 10768629"/>
              <a:gd name="connsiteY35" fmla="*/ 576062 h 1978172"/>
              <a:gd name="connsiteX36" fmla="*/ 9149110 w 10768629"/>
              <a:gd name="connsiteY36" fmla="*/ 598906 h 1978172"/>
              <a:gd name="connsiteX37" fmla="*/ 9078556 w 10768629"/>
              <a:gd name="connsiteY37" fmla="*/ 644039 h 1978172"/>
              <a:gd name="connsiteX38" fmla="*/ 8996399 w 10768629"/>
              <a:gd name="connsiteY38" fmla="*/ 690055 h 1978172"/>
              <a:gd name="connsiteX39" fmla="*/ 8803791 w 10768629"/>
              <a:gd name="connsiteY39" fmla="*/ 813860 h 1978172"/>
              <a:gd name="connsiteX40" fmla="*/ 8636202 w 10768629"/>
              <a:gd name="connsiteY40" fmla="*/ 848463 h 1978172"/>
              <a:gd name="connsiteX41" fmla="*/ 8555372 w 10768629"/>
              <a:gd name="connsiteY41" fmla="*/ 883171 h 1978172"/>
              <a:gd name="connsiteX42" fmla="*/ 8507229 w 10768629"/>
              <a:gd name="connsiteY42" fmla="*/ 901665 h 1978172"/>
              <a:gd name="connsiteX43" fmla="*/ 8428473 w 10768629"/>
              <a:gd name="connsiteY43" fmla="*/ 927985 h 1978172"/>
              <a:gd name="connsiteX44" fmla="*/ 8427914 w 10768629"/>
              <a:gd name="connsiteY44" fmla="*/ 933480 h 1978172"/>
              <a:gd name="connsiteX45" fmla="*/ 8420327 w 10768629"/>
              <a:gd name="connsiteY45" fmla="*/ 941984 h 1978172"/>
              <a:gd name="connsiteX46" fmla="*/ 8407128 w 10768629"/>
              <a:gd name="connsiteY46" fmla="*/ 961344 h 1978172"/>
              <a:gd name="connsiteX47" fmla="*/ 8380548 w 10768629"/>
              <a:gd name="connsiteY47" fmla="*/ 987916 h 1978172"/>
              <a:gd name="connsiteX48" fmla="*/ 8379462 w 10768629"/>
              <a:gd name="connsiteY48" fmla="*/ 987106 h 1978172"/>
              <a:gd name="connsiteX49" fmla="*/ 8369725 w 10768629"/>
              <a:gd name="connsiteY49" fmla="*/ 989186 h 1978172"/>
              <a:gd name="connsiteX50" fmla="*/ 8304438 w 10768629"/>
              <a:gd name="connsiteY50" fmla="*/ 996739 h 1978172"/>
              <a:gd name="connsiteX51" fmla="*/ 8280929 w 10768629"/>
              <a:gd name="connsiteY51" fmla="*/ 1023089 h 1978172"/>
              <a:gd name="connsiteX52" fmla="*/ 8275760 w 10768629"/>
              <a:gd name="connsiteY52" fmla="*/ 1027772 h 1978172"/>
              <a:gd name="connsiteX53" fmla="*/ 8275478 w 10768629"/>
              <a:gd name="connsiteY53" fmla="*/ 1027605 h 1978172"/>
              <a:gd name="connsiteX54" fmla="*/ 8269666 w 10768629"/>
              <a:gd name="connsiteY54" fmla="*/ 1032033 h 1978172"/>
              <a:gd name="connsiteX55" fmla="*/ 8203836 w 10768629"/>
              <a:gd name="connsiteY55" fmla="*/ 1037347 h 1978172"/>
              <a:gd name="connsiteX56" fmla="*/ 8122936 w 10768629"/>
              <a:gd name="connsiteY56" fmla="*/ 1063113 h 1978172"/>
              <a:gd name="connsiteX57" fmla="*/ 8043658 w 10768629"/>
              <a:gd name="connsiteY57" fmla="*/ 1092746 h 1978172"/>
              <a:gd name="connsiteX58" fmla="*/ 8015351 w 10768629"/>
              <a:gd name="connsiteY58" fmla="*/ 1105478 h 1978172"/>
              <a:gd name="connsiteX59" fmla="*/ 7963145 w 10768629"/>
              <a:gd name="connsiteY59" fmla="*/ 1119346 h 1978172"/>
              <a:gd name="connsiteX60" fmla="*/ 7938145 w 10768629"/>
              <a:gd name="connsiteY60" fmla="*/ 1120225 h 1978172"/>
              <a:gd name="connsiteX61" fmla="*/ 7937238 w 10768629"/>
              <a:gd name="connsiteY61" fmla="*/ 1121204 h 1978172"/>
              <a:gd name="connsiteX62" fmla="*/ 7934398 w 10768629"/>
              <a:gd name="connsiteY62" fmla="*/ 1118240 h 1978172"/>
              <a:gd name="connsiteX63" fmla="*/ 7918248 w 10768629"/>
              <a:gd name="connsiteY63" fmla="*/ 1124371 h 1978172"/>
              <a:gd name="connsiteX64" fmla="*/ 7914119 w 10768629"/>
              <a:gd name="connsiteY64" fmla="*/ 1127653 h 1978172"/>
              <a:gd name="connsiteX65" fmla="*/ 7907658 w 10768629"/>
              <a:gd name="connsiteY65" fmla="*/ 1130350 h 1978172"/>
              <a:gd name="connsiteX66" fmla="*/ 7907434 w 10768629"/>
              <a:gd name="connsiteY66" fmla="*/ 1130103 h 1978172"/>
              <a:gd name="connsiteX67" fmla="*/ 7901508 w 10768629"/>
              <a:gd name="connsiteY67" fmla="*/ 1133245 h 1978172"/>
              <a:gd name="connsiteX68" fmla="*/ 7873287 w 10768629"/>
              <a:gd name="connsiteY68" fmla="*/ 1152609 h 1978172"/>
              <a:gd name="connsiteX69" fmla="*/ 7834833 w 10768629"/>
              <a:gd name="connsiteY69" fmla="*/ 1153868 h 1978172"/>
              <a:gd name="connsiteX70" fmla="*/ 7828661 w 10768629"/>
              <a:gd name="connsiteY70" fmla="*/ 1139994 h 1978172"/>
              <a:gd name="connsiteX71" fmla="*/ 7823966 w 10768629"/>
              <a:gd name="connsiteY71" fmla="*/ 1143178 h 1978172"/>
              <a:gd name="connsiteX72" fmla="*/ 7815078 w 10768629"/>
              <a:gd name="connsiteY72" fmla="*/ 1151776 h 1978172"/>
              <a:gd name="connsiteX73" fmla="*/ 7812026 w 10768629"/>
              <a:gd name="connsiteY73" fmla="*/ 1151522 h 1978172"/>
              <a:gd name="connsiteX74" fmla="*/ 7782249 w 10768629"/>
              <a:gd name="connsiteY74" fmla="*/ 1160970 h 1978172"/>
              <a:gd name="connsiteX75" fmla="*/ 7773476 w 10768629"/>
              <a:gd name="connsiteY75" fmla="*/ 1157414 h 1978172"/>
              <a:gd name="connsiteX76" fmla="*/ 7769600 w 10768629"/>
              <a:gd name="connsiteY76" fmla="*/ 1157365 h 1978172"/>
              <a:gd name="connsiteX77" fmla="*/ 7752631 w 10768629"/>
              <a:gd name="connsiteY77" fmla="*/ 1172815 h 1978172"/>
              <a:gd name="connsiteX78" fmla="*/ 7743525 w 10768629"/>
              <a:gd name="connsiteY78" fmla="*/ 1179064 h 1978172"/>
              <a:gd name="connsiteX79" fmla="*/ 7685942 w 10768629"/>
              <a:gd name="connsiteY79" fmla="*/ 1233723 h 1978172"/>
              <a:gd name="connsiteX80" fmla="*/ 7586920 w 10768629"/>
              <a:gd name="connsiteY80" fmla="*/ 1261888 h 1978172"/>
              <a:gd name="connsiteX81" fmla="*/ 7486100 w 10768629"/>
              <a:gd name="connsiteY81" fmla="*/ 1292563 h 1978172"/>
              <a:gd name="connsiteX82" fmla="*/ 7407190 w 10768629"/>
              <a:gd name="connsiteY82" fmla="*/ 1314737 h 1978172"/>
              <a:gd name="connsiteX83" fmla="*/ 7240698 w 10768629"/>
              <a:gd name="connsiteY83" fmla="*/ 1438832 h 1978172"/>
              <a:gd name="connsiteX84" fmla="*/ 7197675 w 10768629"/>
              <a:gd name="connsiteY84" fmla="*/ 1447530 h 1978172"/>
              <a:gd name="connsiteX85" fmla="*/ 7164788 w 10768629"/>
              <a:gd name="connsiteY85" fmla="*/ 1480293 h 1978172"/>
              <a:gd name="connsiteX86" fmla="*/ 7147929 w 10768629"/>
              <a:gd name="connsiteY86" fmla="*/ 1477641 h 1978172"/>
              <a:gd name="connsiteX87" fmla="*/ 7144965 w 10768629"/>
              <a:gd name="connsiteY87" fmla="*/ 1476908 h 1978172"/>
              <a:gd name="connsiteX88" fmla="*/ 7134299 w 10768629"/>
              <a:gd name="connsiteY88" fmla="*/ 1479969 h 1978172"/>
              <a:gd name="connsiteX89" fmla="*/ 7129809 w 10768629"/>
              <a:gd name="connsiteY89" fmla="*/ 1473339 h 1978172"/>
              <a:gd name="connsiteX90" fmla="*/ 7112688 w 10768629"/>
              <a:gd name="connsiteY90" fmla="*/ 1472575 h 1978172"/>
              <a:gd name="connsiteX91" fmla="*/ 7093470 w 10768629"/>
              <a:gd name="connsiteY91" fmla="*/ 1480300 h 1978172"/>
              <a:gd name="connsiteX92" fmla="*/ 7025034 w 10768629"/>
              <a:gd name="connsiteY92" fmla="*/ 1506934 h 1978172"/>
              <a:gd name="connsiteX93" fmla="*/ 7014783 w 10768629"/>
              <a:gd name="connsiteY93" fmla="*/ 1515868 h 1978172"/>
              <a:gd name="connsiteX94" fmla="*/ 6979706 w 10768629"/>
              <a:gd name="connsiteY94" fmla="*/ 1523511 h 1978172"/>
              <a:gd name="connsiteX95" fmla="*/ 6977890 w 10768629"/>
              <a:gd name="connsiteY95" fmla="*/ 1525793 h 1978172"/>
              <a:gd name="connsiteX96" fmla="*/ 6944339 w 10768629"/>
              <a:gd name="connsiteY96" fmla="*/ 1536237 h 1978172"/>
              <a:gd name="connsiteX97" fmla="*/ 6886996 w 10768629"/>
              <a:gd name="connsiteY97" fmla="*/ 1563569 h 1978172"/>
              <a:gd name="connsiteX98" fmla="*/ 6874510 w 10768629"/>
              <a:gd name="connsiteY98" fmla="*/ 1558469 h 1978172"/>
              <a:gd name="connsiteX99" fmla="*/ 6871943 w 10768629"/>
              <a:gd name="connsiteY99" fmla="*/ 1554651 h 1978172"/>
              <a:gd name="connsiteX100" fmla="*/ 6856174 w 10768629"/>
              <a:gd name="connsiteY100" fmla="*/ 1562024 h 1978172"/>
              <a:gd name="connsiteX101" fmla="*/ 6842321 w 10768629"/>
              <a:gd name="connsiteY101" fmla="*/ 1560554 h 1978172"/>
              <a:gd name="connsiteX102" fmla="*/ 6832713 w 10768629"/>
              <a:gd name="connsiteY102" fmla="*/ 1569357 h 1978172"/>
              <a:gd name="connsiteX103" fmla="*/ 6816351 w 10768629"/>
              <a:gd name="connsiteY103" fmla="*/ 1571495 h 1978172"/>
              <a:gd name="connsiteX104" fmla="*/ 6795800 w 10768629"/>
              <a:gd name="connsiteY104" fmla="*/ 1572010 h 1978172"/>
              <a:gd name="connsiteX105" fmla="*/ 6777546 w 10768629"/>
              <a:gd name="connsiteY105" fmla="*/ 1568661 h 1978172"/>
              <a:gd name="connsiteX106" fmla="*/ 6751528 w 10768629"/>
              <a:gd name="connsiteY106" fmla="*/ 1574143 h 1978172"/>
              <a:gd name="connsiteX107" fmla="*/ 6691966 w 10768629"/>
              <a:gd name="connsiteY107" fmla="*/ 1582255 h 1978172"/>
              <a:gd name="connsiteX108" fmla="*/ 6646941 w 10768629"/>
              <a:gd name="connsiteY108" fmla="*/ 1588471 h 1978172"/>
              <a:gd name="connsiteX109" fmla="*/ 6568576 w 10768629"/>
              <a:gd name="connsiteY109" fmla="*/ 1606488 h 1978172"/>
              <a:gd name="connsiteX110" fmla="*/ 6554358 w 10768629"/>
              <a:gd name="connsiteY110" fmla="*/ 1621701 h 1978172"/>
              <a:gd name="connsiteX111" fmla="*/ 6516968 w 10768629"/>
              <a:gd name="connsiteY111" fmla="*/ 1617195 h 1978172"/>
              <a:gd name="connsiteX112" fmla="*/ 6506479 w 10768629"/>
              <a:gd name="connsiteY112" fmla="*/ 1602227 h 1978172"/>
              <a:gd name="connsiteX113" fmla="*/ 6458436 w 10768629"/>
              <a:gd name="connsiteY113" fmla="*/ 1607332 h 1978172"/>
              <a:gd name="connsiteX114" fmla="*/ 6414786 w 10768629"/>
              <a:gd name="connsiteY114" fmla="*/ 1628815 h 1978172"/>
              <a:gd name="connsiteX115" fmla="*/ 6357085 w 10768629"/>
              <a:gd name="connsiteY115" fmla="*/ 1640846 h 1978172"/>
              <a:gd name="connsiteX116" fmla="*/ 6322636 w 10768629"/>
              <a:gd name="connsiteY116" fmla="*/ 1648213 h 1978172"/>
              <a:gd name="connsiteX117" fmla="*/ 6226172 w 10768629"/>
              <a:gd name="connsiteY117" fmla="*/ 1654676 h 1978172"/>
              <a:gd name="connsiteX118" fmla="*/ 6221217 w 10768629"/>
              <a:gd name="connsiteY118" fmla="*/ 1654506 h 1978172"/>
              <a:gd name="connsiteX119" fmla="*/ 6204956 w 10768629"/>
              <a:gd name="connsiteY119" fmla="*/ 1664280 h 1978172"/>
              <a:gd name="connsiteX120" fmla="*/ 6204270 w 10768629"/>
              <a:gd name="connsiteY120" fmla="*/ 1666782 h 1978172"/>
              <a:gd name="connsiteX121" fmla="*/ 6143810 w 10768629"/>
              <a:gd name="connsiteY121" fmla="*/ 1661963 h 1978172"/>
              <a:gd name="connsiteX122" fmla="*/ 6136560 w 10768629"/>
              <a:gd name="connsiteY122" fmla="*/ 1665728 h 1978172"/>
              <a:gd name="connsiteX123" fmla="*/ 6096155 w 10768629"/>
              <a:gd name="connsiteY123" fmla="*/ 1656951 h 1978172"/>
              <a:gd name="connsiteX124" fmla="*/ 6075812 w 10768629"/>
              <a:gd name="connsiteY124" fmla="*/ 1655422 h 1978172"/>
              <a:gd name="connsiteX125" fmla="*/ 6039495 w 10768629"/>
              <a:gd name="connsiteY125" fmla="*/ 1649680 h 1978172"/>
              <a:gd name="connsiteX126" fmla="*/ 6036523 w 10768629"/>
              <a:gd name="connsiteY126" fmla="*/ 1652121 h 1978172"/>
              <a:gd name="connsiteX127" fmla="*/ 6029328 w 10768629"/>
              <a:gd name="connsiteY127" fmla="*/ 1649904 h 1978172"/>
              <a:gd name="connsiteX128" fmla="*/ 6024075 w 10768629"/>
              <a:gd name="connsiteY128" fmla="*/ 1652779 h 1978172"/>
              <a:gd name="connsiteX129" fmla="*/ 6018085 w 10768629"/>
              <a:gd name="connsiteY129" fmla="*/ 1652030 h 1978172"/>
              <a:gd name="connsiteX130" fmla="*/ 5955513 w 10768629"/>
              <a:gd name="connsiteY130" fmla="*/ 1663584 h 1978172"/>
              <a:gd name="connsiteX131" fmla="*/ 5941996 w 10768629"/>
              <a:gd name="connsiteY131" fmla="*/ 1661326 h 1978172"/>
              <a:gd name="connsiteX132" fmla="*/ 5931789 w 10768629"/>
              <a:gd name="connsiteY132" fmla="*/ 1669915 h 1978172"/>
              <a:gd name="connsiteX133" fmla="*/ 5888686 w 10768629"/>
              <a:gd name="connsiteY133" fmla="*/ 1672175 h 1978172"/>
              <a:gd name="connsiteX134" fmla="*/ 5873794 w 10768629"/>
              <a:gd name="connsiteY134" fmla="*/ 1665454 h 1978172"/>
              <a:gd name="connsiteX135" fmla="*/ 5860022 w 10768629"/>
              <a:gd name="connsiteY135" fmla="*/ 1660635 h 1978172"/>
              <a:gd name="connsiteX136" fmla="*/ 5858237 w 10768629"/>
              <a:gd name="connsiteY136" fmla="*/ 1660649 h 1978172"/>
              <a:gd name="connsiteX137" fmla="*/ 5840319 w 10768629"/>
              <a:gd name="connsiteY137" fmla="*/ 1660798 h 1978172"/>
              <a:gd name="connsiteX138" fmla="*/ 5806984 w 10768629"/>
              <a:gd name="connsiteY138" fmla="*/ 1661075 h 1978172"/>
              <a:gd name="connsiteX139" fmla="*/ 5742351 w 10768629"/>
              <a:gd name="connsiteY139" fmla="*/ 1667489 h 1978172"/>
              <a:gd name="connsiteX140" fmla="*/ 5521171 w 10768629"/>
              <a:gd name="connsiteY140" fmla="*/ 1671626 h 1978172"/>
              <a:gd name="connsiteX141" fmla="*/ 5457384 w 10768629"/>
              <a:gd name="connsiteY141" fmla="*/ 1683952 h 1978172"/>
              <a:gd name="connsiteX142" fmla="*/ 4950070 w 10768629"/>
              <a:gd name="connsiteY142" fmla="*/ 1748401 h 1978172"/>
              <a:gd name="connsiteX143" fmla="*/ 4872172 w 10768629"/>
              <a:gd name="connsiteY143" fmla="*/ 1757222 h 1978172"/>
              <a:gd name="connsiteX144" fmla="*/ 4809524 w 10768629"/>
              <a:gd name="connsiteY144" fmla="*/ 1761033 h 1978172"/>
              <a:gd name="connsiteX145" fmla="*/ 4759058 w 10768629"/>
              <a:gd name="connsiteY145" fmla="*/ 1766533 h 1978172"/>
              <a:gd name="connsiteX146" fmla="*/ 4719749 w 10768629"/>
              <a:gd name="connsiteY146" fmla="*/ 1771811 h 1978172"/>
              <a:gd name="connsiteX147" fmla="*/ 4568686 w 10768629"/>
              <a:gd name="connsiteY147" fmla="*/ 1786141 h 1978172"/>
              <a:gd name="connsiteX148" fmla="*/ 4418751 w 10768629"/>
              <a:gd name="connsiteY148" fmla="*/ 1796932 h 1978172"/>
              <a:gd name="connsiteX149" fmla="*/ 4378377 w 10768629"/>
              <a:gd name="connsiteY149" fmla="*/ 1815528 h 1978172"/>
              <a:gd name="connsiteX150" fmla="*/ 4320575 w 10768629"/>
              <a:gd name="connsiteY150" fmla="*/ 1832722 h 1978172"/>
              <a:gd name="connsiteX151" fmla="*/ 4220200 w 10768629"/>
              <a:gd name="connsiteY151" fmla="*/ 1873173 h 1978172"/>
              <a:gd name="connsiteX152" fmla="*/ 4105361 w 10768629"/>
              <a:gd name="connsiteY152" fmla="*/ 1894711 h 1978172"/>
              <a:gd name="connsiteX153" fmla="*/ 3973223 w 10768629"/>
              <a:gd name="connsiteY153" fmla="*/ 1881015 h 1978172"/>
              <a:gd name="connsiteX154" fmla="*/ 3900992 w 10768629"/>
              <a:gd name="connsiteY154" fmla="*/ 1880603 h 1978172"/>
              <a:gd name="connsiteX155" fmla="*/ 3662119 w 10768629"/>
              <a:gd name="connsiteY155" fmla="*/ 1889285 h 1978172"/>
              <a:gd name="connsiteX156" fmla="*/ 3496919 w 10768629"/>
              <a:gd name="connsiteY156" fmla="*/ 1873180 h 1978172"/>
              <a:gd name="connsiteX157" fmla="*/ 3449433 w 10768629"/>
              <a:gd name="connsiteY157" fmla="*/ 1889681 h 1978172"/>
              <a:gd name="connsiteX158" fmla="*/ 3369766 w 10768629"/>
              <a:gd name="connsiteY158" fmla="*/ 1916653 h 1978172"/>
              <a:gd name="connsiteX159" fmla="*/ 3269672 w 10768629"/>
              <a:gd name="connsiteY159" fmla="*/ 1938036 h 1978172"/>
              <a:gd name="connsiteX160" fmla="*/ 3224897 w 10768629"/>
              <a:gd name="connsiteY160" fmla="*/ 1943733 h 1978172"/>
              <a:gd name="connsiteX161" fmla="*/ 3161463 w 10768629"/>
              <a:gd name="connsiteY161" fmla="*/ 1946591 h 1978172"/>
              <a:gd name="connsiteX162" fmla="*/ 3112044 w 10768629"/>
              <a:gd name="connsiteY162" fmla="*/ 1935614 h 1978172"/>
              <a:gd name="connsiteX163" fmla="*/ 3069716 w 10768629"/>
              <a:gd name="connsiteY163" fmla="*/ 1930463 h 1978172"/>
              <a:gd name="connsiteX164" fmla="*/ 3005773 w 10768629"/>
              <a:gd name="connsiteY164" fmla="*/ 1915878 h 1978172"/>
              <a:gd name="connsiteX165" fmla="*/ 2897201 w 10768629"/>
              <a:gd name="connsiteY165" fmla="*/ 1926772 h 1978172"/>
              <a:gd name="connsiteX166" fmla="*/ 2783891 w 10768629"/>
              <a:gd name="connsiteY166" fmla="*/ 1931749 h 1978172"/>
              <a:gd name="connsiteX167" fmla="*/ 2712447 w 10768629"/>
              <a:gd name="connsiteY167" fmla="*/ 1933044 h 1978172"/>
              <a:gd name="connsiteX168" fmla="*/ 2560151 w 10768629"/>
              <a:gd name="connsiteY168" fmla="*/ 1963609 h 1978172"/>
              <a:gd name="connsiteX169" fmla="*/ 2367221 w 10768629"/>
              <a:gd name="connsiteY169" fmla="*/ 1971884 h 1978172"/>
              <a:gd name="connsiteX170" fmla="*/ 2272130 w 10768629"/>
              <a:gd name="connsiteY170" fmla="*/ 1961162 h 1978172"/>
              <a:gd name="connsiteX171" fmla="*/ 2189404 w 10768629"/>
              <a:gd name="connsiteY171" fmla="*/ 1978172 h 1978172"/>
              <a:gd name="connsiteX172" fmla="*/ 2077704 w 10768629"/>
              <a:gd name="connsiteY172" fmla="*/ 1965002 h 1978172"/>
              <a:gd name="connsiteX173" fmla="*/ 2033299 w 10768629"/>
              <a:gd name="connsiteY173" fmla="*/ 1969042 h 1978172"/>
              <a:gd name="connsiteX174" fmla="*/ 1967996 w 10768629"/>
              <a:gd name="connsiteY174" fmla="*/ 1953187 h 1978172"/>
              <a:gd name="connsiteX175" fmla="*/ 1855805 w 10768629"/>
              <a:gd name="connsiteY175" fmla="*/ 1926082 h 1978172"/>
              <a:gd name="connsiteX176" fmla="*/ 1790957 w 10768629"/>
              <a:gd name="connsiteY176" fmla="*/ 1919460 h 1978172"/>
              <a:gd name="connsiteX177" fmla="*/ 1613978 w 10768629"/>
              <a:gd name="connsiteY177" fmla="*/ 1891581 h 1978172"/>
              <a:gd name="connsiteX178" fmla="*/ 1436831 w 10768629"/>
              <a:gd name="connsiteY178" fmla="*/ 1856201 h 1978172"/>
              <a:gd name="connsiteX179" fmla="*/ 1357365 w 10768629"/>
              <a:gd name="connsiteY179" fmla="*/ 1832140 h 1978172"/>
              <a:gd name="connsiteX180" fmla="*/ 1232341 w 10768629"/>
              <a:gd name="connsiteY180" fmla="*/ 1785942 h 1978172"/>
              <a:gd name="connsiteX181" fmla="*/ 1162595 w 10768629"/>
              <a:gd name="connsiteY181" fmla="*/ 1758337 h 1978172"/>
              <a:gd name="connsiteX182" fmla="*/ 1128523 w 10768629"/>
              <a:gd name="connsiteY182" fmla="*/ 1763621 h 1978172"/>
              <a:gd name="connsiteX183" fmla="*/ 991903 w 10768629"/>
              <a:gd name="connsiteY183" fmla="*/ 1786741 h 1978172"/>
              <a:gd name="connsiteX184" fmla="*/ 883960 w 10768629"/>
              <a:gd name="connsiteY184" fmla="*/ 1822386 h 1978172"/>
              <a:gd name="connsiteX185" fmla="*/ 766531 w 10768629"/>
              <a:gd name="connsiteY185" fmla="*/ 1805053 h 1978172"/>
              <a:gd name="connsiteX186" fmla="*/ 669779 w 10768629"/>
              <a:gd name="connsiteY186" fmla="*/ 1800537 h 1978172"/>
              <a:gd name="connsiteX187" fmla="*/ 523898 w 10768629"/>
              <a:gd name="connsiteY187" fmla="*/ 1811085 h 1978172"/>
              <a:gd name="connsiteX188" fmla="*/ 360251 w 10768629"/>
              <a:gd name="connsiteY188" fmla="*/ 1830735 h 1978172"/>
              <a:gd name="connsiteX189" fmla="*/ 255207 w 10768629"/>
              <a:gd name="connsiteY189" fmla="*/ 1818275 h 1978172"/>
              <a:gd name="connsiteX190" fmla="*/ 101803 w 10768629"/>
              <a:gd name="connsiteY190" fmla="*/ 1870647 h 1978172"/>
              <a:gd name="connsiteX191" fmla="*/ 25397 w 10768629"/>
              <a:gd name="connsiteY191" fmla="*/ 1888443 h 1978172"/>
              <a:gd name="connsiteX192" fmla="*/ 2370 w 10768629"/>
              <a:gd name="connsiteY192" fmla="*/ 1878311 h 1978172"/>
              <a:gd name="connsiteX193" fmla="*/ 0 w 10768629"/>
              <a:gd name="connsiteY193" fmla="*/ 1878785 h 1978172"/>
              <a:gd name="connsiteX194" fmla="*/ 0 w 10768629"/>
              <a:gd name="connsiteY194" fmla="*/ 0 h 1978172"/>
              <a:gd name="connsiteX0" fmla="*/ 0 w 10768629"/>
              <a:gd name="connsiteY0" fmla="*/ 0 h 1978172"/>
              <a:gd name="connsiteX1" fmla="*/ 10768629 w 10768629"/>
              <a:gd name="connsiteY1" fmla="*/ 0 h 1978172"/>
              <a:gd name="connsiteX2" fmla="*/ 10733254 w 10768629"/>
              <a:gd name="connsiteY2" fmla="*/ 31439 h 1978172"/>
              <a:gd name="connsiteX3" fmla="*/ 10727085 w 10768629"/>
              <a:gd name="connsiteY3" fmla="*/ 37910 h 1978172"/>
              <a:gd name="connsiteX4" fmla="*/ 10675953 w 10768629"/>
              <a:gd name="connsiteY4" fmla="*/ 68623 h 1978172"/>
              <a:gd name="connsiteX5" fmla="*/ 10637091 w 10768629"/>
              <a:gd name="connsiteY5" fmla="*/ 90361 h 1978172"/>
              <a:gd name="connsiteX6" fmla="*/ 10610971 w 10768629"/>
              <a:gd name="connsiteY6" fmla="*/ 110764 h 1978172"/>
              <a:gd name="connsiteX7" fmla="*/ 10532872 w 10768629"/>
              <a:gd name="connsiteY7" fmla="*/ 138028 h 1978172"/>
              <a:gd name="connsiteX8" fmla="*/ 10398558 w 10768629"/>
              <a:gd name="connsiteY8" fmla="*/ 172911 h 1978172"/>
              <a:gd name="connsiteX9" fmla="*/ 10371128 w 10768629"/>
              <a:gd name="connsiteY9" fmla="*/ 182609 h 1978172"/>
              <a:gd name="connsiteX10" fmla="*/ 10352178 w 10768629"/>
              <a:gd name="connsiteY10" fmla="*/ 199976 h 1978172"/>
              <a:gd name="connsiteX11" fmla="*/ 10351815 w 10768629"/>
              <a:gd name="connsiteY11" fmla="*/ 211879 h 1978172"/>
              <a:gd name="connsiteX12" fmla="*/ 10337471 w 10768629"/>
              <a:gd name="connsiteY12" fmla="*/ 218661 h 1978172"/>
              <a:gd name="connsiteX13" fmla="*/ 10334625 w 10768629"/>
              <a:gd name="connsiteY13" fmla="*/ 222351 h 1978172"/>
              <a:gd name="connsiteX14" fmla="*/ 10256365 w 10768629"/>
              <a:gd name="connsiteY14" fmla="*/ 235917 h 1978172"/>
              <a:gd name="connsiteX15" fmla="*/ 10201127 w 10768629"/>
              <a:gd name="connsiteY15" fmla="*/ 267448 h 1978172"/>
              <a:gd name="connsiteX16" fmla="*/ 9961218 w 10768629"/>
              <a:gd name="connsiteY16" fmla="*/ 326720 h 1978172"/>
              <a:gd name="connsiteX17" fmla="*/ 9859715 w 10768629"/>
              <a:gd name="connsiteY17" fmla="*/ 355698 h 1978172"/>
              <a:gd name="connsiteX18" fmla="*/ 9679867 w 10768629"/>
              <a:gd name="connsiteY18" fmla="*/ 399081 h 1978172"/>
              <a:gd name="connsiteX19" fmla="*/ 9490654 w 10768629"/>
              <a:gd name="connsiteY19" fmla="*/ 455225 h 1978172"/>
              <a:gd name="connsiteX20" fmla="*/ 9470837 w 10768629"/>
              <a:gd name="connsiteY20" fmla="*/ 452539 h 1978172"/>
              <a:gd name="connsiteX21" fmla="*/ 9469082 w 10768629"/>
              <a:gd name="connsiteY21" fmla="*/ 454891 h 1978172"/>
              <a:gd name="connsiteX22" fmla="*/ 9448038 w 10768629"/>
              <a:gd name="connsiteY22" fmla="*/ 459733 h 1978172"/>
              <a:gd name="connsiteX23" fmla="*/ 9396821 w 10768629"/>
              <a:gd name="connsiteY23" fmla="*/ 455795 h 1978172"/>
              <a:gd name="connsiteX24" fmla="*/ 9392197 w 10768629"/>
              <a:gd name="connsiteY24" fmla="*/ 459796 h 1978172"/>
              <a:gd name="connsiteX25" fmla="*/ 9347994 w 10768629"/>
              <a:gd name="connsiteY25" fmla="*/ 464462 h 1978172"/>
              <a:gd name="connsiteX26" fmla="*/ 9347889 w 10768629"/>
              <a:gd name="connsiteY26" fmla="*/ 466539 h 1978172"/>
              <a:gd name="connsiteX27" fmla="*/ 9337639 w 10768629"/>
              <a:gd name="connsiteY27" fmla="*/ 476654 h 1978172"/>
              <a:gd name="connsiteX28" fmla="*/ 9316893 w 10768629"/>
              <a:gd name="connsiteY28" fmla="*/ 491390 h 1978172"/>
              <a:gd name="connsiteX29" fmla="*/ 9229283 w 10768629"/>
              <a:gd name="connsiteY29" fmla="*/ 555377 h 1978172"/>
              <a:gd name="connsiteX30" fmla="*/ 9220274 w 10768629"/>
              <a:gd name="connsiteY30" fmla="*/ 557502 h 1978172"/>
              <a:gd name="connsiteX31" fmla="*/ 9220202 w 10768629"/>
              <a:gd name="connsiteY31" fmla="*/ 558001 h 1978172"/>
              <a:gd name="connsiteX32" fmla="*/ 9210908 w 10768629"/>
              <a:gd name="connsiteY32" fmla="*/ 561147 h 1978172"/>
              <a:gd name="connsiteX33" fmla="*/ 9186374 w 10768629"/>
              <a:gd name="connsiteY33" fmla="*/ 565502 h 1978172"/>
              <a:gd name="connsiteX34" fmla="*/ 9181058 w 10768629"/>
              <a:gd name="connsiteY34" fmla="*/ 569943 h 1978172"/>
              <a:gd name="connsiteX35" fmla="*/ 9179948 w 10768629"/>
              <a:gd name="connsiteY35" fmla="*/ 576062 h 1978172"/>
              <a:gd name="connsiteX36" fmla="*/ 9149110 w 10768629"/>
              <a:gd name="connsiteY36" fmla="*/ 598906 h 1978172"/>
              <a:gd name="connsiteX37" fmla="*/ 9078556 w 10768629"/>
              <a:gd name="connsiteY37" fmla="*/ 644039 h 1978172"/>
              <a:gd name="connsiteX38" fmla="*/ 8996399 w 10768629"/>
              <a:gd name="connsiteY38" fmla="*/ 690055 h 1978172"/>
              <a:gd name="connsiteX39" fmla="*/ 8803791 w 10768629"/>
              <a:gd name="connsiteY39" fmla="*/ 813860 h 1978172"/>
              <a:gd name="connsiteX40" fmla="*/ 8636202 w 10768629"/>
              <a:gd name="connsiteY40" fmla="*/ 848463 h 1978172"/>
              <a:gd name="connsiteX41" fmla="*/ 8555372 w 10768629"/>
              <a:gd name="connsiteY41" fmla="*/ 883171 h 1978172"/>
              <a:gd name="connsiteX42" fmla="*/ 8507229 w 10768629"/>
              <a:gd name="connsiteY42" fmla="*/ 901665 h 1978172"/>
              <a:gd name="connsiteX43" fmla="*/ 8428473 w 10768629"/>
              <a:gd name="connsiteY43" fmla="*/ 927985 h 1978172"/>
              <a:gd name="connsiteX44" fmla="*/ 8427914 w 10768629"/>
              <a:gd name="connsiteY44" fmla="*/ 933480 h 1978172"/>
              <a:gd name="connsiteX45" fmla="*/ 8420327 w 10768629"/>
              <a:gd name="connsiteY45" fmla="*/ 941984 h 1978172"/>
              <a:gd name="connsiteX46" fmla="*/ 8407128 w 10768629"/>
              <a:gd name="connsiteY46" fmla="*/ 961344 h 1978172"/>
              <a:gd name="connsiteX47" fmla="*/ 8380548 w 10768629"/>
              <a:gd name="connsiteY47" fmla="*/ 987916 h 1978172"/>
              <a:gd name="connsiteX48" fmla="*/ 8379462 w 10768629"/>
              <a:gd name="connsiteY48" fmla="*/ 987106 h 1978172"/>
              <a:gd name="connsiteX49" fmla="*/ 8369725 w 10768629"/>
              <a:gd name="connsiteY49" fmla="*/ 989186 h 1978172"/>
              <a:gd name="connsiteX50" fmla="*/ 8304438 w 10768629"/>
              <a:gd name="connsiteY50" fmla="*/ 996739 h 1978172"/>
              <a:gd name="connsiteX51" fmla="*/ 8280929 w 10768629"/>
              <a:gd name="connsiteY51" fmla="*/ 1023089 h 1978172"/>
              <a:gd name="connsiteX52" fmla="*/ 8275760 w 10768629"/>
              <a:gd name="connsiteY52" fmla="*/ 1027772 h 1978172"/>
              <a:gd name="connsiteX53" fmla="*/ 8275478 w 10768629"/>
              <a:gd name="connsiteY53" fmla="*/ 1027605 h 1978172"/>
              <a:gd name="connsiteX54" fmla="*/ 8269666 w 10768629"/>
              <a:gd name="connsiteY54" fmla="*/ 1032033 h 1978172"/>
              <a:gd name="connsiteX55" fmla="*/ 8203836 w 10768629"/>
              <a:gd name="connsiteY55" fmla="*/ 1037347 h 1978172"/>
              <a:gd name="connsiteX56" fmla="*/ 8122936 w 10768629"/>
              <a:gd name="connsiteY56" fmla="*/ 1063113 h 1978172"/>
              <a:gd name="connsiteX57" fmla="*/ 8043658 w 10768629"/>
              <a:gd name="connsiteY57" fmla="*/ 1092746 h 1978172"/>
              <a:gd name="connsiteX58" fmla="*/ 8015351 w 10768629"/>
              <a:gd name="connsiteY58" fmla="*/ 1105478 h 1978172"/>
              <a:gd name="connsiteX59" fmla="*/ 7963145 w 10768629"/>
              <a:gd name="connsiteY59" fmla="*/ 1119346 h 1978172"/>
              <a:gd name="connsiteX60" fmla="*/ 7938145 w 10768629"/>
              <a:gd name="connsiteY60" fmla="*/ 1120225 h 1978172"/>
              <a:gd name="connsiteX61" fmla="*/ 7937238 w 10768629"/>
              <a:gd name="connsiteY61" fmla="*/ 1121204 h 1978172"/>
              <a:gd name="connsiteX62" fmla="*/ 7934398 w 10768629"/>
              <a:gd name="connsiteY62" fmla="*/ 1118240 h 1978172"/>
              <a:gd name="connsiteX63" fmla="*/ 7918248 w 10768629"/>
              <a:gd name="connsiteY63" fmla="*/ 1124371 h 1978172"/>
              <a:gd name="connsiteX64" fmla="*/ 7914119 w 10768629"/>
              <a:gd name="connsiteY64" fmla="*/ 1127653 h 1978172"/>
              <a:gd name="connsiteX65" fmla="*/ 7907658 w 10768629"/>
              <a:gd name="connsiteY65" fmla="*/ 1130350 h 1978172"/>
              <a:gd name="connsiteX66" fmla="*/ 7907434 w 10768629"/>
              <a:gd name="connsiteY66" fmla="*/ 1130103 h 1978172"/>
              <a:gd name="connsiteX67" fmla="*/ 7901508 w 10768629"/>
              <a:gd name="connsiteY67" fmla="*/ 1133245 h 1978172"/>
              <a:gd name="connsiteX68" fmla="*/ 7873287 w 10768629"/>
              <a:gd name="connsiteY68" fmla="*/ 1152609 h 1978172"/>
              <a:gd name="connsiteX69" fmla="*/ 7834833 w 10768629"/>
              <a:gd name="connsiteY69" fmla="*/ 1153868 h 1978172"/>
              <a:gd name="connsiteX70" fmla="*/ 7828661 w 10768629"/>
              <a:gd name="connsiteY70" fmla="*/ 1139994 h 1978172"/>
              <a:gd name="connsiteX71" fmla="*/ 7823966 w 10768629"/>
              <a:gd name="connsiteY71" fmla="*/ 1143178 h 1978172"/>
              <a:gd name="connsiteX72" fmla="*/ 7815078 w 10768629"/>
              <a:gd name="connsiteY72" fmla="*/ 1151776 h 1978172"/>
              <a:gd name="connsiteX73" fmla="*/ 7812026 w 10768629"/>
              <a:gd name="connsiteY73" fmla="*/ 1151522 h 1978172"/>
              <a:gd name="connsiteX74" fmla="*/ 7782249 w 10768629"/>
              <a:gd name="connsiteY74" fmla="*/ 1160970 h 1978172"/>
              <a:gd name="connsiteX75" fmla="*/ 7773476 w 10768629"/>
              <a:gd name="connsiteY75" fmla="*/ 1157414 h 1978172"/>
              <a:gd name="connsiteX76" fmla="*/ 7769600 w 10768629"/>
              <a:gd name="connsiteY76" fmla="*/ 1157365 h 1978172"/>
              <a:gd name="connsiteX77" fmla="*/ 7752631 w 10768629"/>
              <a:gd name="connsiteY77" fmla="*/ 1172815 h 1978172"/>
              <a:gd name="connsiteX78" fmla="*/ 7743525 w 10768629"/>
              <a:gd name="connsiteY78" fmla="*/ 1179064 h 1978172"/>
              <a:gd name="connsiteX79" fmla="*/ 7685942 w 10768629"/>
              <a:gd name="connsiteY79" fmla="*/ 1233723 h 1978172"/>
              <a:gd name="connsiteX80" fmla="*/ 7586920 w 10768629"/>
              <a:gd name="connsiteY80" fmla="*/ 1261888 h 1978172"/>
              <a:gd name="connsiteX81" fmla="*/ 7486100 w 10768629"/>
              <a:gd name="connsiteY81" fmla="*/ 1292563 h 1978172"/>
              <a:gd name="connsiteX82" fmla="*/ 7407190 w 10768629"/>
              <a:gd name="connsiteY82" fmla="*/ 1314737 h 1978172"/>
              <a:gd name="connsiteX83" fmla="*/ 7240698 w 10768629"/>
              <a:gd name="connsiteY83" fmla="*/ 1438832 h 1978172"/>
              <a:gd name="connsiteX84" fmla="*/ 7197675 w 10768629"/>
              <a:gd name="connsiteY84" fmla="*/ 1447530 h 1978172"/>
              <a:gd name="connsiteX85" fmla="*/ 7164788 w 10768629"/>
              <a:gd name="connsiteY85" fmla="*/ 1480293 h 1978172"/>
              <a:gd name="connsiteX86" fmla="*/ 7147929 w 10768629"/>
              <a:gd name="connsiteY86" fmla="*/ 1477641 h 1978172"/>
              <a:gd name="connsiteX87" fmla="*/ 7144965 w 10768629"/>
              <a:gd name="connsiteY87" fmla="*/ 1476908 h 1978172"/>
              <a:gd name="connsiteX88" fmla="*/ 7134299 w 10768629"/>
              <a:gd name="connsiteY88" fmla="*/ 1479969 h 1978172"/>
              <a:gd name="connsiteX89" fmla="*/ 7129809 w 10768629"/>
              <a:gd name="connsiteY89" fmla="*/ 1473339 h 1978172"/>
              <a:gd name="connsiteX90" fmla="*/ 7112688 w 10768629"/>
              <a:gd name="connsiteY90" fmla="*/ 1472575 h 1978172"/>
              <a:gd name="connsiteX91" fmla="*/ 7093470 w 10768629"/>
              <a:gd name="connsiteY91" fmla="*/ 1480300 h 1978172"/>
              <a:gd name="connsiteX92" fmla="*/ 7025034 w 10768629"/>
              <a:gd name="connsiteY92" fmla="*/ 1506934 h 1978172"/>
              <a:gd name="connsiteX93" fmla="*/ 7014783 w 10768629"/>
              <a:gd name="connsiteY93" fmla="*/ 1515868 h 1978172"/>
              <a:gd name="connsiteX94" fmla="*/ 6979706 w 10768629"/>
              <a:gd name="connsiteY94" fmla="*/ 1523511 h 1978172"/>
              <a:gd name="connsiteX95" fmla="*/ 6977890 w 10768629"/>
              <a:gd name="connsiteY95" fmla="*/ 1525793 h 1978172"/>
              <a:gd name="connsiteX96" fmla="*/ 6944339 w 10768629"/>
              <a:gd name="connsiteY96" fmla="*/ 1536237 h 1978172"/>
              <a:gd name="connsiteX97" fmla="*/ 6886996 w 10768629"/>
              <a:gd name="connsiteY97" fmla="*/ 1563569 h 1978172"/>
              <a:gd name="connsiteX98" fmla="*/ 6874510 w 10768629"/>
              <a:gd name="connsiteY98" fmla="*/ 1558469 h 1978172"/>
              <a:gd name="connsiteX99" fmla="*/ 6871943 w 10768629"/>
              <a:gd name="connsiteY99" fmla="*/ 1554651 h 1978172"/>
              <a:gd name="connsiteX100" fmla="*/ 6856174 w 10768629"/>
              <a:gd name="connsiteY100" fmla="*/ 1562024 h 1978172"/>
              <a:gd name="connsiteX101" fmla="*/ 6842321 w 10768629"/>
              <a:gd name="connsiteY101" fmla="*/ 1560554 h 1978172"/>
              <a:gd name="connsiteX102" fmla="*/ 6832713 w 10768629"/>
              <a:gd name="connsiteY102" fmla="*/ 1569357 h 1978172"/>
              <a:gd name="connsiteX103" fmla="*/ 6816351 w 10768629"/>
              <a:gd name="connsiteY103" fmla="*/ 1571495 h 1978172"/>
              <a:gd name="connsiteX104" fmla="*/ 6795800 w 10768629"/>
              <a:gd name="connsiteY104" fmla="*/ 1572010 h 1978172"/>
              <a:gd name="connsiteX105" fmla="*/ 6777546 w 10768629"/>
              <a:gd name="connsiteY105" fmla="*/ 1568661 h 1978172"/>
              <a:gd name="connsiteX106" fmla="*/ 6751528 w 10768629"/>
              <a:gd name="connsiteY106" fmla="*/ 1574143 h 1978172"/>
              <a:gd name="connsiteX107" fmla="*/ 6691966 w 10768629"/>
              <a:gd name="connsiteY107" fmla="*/ 1582255 h 1978172"/>
              <a:gd name="connsiteX108" fmla="*/ 6646941 w 10768629"/>
              <a:gd name="connsiteY108" fmla="*/ 1588471 h 1978172"/>
              <a:gd name="connsiteX109" fmla="*/ 6568576 w 10768629"/>
              <a:gd name="connsiteY109" fmla="*/ 1606488 h 1978172"/>
              <a:gd name="connsiteX110" fmla="*/ 6554358 w 10768629"/>
              <a:gd name="connsiteY110" fmla="*/ 1621701 h 1978172"/>
              <a:gd name="connsiteX111" fmla="*/ 6516968 w 10768629"/>
              <a:gd name="connsiteY111" fmla="*/ 1617195 h 1978172"/>
              <a:gd name="connsiteX112" fmla="*/ 6506479 w 10768629"/>
              <a:gd name="connsiteY112" fmla="*/ 1602227 h 1978172"/>
              <a:gd name="connsiteX113" fmla="*/ 6458436 w 10768629"/>
              <a:gd name="connsiteY113" fmla="*/ 1607332 h 1978172"/>
              <a:gd name="connsiteX114" fmla="*/ 6414786 w 10768629"/>
              <a:gd name="connsiteY114" fmla="*/ 1628815 h 1978172"/>
              <a:gd name="connsiteX115" fmla="*/ 6357085 w 10768629"/>
              <a:gd name="connsiteY115" fmla="*/ 1640846 h 1978172"/>
              <a:gd name="connsiteX116" fmla="*/ 6322636 w 10768629"/>
              <a:gd name="connsiteY116" fmla="*/ 1648213 h 1978172"/>
              <a:gd name="connsiteX117" fmla="*/ 6226172 w 10768629"/>
              <a:gd name="connsiteY117" fmla="*/ 1654676 h 1978172"/>
              <a:gd name="connsiteX118" fmla="*/ 6221217 w 10768629"/>
              <a:gd name="connsiteY118" fmla="*/ 1654506 h 1978172"/>
              <a:gd name="connsiteX119" fmla="*/ 6204956 w 10768629"/>
              <a:gd name="connsiteY119" fmla="*/ 1664280 h 1978172"/>
              <a:gd name="connsiteX120" fmla="*/ 6204270 w 10768629"/>
              <a:gd name="connsiteY120" fmla="*/ 1666782 h 1978172"/>
              <a:gd name="connsiteX121" fmla="*/ 6143810 w 10768629"/>
              <a:gd name="connsiteY121" fmla="*/ 1661963 h 1978172"/>
              <a:gd name="connsiteX122" fmla="*/ 6136560 w 10768629"/>
              <a:gd name="connsiteY122" fmla="*/ 1665728 h 1978172"/>
              <a:gd name="connsiteX123" fmla="*/ 6096155 w 10768629"/>
              <a:gd name="connsiteY123" fmla="*/ 1656951 h 1978172"/>
              <a:gd name="connsiteX124" fmla="*/ 6075812 w 10768629"/>
              <a:gd name="connsiteY124" fmla="*/ 1655422 h 1978172"/>
              <a:gd name="connsiteX125" fmla="*/ 6039495 w 10768629"/>
              <a:gd name="connsiteY125" fmla="*/ 1649680 h 1978172"/>
              <a:gd name="connsiteX126" fmla="*/ 6036523 w 10768629"/>
              <a:gd name="connsiteY126" fmla="*/ 1652121 h 1978172"/>
              <a:gd name="connsiteX127" fmla="*/ 6029328 w 10768629"/>
              <a:gd name="connsiteY127" fmla="*/ 1649904 h 1978172"/>
              <a:gd name="connsiteX128" fmla="*/ 6024075 w 10768629"/>
              <a:gd name="connsiteY128" fmla="*/ 1652779 h 1978172"/>
              <a:gd name="connsiteX129" fmla="*/ 6018085 w 10768629"/>
              <a:gd name="connsiteY129" fmla="*/ 1652030 h 1978172"/>
              <a:gd name="connsiteX130" fmla="*/ 5955513 w 10768629"/>
              <a:gd name="connsiteY130" fmla="*/ 1663584 h 1978172"/>
              <a:gd name="connsiteX131" fmla="*/ 5941996 w 10768629"/>
              <a:gd name="connsiteY131" fmla="*/ 1661326 h 1978172"/>
              <a:gd name="connsiteX132" fmla="*/ 5931789 w 10768629"/>
              <a:gd name="connsiteY132" fmla="*/ 1669915 h 1978172"/>
              <a:gd name="connsiteX133" fmla="*/ 5888686 w 10768629"/>
              <a:gd name="connsiteY133" fmla="*/ 1672175 h 1978172"/>
              <a:gd name="connsiteX134" fmla="*/ 5873794 w 10768629"/>
              <a:gd name="connsiteY134" fmla="*/ 1665454 h 1978172"/>
              <a:gd name="connsiteX135" fmla="*/ 5860022 w 10768629"/>
              <a:gd name="connsiteY135" fmla="*/ 1660635 h 1978172"/>
              <a:gd name="connsiteX136" fmla="*/ 5858237 w 10768629"/>
              <a:gd name="connsiteY136" fmla="*/ 1660649 h 1978172"/>
              <a:gd name="connsiteX137" fmla="*/ 5840319 w 10768629"/>
              <a:gd name="connsiteY137" fmla="*/ 1660798 h 1978172"/>
              <a:gd name="connsiteX138" fmla="*/ 5806984 w 10768629"/>
              <a:gd name="connsiteY138" fmla="*/ 1661075 h 1978172"/>
              <a:gd name="connsiteX139" fmla="*/ 5742351 w 10768629"/>
              <a:gd name="connsiteY139" fmla="*/ 1667489 h 1978172"/>
              <a:gd name="connsiteX140" fmla="*/ 5521171 w 10768629"/>
              <a:gd name="connsiteY140" fmla="*/ 1671626 h 1978172"/>
              <a:gd name="connsiteX141" fmla="*/ 5457384 w 10768629"/>
              <a:gd name="connsiteY141" fmla="*/ 1683952 h 1978172"/>
              <a:gd name="connsiteX142" fmla="*/ 4950070 w 10768629"/>
              <a:gd name="connsiteY142" fmla="*/ 1748401 h 1978172"/>
              <a:gd name="connsiteX143" fmla="*/ 4872172 w 10768629"/>
              <a:gd name="connsiteY143" fmla="*/ 1757222 h 1978172"/>
              <a:gd name="connsiteX144" fmla="*/ 4809524 w 10768629"/>
              <a:gd name="connsiteY144" fmla="*/ 1761033 h 1978172"/>
              <a:gd name="connsiteX145" fmla="*/ 4759058 w 10768629"/>
              <a:gd name="connsiteY145" fmla="*/ 1766533 h 1978172"/>
              <a:gd name="connsiteX146" fmla="*/ 4719749 w 10768629"/>
              <a:gd name="connsiteY146" fmla="*/ 1771811 h 1978172"/>
              <a:gd name="connsiteX147" fmla="*/ 4568686 w 10768629"/>
              <a:gd name="connsiteY147" fmla="*/ 1786141 h 1978172"/>
              <a:gd name="connsiteX148" fmla="*/ 4418751 w 10768629"/>
              <a:gd name="connsiteY148" fmla="*/ 1796932 h 1978172"/>
              <a:gd name="connsiteX149" fmla="*/ 4378377 w 10768629"/>
              <a:gd name="connsiteY149" fmla="*/ 1815528 h 1978172"/>
              <a:gd name="connsiteX150" fmla="*/ 4320575 w 10768629"/>
              <a:gd name="connsiteY150" fmla="*/ 1832722 h 1978172"/>
              <a:gd name="connsiteX151" fmla="*/ 4220200 w 10768629"/>
              <a:gd name="connsiteY151" fmla="*/ 1873173 h 1978172"/>
              <a:gd name="connsiteX152" fmla="*/ 4105361 w 10768629"/>
              <a:gd name="connsiteY152" fmla="*/ 1894711 h 1978172"/>
              <a:gd name="connsiteX153" fmla="*/ 3973223 w 10768629"/>
              <a:gd name="connsiteY153" fmla="*/ 1881015 h 1978172"/>
              <a:gd name="connsiteX154" fmla="*/ 3900992 w 10768629"/>
              <a:gd name="connsiteY154" fmla="*/ 1880603 h 1978172"/>
              <a:gd name="connsiteX155" fmla="*/ 3662119 w 10768629"/>
              <a:gd name="connsiteY155" fmla="*/ 1889285 h 1978172"/>
              <a:gd name="connsiteX156" fmla="*/ 3496919 w 10768629"/>
              <a:gd name="connsiteY156" fmla="*/ 1873180 h 1978172"/>
              <a:gd name="connsiteX157" fmla="*/ 3449433 w 10768629"/>
              <a:gd name="connsiteY157" fmla="*/ 1889681 h 1978172"/>
              <a:gd name="connsiteX158" fmla="*/ 3369766 w 10768629"/>
              <a:gd name="connsiteY158" fmla="*/ 1916653 h 1978172"/>
              <a:gd name="connsiteX159" fmla="*/ 3269672 w 10768629"/>
              <a:gd name="connsiteY159" fmla="*/ 1938036 h 1978172"/>
              <a:gd name="connsiteX160" fmla="*/ 3224897 w 10768629"/>
              <a:gd name="connsiteY160" fmla="*/ 1943733 h 1978172"/>
              <a:gd name="connsiteX161" fmla="*/ 3161463 w 10768629"/>
              <a:gd name="connsiteY161" fmla="*/ 1946591 h 1978172"/>
              <a:gd name="connsiteX162" fmla="*/ 3112044 w 10768629"/>
              <a:gd name="connsiteY162" fmla="*/ 1935614 h 1978172"/>
              <a:gd name="connsiteX163" fmla="*/ 3069716 w 10768629"/>
              <a:gd name="connsiteY163" fmla="*/ 1930463 h 1978172"/>
              <a:gd name="connsiteX164" fmla="*/ 3005773 w 10768629"/>
              <a:gd name="connsiteY164" fmla="*/ 1915878 h 1978172"/>
              <a:gd name="connsiteX165" fmla="*/ 2897201 w 10768629"/>
              <a:gd name="connsiteY165" fmla="*/ 1926772 h 1978172"/>
              <a:gd name="connsiteX166" fmla="*/ 2783891 w 10768629"/>
              <a:gd name="connsiteY166" fmla="*/ 1931749 h 1978172"/>
              <a:gd name="connsiteX167" fmla="*/ 2712447 w 10768629"/>
              <a:gd name="connsiteY167" fmla="*/ 1933044 h 1978172"/>
              <a:gd name="connsiteX168" fmla="*/ 2560151 w 10768629"/>
              <a:gd name="connsiteY168" fmla="*/ 1963609 h 1978172"/>
              <a:gd name="connsiteX169" fmla="*/ 2367221 w 10768629"/>
              <a:gd name="connsiteY169" fmla="*/ 1971884 h 1978172"/>
              <a:gd name="connsiteX170" fmla="*/ 2272130 w 10768629"/>
              <a:gd name="connsiteY170" fmla="*/ 1961162 h 1978172"/>
              <a:gd name="connsiteX171" fmla="*/ 2189404 w 10768629"/>
              <a:gd name="connsiteY171" fmla="*/ 1978172 h 1978172"/>
              <a:gd name="connsiteX172" fmla="*/ 2077704 w 10768629"/>
              <a:gd name="connsiteY172" fmla="*/ 1965002 h 1978172"/>
              <a:gd name="connsiteX173" fmla="*/ 2033299 w 10768629"/>
              <a:gd name="connsiteY173" fmla="*/ 1969042 h 1978172"/>
              <a:gd name="connsiteX174" fmla="*/ 1967996 w 10768629"/>
              <a:gd name="connsiteY174" fmla="*/ 1953187 h 1978172"/>
              <a:gd name="connsiteX175" fmla="*/ 1855805 w 10768629"/>
              <a:gd name="connsiteY175" fmla="*/ 1926082 h 1978172"/>
              <a:gd name="connsiteX176" fmla="*/ 1790957 w 10768629"/>
              <a:gd name="connsiteY176" fmla="*/ 1919460 h 1978172"/>
              <a:gd name="connsiteX177" fmla="*/ 1613978 w 10768629"/>
              <a:gd name="connsiteY177" fmla="*/ 1891581 h 1978172"/>
              <a:gd name="connsiteX178" fmla="*/ 1436831 w 10768629"/>
              <a:gd name="connsiteY178" fmla="*/ 1856201 h 1978172"/>
              <a:gd name="connsiteX179" fmla="*/ 1357365 w 10768629"/>
              <a:gd name="connsiteY179" fmla="*/ 1832140 h 1978172"/>
              <a:gd name="connsiteX180" fmla="*/ 1232341 w 10768629"/>
              <a:gd name="connsiteY180" fmla="*/ 1785942 h 1978172"/>
              <a:gd name="connsiteX181" fmla="*/ 1162595 w 10768629"/>
              <a:gd name="connsiteY181" fmla="*/ 1758337 h 1978172"/>
              <a:gd name="connsiteX182" fmla="*/ 1128523 w 10768629"/>
              <a:gd name="connsiteY182" fmla="*/ 1763621 h 1978172"/>
              <a:gd name="connsiteX183" fmla="*/ 991903 w 10768629"/>
              <a:gd name="connsiteY183" fmla="*/ 1786741 h 1978172"/>
              <a:gd name="connsiteX184" fmla="*/ 883960 w 10768629"/>
              <a:gd name="connsiteY184" fmla="*/ 1822386 h 1978172"/>
              <a:gd name="connsiteX185" fmla="*/ 766531 w 10768629"/>
              <a:gd name="connsiteY185" fmla="*/ 1805053 h 1978172"/>
              <a:gd name="connsiteX186" fmla="*/ 669779 w 10768629"/>
              <a:gd name="connsiteY186" fmla="*/ 1800537 h 1978172"/>
              <a:gd name="connsiteX187" fmla="*/ 523898 w 10768629"/>
              <a:gd name="connsiteY187" fmla="*/ 1811085 h 1978172"/>
              <a:gd name="connsiteX188" fmla="*/ 360251 w 10768629"/>
              <a:gd name="connsiteY188" fmla="*/ 1830735 h 1978172"/>
              <a:gd name="connsiteX189" fmla="*/ 255207 w 10768629"/>
              <a:gd name="connsiteY189" fmla="*/ 1818275 h 1978172"/>
              <a:gd name="connsiteX190" fmla="*/ 101803 w 10768629"/>
              <a:gd name="connsiteY190" fmla="*/ 1870647 h 1978172"/>
              <a:gd name="connsiteX191" fmla="*/ 25397 w 10768629"/>
              <a:gd name="connsiteY191" fmla="*/ 1888443 h 1978172"/>
              <a:gd name="connsiteX192" fmla="*/ 2370 w 10768629"/>
              <a:gd name="connsiteY192" fmla="*/ 1878311 h 1978172"/>
              <a:gd name="connsiteX193" fmla="*/ 0 w 10768629"/>
              <a:gd name="connsiteY193" fmla="*/ 1878785 h 1978172"/>
              <a:gd name="connsiteX194" fmla="*/ 0 w 10768629"/>
              <a:gd name="connsiteY194" fmla="*/ 0 h 1978172"/>
              <a:gd name="connsiteX0" fmla="*/ 0 w 10768629"/>
              <a:gd name="connsiteY0" fmla="*/ 0 h 1978172"/>
              <a:gd name="connsiteX1" fmla="*/ 10768629 w 10768629"/>
              <a:gd name="connsiteY1" fmla="*/ 0 h 1978172"/>
              <a:gd name="connsiteX2" fmla="*/ 10733254 w 10768629"/>
              <a:gd name="connsiteY2" fmla="*/ 31439 h 1978172"/>
              <a:gd name="connsiteX3" fmla="*/ 10727085 w 10768629"/>
              <a:gd name="connsiteY3" fmla="*/ 37910 h 1978172"/>
              <a:gd name="connsiteX4" fmla="*/ 10675953 w 10768629"/>
              <a:gd name="connsiteY4" fmla="*/ 68623 h 1978172"/>
              <a:gd name="connsiteX5" fmla="*/ 10637091 w 10768629"/>
              <a:gd name="connsiteY5" fmla="*/ 90361 h 1978172"/>
              <a:gd name="connsiteX6" fmla="*/ 10610971 w 10768629"/>
              <a:gd name="connsiteY6" fmla="*/ 110764 h 1978172"/>
              <a:gd name="connsiteX7" fmla="*/ 10532872 w 10768629"/>
              <a:gd name="connsiteY7" fmla="*/ 138028 h 1978172"/>
              <a:gd name="connsiteX8" fmla="*/ 10398558 w 10768629"/>
              <a:gd name="connsiteY8" fmla="*/ 172911 h 1978172"/>
              <a:gd name="connsiteX9" fmla="*/ 10371128 w 10768629"/>
              <a:gd name="connsiteY9" fmla="*/ 182609 h 1978172"/>
              <a:gd name="connsiteX10" fmla="*/ 10352178 w 10768629"/>
              <a:gd name="connsiteY10" fmla="*/ 199976 h 1978172"/>
              <a:gd name="connsiteX11" fmla="*/ 10351815 w 10768629"/>
              <a:gd name="connsiteY11" fmla="*/ 211879 h 1978172"/>
              <a:gd name="connsiteX12" fmla="*/ 10337471 w 10768629"/>
              <a:gd name="connsiteY12" fmla="*/ 218661 h 1978172"/>
              <a:gd name="connsiteX13" fmla="*/ 10334625 w 10768629"/>
              <a:gd name="connsiteY13" fmla="*/ 222351 h 1978172"/>
              <a:gd name="connsiteX14" fmla="*/ 10256365 w 10768629"/>
              <a:gd name="connsiteY14" fmla="*/ 235917 h 1978172"/>
              <a:gd name="connsiteX15" fmla="*/ 10201127 w 10768629"/>
              <a:gd name="connsiteY15" fmla="*/ 267448 h 1978172"/>
              <a:gd name="connsiteX16" fmla="*/ 9961218 w 10768629"/>
              <a:gd name="connsiteY16" fmla="*/ 326720 h 1978172"/>
              <a:gd name="connsiteX17" fmla="*/ 9859715 w 10768629"/>
              <a:gd name="connsiteY17" fmla="*/ 355698 h 1978172"/>
              <a:gd name="connsiteX18" fmla="*/ 9679867 w 10768629"/>
              <a:gd name="connsiteY18" fmla="*/ 399081 h 1978172"/>
              <a:gd name="connsiteX19" fmla="*/ 9490654 w 10768629"/>
              <a:gd name="connsiteY19" fmla="*/ 455225 h 1978172"/>
              <a:gd name="connsiteX20" fmla="*/ 9470837 w 10768629"/>
              <a:gd name="connsiteY20" fmla="*/ 452539 h 1978172"/>
              <a:gd name="connsiteX21" fmla="*/ 9469082 w 10768629"/>
              <a:gd name="connsiteY21" fmla="*/ 454891 h 1978172"/>
              <a:gd name="connsiteX22" fmla="*/ 9448038 w 10768629"/>
              <a:gd name="connsiteY22" fmla="*/ 459733 h 1978172"/>
              <a:gd name="connsiteX23" fmla="*/ 9396821 w 10768629"/>
              <a:gd name="connsiteY23" fmla="*/ 455795 h 1978172"/>
              <a:gd name="connsiteX24" fmla="*/ 9392197 w 10768629"/>
              <a:gd name="connsiteY24" fmla="*/ 459796 h 1978172"/>
              <a:gd name="connsiteX25" fmla="*/ 9347994 w 10768629"/>
              <a:gd name="connsiteY25" fmla="*/ 464462 h 1978172"/>
              <a:gd name="connsiteX26" fmla="*/ 9347889 w 10768629"/>
              <a:gd name="connsiteY26" fmla="*/ 466539 h 1978172"/>
              <a:gd name="connsiteX27" fmla="*/ 9337639 w 10768629"/>
              <a:gd name="connsiteY27" fmla="*/ 476654 h 1978172"/>
              <a:gd name="connsiteX28" fmla="*/ 9316893 w 10768629"/>
              <a:gd name="connsiteY28" fmla="*/ 491390 h 1978172"/>
              <a:gd name="connsiteX29" fmla="*/ 9229283 w 10768629"/>
              <a:gd name="connsiteY29" fmla="*/ 555377 h 1978172"/>
              <a:gd name="connsiteX30" fmla="*/ 9220274 w 10768629"/>
              <a:gd name="connsiteY30" fmla="*/ 557502 h 1978172"/>
              <a:gd name="connsiteX31" fmla="*/ 9220202 w 10768629"/>
              <a:gd name="connsiteY31" fmla="*/ 558001 h 1978172"/>
              <a:gd name="connsiteX32" fmla="*/ 9210908 w 10768629"/>
              <a:gd name="connsiteY32" fmla="*/ 561147 h 1978172"/>
              <a:gd name="connsiteX33" fmla="*/ 9186374 w 10768629"/>
              <a:gd name="connsiteY33" fmla="*/ 565502 h 1978172"/>
              <a:gd name="connsiteX34" fmla="*/ 9181058 w 10768629"/>
              <a:gd name="connsiteY34" fmla="*/ 569943 h 1978172"/>
              <a:gd name="connsiteX35" fmla="*/ 9179948 w 10768629"/>
              <a:gd name="connsiteY35" fmla="*/ 576062 h 1978172"/>
              <a:gd name="connsiteX36" fmla="*/ 9149110 w 10768629"/>
              <a:gd name="connsiteY36" fmla="*/ 598906 h 1978172"/>
              <a:gd name="connsiteX37" fmla="*/ 9078556 w 10768629"/>
              <a:gd name="connsiteY37" fmla="*/ 644039 h 1978172"/>
              <a:gd name="connsiteX38" fmla="*/ 8996399 w 10768629"/>
              <a:gd name="connsiteY38" fmla="*/ 690055 h 1978172"/>
              <a:gd name="connsiteX39" fmla="*/ 8803791 w 10768629"/>
              <a:gd name="connsiteY39" fmla="*/ 813860 h 1978172"/>
              <a:gd name="connsiteX40" fmla="*/ 8636202 w 10768629"/>
              <a:gd name="connsiteY40" fmla="*/ 848463 h 1978172"/>
              <a:gd name="connsiteX41" fmla="*/ 8555372 w 10768629"/>
              <a:gd name="connsiteY41" fmla="*/ 883171 h 1978172"/>
              <a:gd name="connsiteX42" fmla="*/ 8507229 w 10768629"/>
              <a:gd name="connsiteY42" fmla="*/ 901665 h 1978172"/>
              <a:gd name="connsiteX43" fmla="*/ 8428473 w 10768629"/>
              <a:gd name="connsiteY43" fmla="*/ 927985 h 1978172"/>
              <a:gd name="connsiteX44" fmla="*/ 8427914 w 10768629"/>
              <a:gd name="connsiteY44" fmla="*/ 933480 h 1978172"/>
              <a:gd name="connsiteX45" fmla="*/ 8420327 w 10768629"/>
              <a:gd name="connsiteY45" fmla="*/ 941984 h 1978172"/>
              <a:gd name="connsiteX46" fmla="*/ 8407128 w 10768629"/>
              <a:gd name="connsiteY46" fmla="*/ 961344 h 1978172"/>
              <a:gd name="connsiteX47" fmla="*/ 8380548 w 10768629"/>
              <a:gd name="connsiteY47" fmla="*/ 987916 h 1978172"/>
              <a:gd name="connsiteX48" fmla="*/ 8379462 w 10768629"/>
              <a:gd name="connsiteY48" fmla="*/ 987106 h 1978172"/>
              <a:gd name="connsiteX49" fmla="*/ 8369725 w 10768629"/>
              <a:gd name="connsiteY49" fmla="*/ 989186 h 1978172"/>
              <a:gd name="connsiteX50" fmla="*/ 8304438 w 10768629"/>
              <a:gd name="connsiteY50" fmla="*/ 996739 h 1978172"/>
              <a:gd name="connsiteX51" fmla="*/ 8280929 w 10768629"/>
              <a:gd name="connsiteY51" fmla="*/ 1023089 h 1978172"/>
              <a:gd name="connsiteX52" fmla="*/ 8275760 w 10768629"/>
              <a:gd name="connsiteY52" fmla="*/ 1027772 h 1978172"/>
              <a:gd name="connsiteX53" fmla="*/ 8275478 w 10768629"/>
              <a:gd name="connsiteY53" fmla="*/ 1027605 h 1978172"/>
              <a:gd name="connsiteX54" fmla="*/ 8269666 w 10768629"/>
              <a:gd name="connsiteY54" fmla="*/ 1032033 h 1978172"/>
              <a:gd name="connsiteX55" fmla="*/ 8203836 w 10768629"/>
              <a:gd name="connsiteY55" fmla="*/ 1037347 h 1978172"/>
              <a:gd name="connsiteX56" fmla="*/ 8122936 w 10768629"/>
              <a:gd name="connsiteY56" fmla="*/ 1063113 h 1978172"/>
              <a:gd name="connsiteX57" fmla="*/ 8043658 w 10768629"/>
              <a:gd name="connsiteY57" fmla="*/ 1092746 h 1978172"/>
              <a:gd name="connsiteX58" fmla="*/ 8015351 w 10768629"/>
              <a:gd name="connsiteY58" fmla="*/ 1105478 h 1978172"/>
              <a:gd name="connsiteX59" fmla="*/ 7963145 w 10768629"/>
              <a:gd name="connsiteY59" fmla="*/ 1119346 h 1978172"/>
              <a:gd name="connsiteX60" fmla="*/ 7938145 w 10768629"/>
              <a:gd name="connsiteY60" fmla="*/ 1120225 h 1978172"/>
              <a:gd name="connsiteX61" fmla="*/ 7937238 w 10768629"/>
              <a:gd name="connsiteY61" fmla="*/ 1121204 h 1978172"/>
              <a:gd name="connsiteX62" fmla="*/ 7934398 w 10768629"/>
              <a:gd name="connsiteY62" fmla="*/ 1118240 h 1978172"/>
              <a:gd name="connsiteX63" fmla="*/ 7918248 w 10768629"/>
              <a:gd name="connsiteY63" fmla="*/ 1124371 h 1978172"/>
              <a:gd name="connsiteX64" fmla="*/ 7914119 w 10768629"/>
              <a:gd name="connsiteY64" fmla="*/ 1127653 h 1978172"/>
              <a:gd name="connsiteX65" fmla="*/ 7907658 w 10768629"/>
              <a:gd name="connsiteY65" fmla="*/ 1130350 h 1978172"/>
              <a:gd name="connsiteX66" fmla="*/ 7907434 w 10768629"/>
              <a:gd name="connsiteY66" fmla="*/ 1130103 h 1978172"/>
              <a:gd name="connsiteX67" fmla="*/ 7901508 w 10768629"/>
              <a:gd name="connsiteY67" fmla="*/ 1133245 h 1978172"/>
              <a:gd name="connsiteX68" fmla="*/ 7873287 w 10768629"/>
              <a:gd name="connsiteY68" fmla="*/ 1152609 h 1978172"/>
              <a:gd name="connsiteX69" fmla="*/ 7834833 w 10768629"/>
              <a:gd name="connsiteY69" fmla="*/ 1153868 h 1978172"/>
              <a:gd name="connsiteX70" fmla="*/ 7828661 w 10768629"/>
              <a:gd name="connsiteY70" fmla="*/ 1139994 h 1978172"/>
              <a:gd name="connsiteX71" fmla="*/ 7823966 w 10768629"/>
              <a:gd name="connsiteY71" fmla="*/ 1143178 h 1978172"/>
              <a:gd name="connsiteX72" fmla="*/ 7815078 w 10768629"/>
              <a:gd name="connsiteY72" fmla="*/ 1151776 h 1978172"/>
              <a:gd name="connsiteX73" fmla="*/ 7812026 w 10768629"/>
              <a:gd name="connsiteY73" fmla="*/ 1151522 h 1978172"/>
              <a:gd name="connsiteX74" fmla="*/ 7782249 w 10768629"/>
              <a:gd name="connsiteY74" fmla="*/ 1160970 h 1978172"/>
              <a:gd name="connsiteX75" fmla="*/ 7773476 w 10768629"/>
              <a:gd name="connsiteY75" fmla="*/ 1157414 h 1978172"/>
              <a:gd name="connsiteX76" fmla="*/ 7769600 w 10768629"/>
              <a:gd name="connsiteY76" fmla="*/ 1157365 h 1978172"/>
              <a:gd name="connsiteX77" fmla="*/ 7752631 w 10768629"/>
              <a:gd name="connsiteY77" fmla="*/ 1172815 h 1978172"/>
              <a:gd name="connsiteX78" fmla="*/ 7743525 w 10768629"/>
              <a:gd name="connsiteY78" fmla="*/ 1179064 h 1978172"/>
              <a:gd name="connsiteX79" fmla="*/ 7685942 w 10768629"/>
              <a:gd name="connsiteY79" fmla="*/ 1233723 h 1978172"/>
              <a:gd name="connsiteX80" fmla="*/ 7586920 w 10768629"/>
              <a:gd name="connsiteY80" fmla="*/ 1261888 h 1978172"/>
              <a:gd name="connsiteX81" fmla="*/ 7486100 w 10768629"/>
              <a:gd name="connsiteY81" fmla="*/ 1292563 h 1978172"/>
              <a:gd name="connsiteX82" fmla="*/ 7407190 w 10768629"/>
              <a:gd name="connsiteY82" fmla="*/ 1314737 h 1978172"/>
              <a:gd name="connsiteX83" fmla="*/ 7240698 w 10768629"/>
              <a:gd name="connsiteY83" fmla="*/ 1438832 h 1978172"/>
              <a:gd name="connsiteX84" fmla="*/ 7197675 w 10768629"/>
              <a:gd name="connsiteY84" fmla="*/ 1447530 h 1978172"/>
              <a:gd name="connsiteX85" fmla="*/ 7164788 w 10768629"/>
              <a:gd name="connsiteY85" fmla="*/ 1480293 h 1978172"/>
              <a:gd name="connsiteX86" fmla="*/ 7147929 w 10768629"/>
              <a:gd name="connsiteY86" fmla="*/ 1477641 h 1978172"/>
              <a:gd name="connsiteX87" fmla="*/ 7144965 w 10768629"/>
              <a:gd name="connsiteY87" fmla="*/ 1476908 h 1978172"/>
              <a:gd name="connsiteX88" fmla="*/ 7134299 w 10768629"/>
              <a:gd name="connsiteY88" fmla="*/ 1479969 h 1978172"/>
              <a:gd name="connsiteX89" fmla="*/ 7129809 w 10768629"/>
              <a:gd name="connsiteY89" fmla="*/ 1473339 h 1978172"/>
              <a:gd name="connsiteX90" fmla="*/ 7112688 w 10768629"/>
              <a:gd name="connsiteY90" fmla="*/ 1472575 h 1978172"/>
              <a:gd name="connsiteX91" fmla="*/ 7093470 w 10768629"/>
              <a:gd name="connsiteY91" fmla="*/ 1480300 h 1978172"/>
              <a:gd name="connsiteX92" fmla="*/ 7025034 w 10768629"/>
              <a:gd name="connsiteY92" fmla="*/ 1506934 h 1978172"/>
              <a:gd name="connsiteX93" fmla="*/ 7014783 w 10768629"/>
              <a:gd name="connsiteY93" fmla="*/ 1515868 h 1978172"/>
              <a:gd name="connsiteX94" fmla="*/ 6979706 w 10768629"/>
              <a:gd name="connsiteY94" fmla="*/ 1523511 h 1978172"/>
              <a:gd name="connsiteX95" fmla="*/ 6977890 w 10768629"/>
              <a:gd name="connsiteY95" fmla="*/ 1525793 h 1978172"/>
              <a:gd name="connsiteX96" fmla="*/ 6944339 w 10768629"/>
              <a:gd name="connsiteY96" fmla="*/ 1536237 h 1978172"/>
              <a:gd name="connsiteX97" fmla="*/ 6886996 w 10768629"/>
              <a:gd name="connsiteY97" fmla="*/ 1563569 h 1978172"/>
              <a:gd name="connsiteX98" fmla="*/ 6874510 w 10768629"/>
              <a:gd name="connsiteY98" fmla="*/ 1558469 h 1978172"/>
              <a:gd name="connsiteX99" fmla="*/ 6871943 w 10768629"/>
              <a:gd name="connsiteY99" fmla="*/ 1554651 h 1978172"/>
              <a:gd name="connsiteX100" fmla="*/ 6856174 w 10768629"/>
              <a:gd name="connsiteY100" fmla="*/ 1562024 h 1978172"/>
              <a:gd name="connsiteX101" fmla="*/ 6842321 w 10768629"/>
              <a:gd name="connsiteY101" fmla="*/ 1560554 h 1978172"/>
              <a:gd name="connsiteX102" fmla="*/ 6832713 w 10768629"/>
              <a:gd name="connsiteY102" fmla="*/ 1569357 h 1978172"/>
              <a:gd name="connsiteX103" fmla="*/ 6816351 w 10768629"/>
              <a:gd name="connsiteY103" fmla="*/ 1571495 h 1978172"/>
              <a:gd name="connsiteX104" fmla="*/ 6795800 w 10768629"/>
              <a:gd name="connsiteY104" fmla="*/ 1572010 h 1978172"/>
              <a:gd name="connsiteX105" fmla="*/ 6777546 w 10768629"/>
              <a:gd name="connsiteY105" fmla="*/ 1568661 h 1978172"/>
              <a:gd name="connsiteX106" fmla="*/ 6751528 w 10768629"/>
              <a:gd name="connsiteY106" fmla="*/ 1574143 h 1978172"/>
              <a:gd name="connsiteX107" fmla="*/ 6691966 w 10768629"/>
              <a:gd name="connsiteY107" fmla="*/ 1582255 h 1978172"/>
              <a:gd name="connsiteX108" fmla="*/ 6646941 w 10768629"/>
              <a:gd name="connsiteY108" fmla="*/ 1588471 h 1978172"/>
              <a:gd name="connsiteX109" fmla="*/ 6568576 w 10768629"/>
              <a:gd name="connsiteY109" fmla="*/ 1606488 h 1978172"/>
              <a:gd name="connsiteX110" fmla="*/ 6554358 w 10768629"/>
              <a:gd name="connsiteY110" fmla="*/ 1621701 h 1978172"/>
              <a:gd name="connsiteX111" fmla="*/ 6516968 w 10768629"/>
              <a:gd name="connsiteY111" fmla="*/ 1617195 h 1978172"/>
              <a:gd name="connsiteX112" fmla="*/ 6506479 w 10768629"/>
              <a:gd name="connsiteY112" fmla="*/ 1602227 h 1978172"/>
              <a:gd name="connsiteX113" fmla="*/ 6458436 w 10768629"/>
              <a:gd name="connsiteY113" fmla="*/ 1607332 h 1978172"/>
              <a:gd name="connsiteX114" fmla="*/ 6414786 w 10768629"/>
              <a:gd name="connsiteY114" fmla="*/ 1628815 h 1978172"/>
              <a:gd name="connsiteX115" fmla="*/ 6357085 w 10768629"/>
              <a:gd name="connsiteY115" fmla="*/ 1640846 h 1978172"/>
              <a:gd name="connsiteX116" fmla="*/ 6322636 w 10768629"/>
              <a:gd name="connsiteY116" fmla="*/ 1648213 h 1978172"/>
              <a:gd name="connsiteX117" fmla="*/ 6226172 w 10768629"/>
              <a:gd name="connsiteY117" fmla="*/ 1654676 h 1978172"/>
              <a:gd name="connsiteX118" fmla="*/ 6221217 w 10768629"/>
              <a:gd name="connsiteY118" fmla="*/ 1654506 h 1978172"/>
              <a:gd name="connsiteX119" fmla="*/ 6204956 w 10768629"/>
              <a:gd name="connsiteY119" fmla="*/ 1664280 h 1978172"/>
              <a:gd name="connsiteX120" fmla="*/ 6204270 w 10768629"/>
              <a:gd name="connsiteY120" fmla="*/ 1666782 h 1978172"/>
              <a:gd name="connsiteX121" fmla="*/ 6143810 w 10768629"/>
              <a:gd name="connsiteY121" fmla="*/ 1661963 h 1978172"/>
              <a:gd name="connsiteX122" fmla="*/ 6136560 w 10768629"/>
              <a:gd name="connsiteY122" fmla="*/ 1665728 h 1978172"/>
              <a:gd name="connsiteX123" fmla="*/ 6096155 w 10768629"/>
              <a:gd name="connsiteY123" fmla="*/ 1656951 h 1978172"/>
              <a:gd name="connsiteX124" fmla="*/ 6075812 w 10768629"/>
              <a:gd name="connsiteY124" fmla="*/ 1655422 h 1978172"/>
              <a:gd name="connsiteX125" fmla="*/ 6039495 w 10768629"/>
              <a:gd name="connsiteY125" fmla="*/ 1649680 h 1978172"/>
              <a:gd name="connsiteX126" fmla="*/ 6036523 w 10768629"/>
              <a:gd name="connsiteY126" fmla="*/ 1652121 h 1978172"/>
              <a:gd name="connsiteX127" fmla="*/ 6029328 w 10768629"/>
              <a:gd name="connsiteY127" fmla="*/ 1649904 h 1978172"/>
              <a:gd name="connsiteX128" fmla="*/ 6024075 w 10768629"/>
              <a:gd name="connsiteY128" fmla="*/ 1652779 h 1978172"/>
              <a:gd name="connsiteX129" fmla="*/ 6018085 w 10768629"/>
              <a:gd name="connsiteY129" fmla="*/ 1652030 h 1978172"/>
              <a:gd name="connsiteX130" fmla="*/ 5955513 w 10768629"/>
              <a:gd name="connsiteY130" fmla="*/ 1663584 h 1978172"/>
              <a:gd name="connsiteX131" fmla="*/ 5941996 w 10768629"/>
              <a:gd name="connsiteY131" fmla="*/ 1661326 h 1978172"/>
              <a:gd name="connsiteX132" fmla="*/ 5931789 w 10768629"/>
              <a:gd name="connsiteY132" fmla="*/ 1669915 h 1978172"/>
              <a:gd name="connsiteX133" fmla="*/ 5888686 w 10768629"/>
              <a:gd name="connsiteY133" fmla="*/ 1672175 h 1978172"/>
              <a:gd name="connsiteX134" fmla="*/ 5873794 w 10768629"/>
              <a:gd name="connsiteY134" fmla="*/ 1665454 h 1978172"/>
              <a:gd name="connsiteX135" fmla="*/ 5860022 w 10768629"/>
              <a:gd name="connsiteY135" fmla="*/ 1660635 h 1978172"/>
              <a:gd name="connsiteX136" fmla="*/ 5858237 w 10768629"/>
              <a:gd name="connsiteY136" fmla="*/ 1660649 h 1978172"/>
              <a:gd name="connsiteX137" fmla="*/ 5840319 w 10768629"/>
              <a:gd name="connsiteY137" fmla="*/ 1660798 h 1978172"/>
              <a:gd name="connsiteX138" fmla="*/ 5806984 w 10768629"/>
              <a:gd name="connsiteY138" fmla="*/ 1661075 h 1978172"/>
              <a:gd name="connsiteX139" fmla="*/ 5742351 w 10768629"/>
              <a:gd name="connsiteY139" fmla="*/ 1667489 h 1978172"/>
              <a:gd name="connsiteX140" fmla="*/ 5521171 w 10768629"/>
              <a:gd name="connsiteY140" fmla="*/ 1671626 h 1978172"/>
              <a:gd name="connsiteX141" fmla="*/ 5457384 w 10768629"/>
              <a:gd name="connsiteY141" fmla="*/ 1683952 h 1978172"/>
              <a:gd name="connsiteX142" fmla="*/ 4950070 w 10768629"/>
              <a:gd name="connsiteY142" fmla="*/ 1748401 h 1978172"/>
              <a:gd name="connsiteX143" fmla="*/ 4872172 w 10768629"/>
              <a:gd name="connsiteY143" fmla="*/ 1757222 h 1978172"/>
              <a:gd name="connsiteX144" fmla="*/ 4809524 w 10768629"/>
              <a:gd name="connsiteY144" fmla="*/ 1761033 h 1978172"/>
              <a:gd name="connsiteX145" fmla="*/ 4759058 w 10768629"/>
              <a:gd name="connsiteY145" fmla="*/ 1766533 h 1978172"/>
              <a:gd name="connsiteX146" fmla="*/ 4719749 w 10768629"/>
              <a:gd name="connsiteY146" fmla="*/ 1771811 h 1978172"/>
              <a:gd name="connsiteX147" fmla="*/ 4568686 w 10768629"/>
              <a:gd name="connsiteY147" fmla="*/ 1786141 h 1978172"/>
              <a:gd name="connsiteX148" fmla="*/ 4418751 w 10768629"/>
              <a:gd name="connsiteY148" fmla="*/ 1796932 h 1978172"/>
              <a:gd name="connsiteX149" fmla="*/ 4378377 w 10768629"/>
              <a:gd name="connsiteY149" fmla="*/ 1815528 h 1978172"/>
              <a:gd name="connsiteX150" fmla="*/ 4320575 w 10768629"/>
              <a:gd name="connsiteY150" fmla="*/ 1832722 h 1978172"/>
              <a:gd name="connsiteX151" fmla="*/ 4220200 w 10768629"/>
              <a:gd name="connsiteY151" fmla="*/ 1873173 h 1978172"/>
              <a:gd name="connsiteX152" fmla="*/ 4105361 w 10768629"/>
              <a:gd name="connsiteY152" fmla="*/ 1894711 h 1978172"/>
              <a:gd name="connsiteX153" fmla="*/ 3973223 w 10768629"/>
              <a:gd name="connsiteY153" fmla="*/ 1881015 h 1978172"/>
              <a:gd name="connsiteX154" fmla="*/ 3900992 w 10768629"/>
              <a:gd name="connsiteY154" fmla="*/ 1880603 h 1978172"/>
              <a:gd name="connsiteX155" fmla="*/ 3662119 w 10768629"/>
              <a:gd name="connsiteY155" fmla="*/ 1889285 h 1978172"/>
              <a:gd name="connsiteX156" fmla="*/ 3496919 w 10768629"/>
              <a:gd name="connsiteY156" fmla="*/ 1873180 h 1978172"/>
              <a:gd name="connsiteX157" fmla="*/ 3449433 w 10768629"/>
              <a:gd name="connsiteY157" fmla="*/ 1889681 h 1978172"/>
              <a:gd name="connsiteX158" fmla="*/ 3369766 w 10768629"/>
              <a:gd name="connsiteY158" fmla="*/ 1916653 h 1978172"/>
              <a:gd name="connsiteX159" fmla="*/ 3269672 w 10768629"/>
              <a:gd name="connsiteY159" fmla="*/ 1938036 h 1978172"/>
              <a:gd name="connsiteX160" fmla="*/ 3224897 w 10768629"/>
              <a:gd name="connsiteY160" fmla="*/ 1943733 h 1978172"/>
              <a:gd name="connsiteX161" fmla="*/ 3161463 w 10768629"/>
              <a:gd name="connsiteY161" fmla="*/ 1946591 h 1978172"/>
              <a:gd name="connsiteX162" fmla="*/ 3112044 w 10768629"/>
              <a:gd name="connsiteY162" fmla="*/ 1935614 h 1978172"/>
              <a:gd name="connsiteX163" fmla="*/ 3069716 w 10768629"/>
              <a:gd name="connsiteY163" fmla="*/ 1930463 h 1978172"/>
              <a:gd name="connsiteX164" fmla="*/ 3005773 w 10768629"/>
              <a:gd name="connsiteY164" fmla="*/ 1915878 h 1978172"/>
              <a:gd name="connsiteX165" fmla="*/ 2897201 w 10768629"/>
              <a:gd name="connsiteY165" fmla="*/ 1926772 h 1978172"/>
              <a:gd name="connsiteX166" fmla="*/ 2783891 w 10768629"/>
              <a:gd name="connsiteY166" fmla="*/ 1931749 h 1978172"/>
              <a:gd name="connsiteX167" fmla="*/ 2712447 w 10768629"/>
              <a:gd name="connsiteY167" fmla="*/ 1933044 h 1978172"/>
              <a:gd name="connsiteX168" fmla="*/ 2560151 w 10768629"/>
              <a:gd name="connsiteY168" fmla="*/ 1963609 h 1978172"/>
              <a:gd name="connsiteX169" fmla="*/ 2367221 w 10768629"/>
              <a:gd name="connsiteY169" fmla="*/ 1971884 h 1978172"/>
              <a:gd name="connsiteX170" fmla="*/ 2272130 w 10768629"/>
              <a:gd name="connsiteY170" fmla="*/ 1961162 h 1978172"/>
              <a:gd name="connsiteX171" fmla="*/ 2189404 w 10768629"/>
              <a:gd name="connsiteY171" fmla="*/ 1978172 h 1978172"/>
              <a:gd name="connsiteX172" fmla="*/ 2077704 w 10768629"/>
              <a:gd name="connsiteY172" fmla="*/ 1965002 h 1978172"/>
              <a:gd name="connsiteX173" fmla="*/ 2033299 w 10768629"/>
              <a:gd name="connsiteY173" fmla="*/ 1969042 h 1978172"/>
              <a:gd name="connsiteX174" fmla="*/ 1967996 w 10768629"/>
              <a:gd name="connsiteY174" fmla="*/ 1953187 h 1978172"/>
              <a:gd name="connsiteX175" fmla="*/ 1855805 w 10768629"/>
              <a:gd name="connsiteY175" fmla="*/ 1926082 h 1978172"/>
              <a:gd name="connsiteX176" fmla="*/ 1790957 w 10768629"/>
              <a:gd name="connsiteY176" fmla="*/ 1919460 h 1978172"/>
              <a:gd name="connsiteX177" fmla="*/ 1613978 w 10768629"/>
              <a:gd name="connsiteY177" fmla="*/ 1891581 h 1978172"/>
              <a:gd name="connsiteX178" fmla="*/ 1436831 w 10768629"/>
              <a:gd name="connsiteY178" fmla="*/ 1856201 h 1978172"/>
              <a:gd name="connsiteX179" fmla="*/ 1357365 w 10768629"/>
              <a:gd name="connsiteY179" fmla="*/ 1832140 h 1978172"/>
              <a:gd name="connsiteX180" fmla="*/ 1232341 w 10768629"/>
              <a:gd name="connsiteY180" fmla="*/ 1785942 h 1978172"/>
              <a:gd name="connsiteX181" fmla="*/ 1162595 w 10768629"/>
              <a:gd name="connsiteY181" fmla="*/ 1758337 h 1978172"/>
              <a:gd name="connsiteX182" fmla="*/ 1128523 w 10768629"/>
              <a:gd name="connsiteY182" fmla="*/ 1763621 h 1978172"/>
              <a:gd name="connsiteX183" fmla="*/ 991903 w 10768629"/>
              <a:gd name="connsiteY183" fmla="*/ 1786741 h 1978172"/>
              <a:gd name="connsiteX184" fmla="*/ 883960 w 10768629"/>
              <a:gd name="connsiteY184" fmla="*/ 1822386 h 1978172"/>
              <a:gd name="connsiteX185" fmla="*/ 766531 w 10768629"/>
              <a:gd name="connsiteY185" fmla="*/ 1805053 h 1978172"/>
              <a:gd name="connsiteX186" fmla="*/ 669779 w 10768629"/>
              <a:gd name="connsiteY186" fmla="*/ 1800537 h 1978172"/>
              <a:gd name="connsiteX187" fmla="*/ 523898 w 10768629"/>
              <a:gd name="connsiteY187" fmla="*/ 1811085 h 1978172"/>
              <a:gd name="connsiteX188" fmla="*/ 360251 w 10768629"/>
              <a:gd name="connsiteY188" fmla="*/ 1830735 h 1978172"/>
              <a:gd name="connsiteX189" fmla="*/ 255207 w 10768629"/>
              <a:gd name="connsiteY189" fmla="*/ 1818275 h 1978172"/>
              <a:gd name="connsiteX190" fmla="*/ 101803 w 10768629"/>
              <a:gd name="connsiteY190" fmla="*/ 1870647 h 1978172"/>
              <a:gd name="connsiteX191" fmla="*/ 25397 w 10768629"/>
              <a:gd name="connsiteY191" fmla="*/ 1888443 h 1978172"/>
              <a:gd name="connsiteX192" fmla="*/ 2370 w 10768629"/>
              <a:gd name="connsiteY192" fmla="*/ 1878311 h 1978172"/>
              <a:gd name="connsiteX193" fmla="*/ 0 w 10768629"/>
              <a:gd name="connsiteY193" fmla="*/ 1878785 h 1978172"/>
              <a:gd name="connsiteX194" fmla="*/ 0 w 10768629"/>
              <a:gd name="connsiteY194" fmla="*/ 0 h 1978172"/>
              <a:gd name="connsiteX0" fmla="*/ 0 w 10768629"/>
              <a:gd name="connsiteY0" fmla="*/ 0 h 1978172"/>
              <a:gd name="connsiteX1" fmla="*/ 10768629 w 10768629"/>
              <a:gd name="connsiteY1" fmla="*/ 0 h 1978172"/>
              <a:gd name="connsiteX2" fmla="*/ 10733254 w 10768629"/>
              <a:gd name="connsiteY2" fmla="*/ 31439 h 1978172"/>
              <a:gd name="connsiteX3" fmla="*/ 10727085 w 10768629"/>
              <a:gd name="connsiteY3" fmla="*/ 37910 h 1978172"/>
              <a:gd name="connsiteX4" fmla="*/ 10675953 w 10768629"/>
              <a:gd name="connsiteY4" fmla="*/ 68623 h 1978172"/>
              <a:gd name="connsiteX5" fmla="*/ 10637091 w 10768629"/>
              <a:gd name="connsiteY5" fmla="*/ 90361 h 1978172"/>
              <a:gd name="connsiteX6" fmla="*/ 10610971 w 10768629"/>
              <a:gd name="connsiteY6" fmla="*/ 110764 h 1978172"/>
              <a:gd name="connsiteX7" fmla="*/ 10532872 w 10768629"/>
              <a:gd name="connsiteY7" fmla="*/ 138028 h 1978172"/>
              <a:gd name="connsiteX8" fmla="*/ 10398558 w 10768629"/>
              <a:gd name="connsiteY8" fmla="*/ 172911 h 1978172"/>
              <a:gd name="connsiteX9" fmla="*/ 10371128 w 10768629"/>
              <a:gd name="connsiteY9" fmla="*/ 182609 h 1978172"/>
              <a:gd name="connsiteX10" fmla="*/ 10352178 w 10768629"/>
              <a:gd name="connsiteY10" fmla="*/ 199976 h 1978172"/>
              <a:gd name="connsiteX11" fmla="*/ 10351815 w 10768629"/>
              <a:gd name="connsiteY11" fmla="*/ 211879 h 1978172"/>
              <a:gd name="connsiteX12" fmla="*/ 10337471 w 10768629"/>
              <a:gd name="connsiteY12" fmla="*/ 218661 h 1978172"/>
              <a:gd name="connsiteX13" fmla="*/ 10334625 w 10768629"/>
              <a:gd name="connsiteY13" fmla="*/ 222351 h 1978172"/>
              <a:gd name="connsiteX14" fmla="*/ 10256365 w 10768629"/>
              <a:gd name="connsiteY14" fmla="*/ 235917 h 1978172"/>
              <a:gd name="connsiteX15" fmla="*/ 10201127 w 10768629"/>
              <a:gd name="connsiteY15" fmla="*/ 267448 h 1978172"/>
              <a:gd name="connsiteX16" fmla="*/ 9961218 w 10768629"/>
              <a:gd name="connsiteY16" fmla="*/ 326720 h 1978172"/>
              <a:gd name="connsiteX17" fmla="*/ 9859715 w 10768629"/>
              <a:gd name="connsiteY17" fmla="*/ 355698 h 1978172"/>
              <a:gd name="connsiteX18" fmla="*/ 9679867 w 10768629"/>
              <a:gd name="connsiteY18" fmla="*/ 399081 h 1978172"/>
              <a:gd name="connsiteX19" fmla="*/ 9490654 w 10768629"/>
              <a:gd name="connsiteY19" fmla="*/ 455225 h 1978172"/>
              <a:gd name="connsiteX20" fmla="*/ 9470837 w 10768629"/>
              <a:gd name="connsiteY20" fmla="*/ 452539 h 1978172"/>
              <a:gd name="connsiteX21" fmla="*/ 9469082 w 10768629"/>
              <a:gd name="connsiteY21" fmla="*/ 454891 h 1978172"/>
              <a:gd name="connsiteX22" fmla="*/ 9448038 w 10768629"/>
              <a:gd name="connsiteY22" fmla="*/ 459733 h 1978172"/>
              <a:gd name="connsiteX23" fmla="*/ 9396821 w 10768629"/>
              <a:gd name="connsiteY23" fmla="*/ 455795 h 1978172"/>
              <a:gd name="connsiteX24" fmla="*/ 9392197 w 10768629"/>
              <a:gd name="connsiteY24" fmla="*/ 459796 h 1978172"/>
              <a:gd name="connsiteX25" fmla="*/ 9347994 w 10768629"/>
              <a:gd name="connsiteY25" fmla="*/ 464462 h 1978172"/>
              <a:gd name="connsiteX26" fmla="*/ 9347889 w 10768629"/>
              <a:gd name="connsiteY26" fmla="*/ 466539 h 1978172"/>
              <a:gd name="connsiteX27" fmla="*/ 9337639 w 10768629"/>
              <a:gd name="connsiteY27" fmla="*/ 476654 h 1978172"/>
              <a:gd name="connsiteX28" fmla="*/ 9316893 w 10768629"/>
              <a:gd name="connsiteY28" fmla="*/ 491390 h 1978172"/>
              <a:gd name="connsiteX29" fmla="*/ 9229283 w 10768629"/>
              <a:gd name="connsiteY29" fmla="*/ 555377 h 1978172"/>
              <a:gd name="connsiteX30" fmla="*/ 9220274 w 10768629"/>
              <a:gd name="connsiteY30" fmla="*/ 557502 h 1978172"/>
              <a:gd name="connsiteX31" fmla="*/ 9220202 w 10768629"/>
              <a:gd name="connsiteY31" fmla="*/ 558001 h 1978172"/>
              <a:gd name="connsiteX32" fmla="*/ 9210908 w 10768629"/>
              <a:gd name="connsiteY32" fmla="*/ 561147 h 1978172"/>
              <a:gd name="connsiteX33" fmla="*/ 9186374 w 10768629"/>
              <a:gd name="connsiteY33" fmla="*/ 565502 h 1978172"/>
              <a:gd name="connsiteX34" fmla="*/ 9181058 w 10768629"/>
              <a:gd name="connsiteY34" fmla="*/ 569943 h 1978172"/>
              <a:gd name="connsiteX35" fmla="*/ 9179948 w 10768629"/>
              <a:gd name="connsiteY35" fmla="*/ 576062 h 1978172"/>
              <a:gd name="connsiteX36" fmla="*/ 9149110 w 10768629"/>
              <a:gd name="connsiteY36" fmla="*/ 598906 h 1978172"/>
              <a:gd name="connsiteX37" fmla="*/ 9078556 w 10768629"/>
              <a:gd name="connsiteY37" fmla="*/ 644039 h 1978172"/>
              <a:gd name="connsiteX38" fmla="*/ 8996399 w 10768629"/>
              <a:gd name="connsiteY38" fmla="*/ 690055 h 1978172"/>
              <a:gd name="connsiteX39" fmla="*/ 8803791 w 10768629"/>
              <a:gd name="connsiteY39" fmla="*/ 813860 h 1978172"/>
              <a:gd name="connsiteX40" fmla="*/ 8636202 w 10768629"/>
              <a:gd name="connsiteY40" fmla="*/ 848463 h 1978172"/>
              <a:gd name="connsiteX41" fmla="*/ 8555372 w 10768629"/>
              <a:gd name="connsiteY41" fmla="*/ 883171 h 1978172"/>
              <a:gd name="connsiteX42" fmla="*/ 8507229 w 10768629"/>
              <a:gd name="connsiteY42" fmla="*/ 901665 h 1978172"/>
              <a:gd name="connsiteX43" fmla="*/ 8428473 w 10768629"/>
              <a:gd name="connsiteY43" fmla="*/ 927985 h 1978172"/>
              <a:gd name="connsiteX44" fmla="*/ 8427914 w 10768629"/>
              <a:gd name="connsiteY44" fmla="*/ 933480 h 1978172"/>
              <a:gd name="connsiteX45" fmla="*/ 8420327 w 10768629"/>
              <a:gd name="connsiteY45" fmla="*/ 941984 h 1978172"/>
              <a:gd name="connsiteX46" fmla="*/ 8407128 w 10768629"/>
              <a:gd name="connsiteY46" fmla="*/ 961344 h 1978172"/>
              <a:gd name="connsiteX47" fmla="*/ 8380548 w 10768629"/>
              <a:gd name="connsiteY47" fmla="*/ 987916 h 1978172"/>
              <a:gd name="connsiteX48" fmla="*/ 8379462 w 10768629"/>
              <a:gd name="connsiteY48" fmla="*/ 987106 h 1978172"/>
              <a:gd name="connsiteX49" fmla="*/ 8369725 w 10768629"/>
              <a:gd name="connsiteY49" fmla="*/ 989186 h 1978172"/>
              <a:gd name="connsiteX50" fmla="*/ 8304438 w 10768629"/>
              <a:gd name="connsiteY50" fmla="*/ 996739 h 1978172"/>
              <a:gd name="connsiteX51" fmla="*/ 8280929 w 10768629"/>
              <a:gd name="connsiteY51" fmla="*/ 1023089 h 1978172"/>
              <a:gd name="connsiteX52" fmla="*/ 8275760 w 10768629"/>
              <a:gd name="connsiteY52" fmla="*/ 1027772 h 1978172"/>
              <a:gd name="connsiteX53" fmla="*/ 8275478 w 10768629"/>
              <a:gd name="connsiteY53" fmla="*/ 1027605 h 1978172"/>
              <a:gd name="connsiteX54" fmla="*/ 8269666 w 10768629"/>
              <a:gd name="connsiteY54" fmla="*/ 1032033 h 1978172"/>
              <a:gd name="connsiteX55" fmla="*/ 8203836 w 10768629"/>
              <a:gd name="connsiteY55" fmla="*/ 1037347 h 1978172"/>
              <a:gd name="connsiteX56" fmla="*/ 8122936 w 10768629"/>
              <a:gd name="connsiteY56" fmla="*/ 1063113 h 1978172"/>
              <a:gd name="connsiteX57" fmla="*/ 8043658 w 10768629"/>
              <a:gd name="connsiteY57" fmla="*/ 1092746 h 1978172"/>
              <a:gd name="connsiteX58" fmla="*/ 8015351 w 10768629"/>
              <a:gd name="connsiteY58" fmla="*/ 1105478 h 1978172"/>
              <a:gd name="connsiteX59" fmla="*/ 7963145 w 10768629"/>
              <a:gd name="connsiteY59" fmla="*/ 1119346 h 1978172"/>
              <a:gd name="connsiteX60" fmla="*/ 7938145 w 10768629"/>
              <a:gd name="connsiteY60" fmla="*/ 1120225 h 1978172"/>
              <a:gd name="connsiteX61" fmla="*/ 7937238 w 10768629"/>
              <a:gd name="connsiteY61" fmla="*/ 1121204 h 1978172"/>
              <a:gd name="connsiteX62" fmla="*/ 7934398 w 10768629"/>
              <a:gd name="connsiteY62" fmla="*/ 1118240 h 1978172"/>
              <a:gd name="connsiteX63" fmla="*/ 7918248 w 10768629"/>
              <a:gd name="connsiteY63" fmla="*/ 1124371 h 1978172"/>
              <a:gd name="connsiteX64" fmla="*/ 7914119 w 10768629"/>
              <a:gd name="connsiteY64" fmla="*/ 1127653 h 1978172"/>
              <a:gd name="connsiteX65" fmla="*/ 7907658 w 10768629"/>
              <a:gd name="connsiteY65" fmla="*/ 1130350 h 1978172"/>
              <a:gd name="connsiteX66" fmla="*/ 7907434 w 10768629"/>
              <a:gd name="connsiteY66" fmla="*/ 1130103 h 1978172"/>
              <a:gd name="connsiteX67" fmla="*/ 7901508 w 10768629"/>
              <a:gd name="connsiteY67" fmla="*/ 1133245 h 1978172"/>
              <a:gd name="connsiteX68" fmla="*/ 7873287 w 10768629"/>
              <a:gd name="connsiteY68" fmla="*/ 1152609 h 1978172"/>
              <a:gd name="connsiteX69" fmla="*/ 7834833 w 10768629"/>
              <a:gd name="connsiteY69" fmla="*/ 1153868 h 1978172"/>
              <a:gd name="connsiteX70" fmla="*/ 7828661 w 10768629"/>
              <a:gd name="connsiteY70" fmla="*/ 1139994 h 1978172"/>
              <a:gd name="connsiteX71" fmla="*/ 7823966 w 10768629"/>
              <a:gd name="connsiteY71" fmla="*/ 1143178 h 1978172"/>
              <a:gd name="connsiteX72" fmla="*/ 7815078 w 10768629"/>
              <a:gd name="connsiteY72" fmla="*/ 1151776 h 1978172"/>
              <a:gd name="connsiteX73" fmla="*/ 7812026 w 10768629"/>
              <a:gd name="connsiteY73" fmla="*/ 1151522 h 1978172"/>
              <a:gd name="connsiteX74" fmla="*/ 7782249 w 10768629"/>
              <a:gd name="connsiteY74" fmla="*/ 1160970 h 1978172"/>
              <a:gd name="connsiteX75" fmla="*/ 7773476 w 10768629"/>
              <a:gd name="connsiteY75" fmla="*/ 1157414 h 1978172"/>
              <a:gd name="connsiteX76" fmla="*/ 7769600 w 10768629"/>
              <a:gd name="connsiteY76" fmla="*/ 1157365 h 1978172"/>
              <a:gd name="connsiteX77" fmla="*/ 7752631 w 10768629"/>
              <a:gd name="connsiteY77" fmla="*/ 1172815 h 1978172"/>
              <a:gd name="connsiteX78" fmla="*/ 7743525 w 10768629"/>
              <a:gd name="connsiteY78" fmla="*/ 1179064 h 1978172"/>
              <a:gd name="connsiteX79" fmla="*/ 7685942 w 10768629"/>
              <a:gd name="connsiteY79" fmla="*/ 1233723 h 1978172"/>
              <a:gd name="connsiteX80" fmla="*/ 7586920 w 10768629"/>
              <a:gd name="connsiteY80" fmla="*/ 1261888 h 1978172"/>
              <a:gd name="connsiteX81" fmla="*/ 7486100 w 10768629"/>
              <a:gd name="connsiteY81" fmla="*/ 1292563 h 1978172"/>
              <a:gd name="connsiteX82" fmla="*/ 7407190 w 10768629"/>
              <a:gd name="connsiteY82" fmla="*/ 1314737 h 1978172"/>
              <a:gd name="connsiteX83" fmla="*/ 7240698 w 10768629"/>
              <a:gd name="connsiteY83" fmla="*/ 1438832 h 1978172"/>
              <a:gd name="connsiteX84" fmla="*/ 7197675 w 10768629"/>
              <a:gd name="connsiteY84" fmla="*/ 1447530 h 1978172"/>
              <a:gd name="connsiteX85" fmla="*/ 7164788 w 10768629"/>
              <a:gd name="connsiteY85" fmla="*/ 1480293 h 1978172"/>
              <a:gd name="connsiteX86" fmla="*/ 7147929 w 10768629"/>
              <a:gd name="connsiteY86" fmla="*/ 1477641 h 1978172"/>
              <a:gd name="connsiteX87" fmla="*/ 7144965 w 10768629"/>
              <a:gd name="connsiteY87" fmla="*/ 1476908 h 1978172"/>
              <a:gd name="connsiteX88" fmla="*/ 7134299 w 10768629"/>
              <a:gd name="connsiteY88" fmla="*/ 1479969 h 1978172"/>
              <a:gd name="connsiteX89" fmla="*/ 7129809 w 10768629"/>
              <a:gd name="connsiteY89" fmla="*/ 1473339 h 1978172"/>
              <a:gd name="connsiteX90" fmla="*/ 7112688 w 10768629"/>
              <a:gd name="connsiteY90" fmla="*/ 1472575 h 1978172"/>
              <a:gd name="connsiteX91" fmla="*/ 7093470 w 10768629"/>
              <a:gd name="connsiteY91" fmla="*/ 1480300 h 1978172"/>
              <a:gd name="connsiteX92" fmla="*/ 7025034 w 10768629"/>
              <a:gd name="connsiteY92" fmla="*/ 1506934 h 1978172"/>
              <a:gd name="connsiteX93" fmla="*/ 7014783 w 10768629"/>
              <a:gd name="connsiteY93" fmla="*/ 1515868 h 1978172"/>
              <a:gd name="connsiteX94" fmla="*/ 6979706 w 10768629"/>
              <a:gd name="connsiteY94" fmla="*/ 1523511 h 1978172"/>
              <a:gd name="connsiteX95" fmla="*/ 6977890 w 10768629"/>
              <a:gd name="connsiteY95" fmla="*/ 1525793 h 1978172"/>
              <a:gd name="connsiteX96" fmla="*/ 6944339 w 10768629"/>
              <a:gd name="connsiteY96" fmla="*/ 1536237 h 1978172"/>
              <a:gd name="connsiteX97" fmla="*/ 6886996 w 10768629"/>
              <a:gd name="connsiteY97" fmla="*/ 1563569 h 1978172"/>
              <a:gd name="connsiteX98" fmla="*/ 6874510 w 10768629"/>
              <a:gd name="connsiteY98" fmla="*/ 1558469 h 1978172"/>
              <a:gd name="connsiteX99" fmla="*/ 6871943 w 10768629"/>
              <a:gd name="connsiteY99" fmla="*/ 1554651 h 1978172"/>
              <a:gd name="connsiteX100" fmla="*/ 6856174 w 10768629"/>
              <a:gd name="connsiteY100" fmla="*/ 1562024 h 1978172"/>
              <a:gd name="connsiteX101" fmla="*/ 6842321 w 10768629"/>
              <a:gd name="connsiteY101" fmla="*/ 1560554 h 1978172"/>
              <a:gd name="connsiteX102" fmla="*/ 6832713 w 10768629"/>
              <a:gd name="connsiteY102" fmla="*/ 1569357 h 1978172"/>
              <a:gd name="connsiteX103" fmla="*/ 6816351 w 10768629"/>
              <a:gd name="connsiteY103" fmla="*/ 1571495 h 1978172"/>
              <a:gd name="connsiteX104" fmla="*/ 6795800 w 10768629"/>
              <a:gd name="connsiteY104" fmla="*/ 1572010 h 1978172"/>
              <a:gd name="connsiteX105" fmla="*/ 6777546 w 10768629"/>
              <a:gd name="connsiteY105" fmla="*/ 1568661 h 1978172"/>
              <a:gd name="connsiteX106" fmla="*/ 6751528 w 10768629"/>
              <a:gd name="connsiteY106" fmla="*/ 1574143 h 1978172"/>
              <a:gd name="connsiteX107" fmla="*/ 6691966 w 10768629"/>
              <a:gd name="connsiteY107" fmla="*/ 1582255 h 1978172"/>
              <a:gd name="connsiteX108" fmla="*/ 6646941 w 10768629"/>
              <a:gd name="connsiteY108" fmla="*/ 1588471 h 1978172"/>
              <a:gd name="connsiteX109" fmla="*/ 6568576 w 10768629"/>
              <a:gd name="connsiteY109" fmla="*/ 1606488 h 1978172"/>
              <a:gd name="connsiteX110" fmla="*/ 6554358 w 10768629"/>
              <a:gd name="connsiteY110" fmla="*/ 1621701 h 1978172"/>
              <a:gd name="connsiteX111" fmla="*/ 6516968 w 10768629"/>
              <a:gd name="connsiteY111" fmla="*/ 1617195 h 1978172"/>
              <a:gd name="connsiteX112" fmla="*/ 6506479 w 10768629"/>
              <a:gd name="connsiteY112" fmla="*/ 1602227 h 1978172"/>
              <a:gd name="connsiteX113" fmla="*/ 6458436 w 10768629"/>
              <a:gd name="connsiteY113" fmla="*/ 1607332 h 1978172"/>
              <a:gd name="connsiteX114" fmla="*/ 6414786 w 10768629"/>
              <a:gd name="connsiteY114" fmla="*/ 1628815 h 1978172"/>
              <a:gd name="connsiteX115" fmla="*/ 6357085 w 10768629"/>
              <a:gd name="connsiteY115" fmla="*/ 1640846 h 1978172"/>
              <a:gd name="connsiteX116" fmla="*/ 6322636 w 10768629"/>
              <a:gd name="connsiteY116" fmla="*/ 1648213 h 1978172"/>
              <a:gd name="connsiteX117" fmla="*/ 6226172 w 10768629"/>
              <a:gd name="connsiteY117" fmla="*/ 1654676 h 1978172"/>
              <a:gd name="connsiteX118" fmla="*/ 6221217 w 10768629"/>
              <a:gd name="connsiteY118" fmla="*/ 1654506 h 1978172"/>
              <a:gd name="connsiteX119" fmla="*/ 6204956 w 10768629"/>
              <a:gd name="connsiteY119" fmla="*/ 1664280 h 1978172"/>
              <a:gd name="connsiteX120" fmla="*/ 6204270 w 10768629"/>
              <a:gd name="connsiteY120" fmla="*/ 1666782 h 1978172"/>
              <a:gd name="connsiteX121" fmla="*/ 6143810 w 10768629"/>
              <a:gd name="connsiteY121" fmla="*/ 1661963 h 1978172"/>
              <a:gd name="connsiteX122" fmla="*/ 6136560 w 10768629"/>
              <a:gd name="connsiteY122" fmla="*/ 1665728 h 1978172"/>
              <a:gd name="connsiteX123" fmla="*/ 6096155 w 10768629"/>
              <a:gd name="connsiteY123" fmla="*/ 1656951 h 1978172"/>
              <a:gd name="connsiteX124" fmla="*/ 6075812 w 10768629"/>
              <a:gd name="connsiteY124" fmla="*/ 1655422 h 1978172"/>
              <a:gd name="connsiteX125" fmla="*/ 6039495 w 10768629"/>
              <a:gd name="connsiteY125" fmla="*/ 1649680 h 1978172"/>
              <a:gd name="connsiteX126" fmla="*/ 6036523 w 10768629"/>
              <a:gd name="connsiteY126" fmla="*/ 1652121 h 1978172"/>
              <a:gd name="connsiteX127" fmla="*/ 6029328 w 10768629"/>
              <a:gd name="connsiteY127" fmla="*/ 1649904 h 1978172"/>
              <a:gd name="connsiteX128" fmla="*/ 6024075 w 10768629"/>
              <a:gd name="connsiteY128" fmla="*/ 1652779 h 1978172"/>
              <a:gd name="connsiteX129" fmla="*/ 6018085 w 10768629"/>
              <a:gd name="connsiteY129" fmla="*/ 1652030 h 1978172"/>
              <a:gd name="connsiteX130" fmla="*/ 5955513 w 10768629"/>
              <a:gd name="connsiteY130" fmla="*/ 1663584 h 1978172"/>
              <a:gd name="connsiteX131" fmla="*/ 5941996 w 10768629"/>
              <a:gd name="connsiteY131" fmla="*/ 1661326 h 1978172"/>
              <a:gd name="connsiteX132" fmla="*/ 5931789 w 10768629"/>
              <a:gd name="connsiteY132" fmla="*/ 1669915 h 1978172"/>
              <a:gd name="connsiteX133" fmla="*/ 5888686 w 10768629"/>
              <a:gd name="connsiteY133" fmla="*/ 1672175 h 1978172"/>
              <a:gd name="connsiteX134" fmla="*/ 5873794 w 10768629"/>
              <a:gd name="connsiteY134" fmla="*/ 1665454 h 1978172"/>
              <a:gd name="connsiteX135" fmla="*/ 5860022 w 10768629"/>
              <a:gd name="connsiteY135" fmla="*/ 1660635 h 1978172"/>
              <a:gd name="connsiteX136" fmla="*/ 5858237 w 10768629"/>
              <a:gd name="connsiteY136" fmla="*/ 1660649 h 1978172"/>
              <a:gd name="connsiteX137" fmla="*/ 5840319 w 10768629"/>
              <a:gd name="connsiteY137" fmla="*/ 1660798 h 1978172"/>
              <a:gd name="connsiteX138" fmla="*/ 5806984 w 10768629"/>
              <a:gd name="connsiteY138" fmla="*/ 1661075 h 1978172"/>
              <a:gd name="connsiteX139" fmla="*/ 5742351 w 10768629"/>
              <a:gd name="connsiteY139" fmla="*/ 1667489 h 1978172"/>
              <a:gd name="connsiteX140" fmla="*/ 5521171 w 10768629"/>
              <a:gd name="connsiteY140" fmla="*/ 1671626 h 1978172"/>
              <a:gd name="connsiteX141" fmla="*/ 5457384 w 10768629"/>
              <a:gd name="connsiteY141" fmla="*/ 1683952 h 1978172"/>
              <a:gd name="connsiteX142" fmla="*/ 4950070 w 10768629"/>
              <a:gd name="connsiteY142" fmla="*/ 1748401 h 1978172"/>
              <a:gd name="connsiteX143" fmla="*/ 4872172 w 10768629"/>
              <a:gd name="connsiteY143" fmla="*/ 1757222 h 1978172"/>
              <a:gd name="connsiteX144" fmla="*/ 4809524 w 10768629"/>
              <a:gd name="connsiteY144" fmla="*/ 1761033 h 1978172"/>
              <a:gd name="connsiteX145" fmla="*/ 4759058 w 10768629"/>
              <a:gd name="connsiteY145" fmla="*/ 1766533 h 1978172"/>
              <a:gd name="connsiteX146" fmla="*/ 4719749 w 10768629"/>
              <a:gd name="connsiteY146" fmla="*/ 1771811 h 1978172"/>
              <a:gd name="connsiteX147" fmla="*/ 4568686 w 10768629"/>
              <a:gd name="connsiteY147" fmla="*/ 1786141 h 1978172"/>
              <a:gd name="connsiteX148" fmla="*/ 4418751 w 10768629"/>
              <a:gd name="connsiteY148" fmla="*/ 1796932 h 1978172"/>
              <a:gd name="connsiteX149" fmla="*/ 4378377 w 10768629"/>
              <a:gd name="connsiteY149" fmla="*/ 1815528 h 1978172"/>
              <a:gd name="connsiteX150" fmla="*/ 4320575 w 10768629"/>
              <a:gd name="connsiteY150" fmla="*/ 1832722 h 1978172"/>
              <a:gd name="connsiteX151" fmla="*/ 4220200 w 10768629"/>
              <a:gd name="connsiteY151" fmla="*/ 1873173 h 1978172"/>
              <a:gd name="connsiteX152" fmla="*/ 4105361 w 10768629"/>
              <a:gd name="connsiteY152" fmla="*/ 1894711 h 1978172"/>
              <a:gd name="connsiteX153" fmla="*/ 3973223 w 10768629"/>
              <a:gd name="connsiteY153" fmla="*/ 1881015 h 1978172"/>
              <a:gd name="connsiteX154" fmla="*/ 3900992 w 10768629"/>
              <a:gd name="connsiteY154" fmla="*/ 1880603 h 1978172"/>
              <a:gd name="connsiteX155" fmla="*/ 3662119 w 10768629"/>
              <a:gd name="connsiteY155" fmla="*/ 1889285 h 1978172"/>
              <a:gd name="connsiteX156" fmla="*/ 3496919 w 10768629"/>
              <a:gd name="connsiteY156" fmla="*/ 1873180 h 1978172"/>
              <a:gd name="connsiteX157" fmla="*/ 3449433 w 10768629"/>
              <a:gd name="connsiteY157" fmla="*/ 1889681 h 1978172"/>
              <a:gd name="connsiteX158" fmla="*/ 3369766 w 10768629"/>
              <a:gd name="connsiteY158" fmla="*/ 1916653 h 1978172"/>
              <a:gd name="connsiteX159" fmla="*/ 3269672 w 10768629"/>
              <a:gd name="connsiteY159" fmla="*/ 1938036 h 1978172"/>
              <a:gd name="connsiteX160" fmla="*/ 3224897 w 10768629"/>
              <a:gd name="connsiteY160" fmla="*/ 1943733 h 1978172"/>
              <a:gd name="connsiteX161" fmla="*/ 3161463 w 10768629"/>
              <a:gd name="connsiteY161" fmla="*/ 1946591 h 1978172"/>
              <a:gd name="connsiteX162" fmla="*/ 3112044 w 10768629"/>
              <a:gd name="connsiteY162" fmla="*/ 1935614 h 1978172"/>
              <a:gd name="connsiteX163" fmla="*/ 3069716 w 10768629"/>
              <a:gd name="connsiteY163" fmla="*/ 1930463 h 1978172"/>
              <a:gd name="connsiteX164" fmla="*/ 3005773 w 10768629"/>
              <a:gd name="connsiteY164" fmla="*/ 1915878 h 1978172"/>
              <a:gd name="connsiteX165" fmla="*/ 2897201 w 10768629"/>
              <a:gd name="connsiteY165" fmla="*/ 1926772 h 1978172"/>
              <a:gd name="connsiteX166" fmla="*/ 2783891 w 10768629"/>
              <a:gd name="connsiteY166" fmla="*/ 1931749 h 1978172"/>
              <a:gd name="connsiteX167" fmla="*/ 2712447 w 10768629"/>
              <a:gd name="connsiteY167" fmla="*/ 1933044 h 1978172"/>
              <a:gd name="connsiteX168" fmla="*/ 2560151 w 10768629"/>
              <a:gd name="connsiteY168" fmla="*/ 1963609 h 1978172"/>
              <a:gd name="connsiteX169" fmla="*/ 2367221 w 10768629"/>
              <a:gd name="connsiteY169" fmla="*/ 1971884 h 1978172"/>
              <a:gd name="connsiteX170" fmla="*/ 2272130 w 10768629"/>
              <a:gd name="connsiteY170" fmla="*/ 1961162 h 1978172"/>
              <a:gd name="connsiteX171" fmla="*/ 2189404 w 10768629"/>
              <a:gd name="connsiteY171" fmla="*/ 1978172 h 1978172"/>
              <a:gd name="connsiteX172" fmla="*/ 2077704 w 10768629"/>
              <a:gd name="connsiteY172" fmla="*/ 1965002 h 1978172"/>
              <a:gd name="connsiteX173" fmla="*/ 2033299 w 10768629"/>
              <a:gd name="connsiteY173" fmla="*/ 1969042 h 1978172"/>
              <a:gd name="connsiteX174" fmla="*/ 1967996 w 10768629"/>
              <a:gd name="connsiteY174" fmla="*/ 1953187 h 1978172"/>
              <a:gd name="connsiteX175" fmla="*/ 1855805 w 10768629"/>
              <a:gd name="connsiteY175" fmla="*/ 1926082 h 1978172"/>
              <a:gd name="connsiteX176" fmla="*/ 1790957 w 10768629"/>
              <a:gd name="connsiteY176" fmla="*/ 1919460 h 1978172"/>
              <a:gd name="connsiteX177" fmla="*/ 1613978 w 10768629"/>
              <a:gd name="connsiteY177" fmla="*/ 1891581 h 1978172"/>
              <a:gd name="connsiteX178" fmla="*/ 1436831 w 10768629"/>
              <a:gd name="connsiteY178" fmla="*/ 1856201 h 1978172"/>
              <a:gd name="connsiteX179" fmla="*/ 1357365 w 10768629"/>
              <a:gd name="connsiteY179" fmla="*/ 1832140 h 1978172"/>
              <a:gd name="connsiteX180" fmla="*/ 1232341 w 10768629"/>
              <a:gd name="connsiteY180" fmla="*/ 1785942 h 1978172"/>
              <a:gd name="connsiteX181" fmla="*/ 1162595 w 10768629"/>
              <a:gd name="connsiteY181" fmla="*/ 1758337 h 1978172"/>
              <a:gd name="connsiteX182" fmla="*/ 1128523 w 10768629"/>
              <a:gd name="connsiteY182" fmla="*/ 1763621 h 1978172"/>
              <a:gd name="connsiteX183" fmla="*/ 991903 w 10768629"/>
              <a:gd name="connsiteY183" fmla="*/ 1786741 h 1978172"/>
              <a:gd name="connsiteX184" fmla="*/ 883960 w 10768629"/>
              <a:gd name="connsiteY184" fmla="*/ 1822386 h 1978172"/>
              <a:gd name="connsiteX185" fmla="*/ 766531 w 10768629"/>
              <a:gd name="connsiteY185" fmla="*/ 1805053 h 1978172"/>
              <a:gd name="connsiteX186" fmla="*/ 669779 w 10768629"/>
              <a:gd name="connsiteY186" fmla="*/ 1800537 h 1978172"/>
              <a:gd name="connsiteX187" fmla="*/ 523898 w 10768629"/>
              <a:gd name="connsiteY187" fmla="*/ 1811085 h 1978172"/>
              <a:gd name="connsiteX188" fmla="*/ 360251 w 10768629"/>
              <a:gd name="connsiteY188" fmla="*/ 1830735 h 1978172"/>
              <a:gd name="connsiteX189" fmla="*/ 255207 w 10768629"/>
              <a:gd name="connsiteY189" fmla="*/ 1818275 h 1978172"/>
              <a:gd name="connsiteX190" fmla="*/ 101803 w 10768629"/>
              <a:gd name="connsiteY190" fmla="*/ 1870647 h 1978172"/>
              <a:gd name="connsiteX191" fmla="*/ 25397 w 10768629"/>
              <a:gd name="connsiteY191" fmla="*/ 1888443 h 1978172"/>
              <a:gd name="connsiteX192" fmla="*/ 2370 w 10768629"/>
              <a:gd name="connsiteY192" fmla="*/ 1878311 h 1978172"/>
              <a:gd name="connsiteX193" fmla="*/ 0 w 10768629"/>
              <a:gd name="connsiteY193" fmla="*/ 1878785 h 1978172"/>
              <a:gd name="connsiteX194" fmla="*/ 0 w 10768629"/>
              <a:gd name="connsiteY194" fmla="*/ 0 h 1978172"/>
              <a:gd name="connsiteX0" fmla="*/ 0 w 10768629"/>
              <a:gd name="connsiteY0" fmla="*/ 0 h 1978172"/>
              <a:gd name="connsiteX1" fmla="*/ 10768629 w 10768629"/>
              <a:gd name="connsiteY1" fmla="*/ 0 h 1978172"/>
              <a:gd name="connsiteX2" fmla="*/ 10733254 w 10768629"/>
              <a:gd name="connsiteY2" fmla="*/ 31439 h 1978172"/>
              <a:gd name="connsiteX3" fmla="*/ 10727085 w 10768629"/>
              <a:gd name="connsiteY3" fmla="*/ 37910 h 1978172"/>
              <a:gd name="connsiteX4" fmla="*/ 10675953 w 10768629"/>
              <a:gd name="connsiteY4" fmla="*/ 68623 h 1978172"/>
              <a:gd name="connsiteX5" fmla="*/ 10637091 w 10768629"/>
              <a:gd name="connsiteY5" fmla="*/ 90361 h 1978172"/>
              <a:gd name="connsiteX6" fmla="*/ 10610971 w 10768629"/>
              <a:gd name="connsiteY6" fmla="*/ 110764 h 1978172"/>
              <a:gd name="connsiteX7" fmla="*/ 10532872 w 10768629"/>
              <a:gd name="connsiteY7" fmla="*/ 138028 h 1978172"/>
              <a:gd name="connsiteX8" fmla="*/ 10398558 w 10768629"/>
              <a:gd name="connsiteY8" fmla="*/ 172911 h 1978172"/>
              <a:gd name="connsiteX9" fmla="*/ 10371128 w 10768629"/>
              <a:gd name="connsiteY9" fmla="*/ 182609 h 1978172"/>
              <a:gd name="connsiteX10" fmla="*/ 10352178 w 10768629"/>
              <a:gd name="connsiteY10" fmla="*/ 199976 h 1978172"/>
              <a:gd name="connsiteX11" fmla="*/ 10351815 w 10768629"/>
              <a:gd name="connsiteY11" fmla="*/ 211879 h 1978172"/>
              <a:gd name="connsiteX12" fmla="*/ 10337471 w 10768629"/>
              <a:gd name="connsiteY12" fmla="*/ 218661 h 1978172"/>
              <a:gd name="connsiteX13" fmla="*/ 10334625 w 10768629"/>
              <a:gd name="connsiteY13" fmla="*/ 222351 h 1978172"/>
              <a:gd name="connsiteX14" fmla="*/ 10256365 w 10768629"/>
              <a:gd name="connsiteY14" fmla="*/ 235917 h 1978172"/>
              <a:gd name="connsiteX15" fmla="*/ 10201127 w 10768629"/>
              <a:gd name="connsiteY15" fmla="*/ 267448 h 1978172"/>
              <a:gd name="connsiteX16" fmla="*/ 9961218 w 10768629"/>
              <a:gd name="connsiteY16" fmla="*/ 326720 h 1978172"/>
              <a:gd name="connsiteX17" fmla="*/ 9859715 w 10768629"/>
              <a:gd name="connsiteY17" fmla="*/ 355698 h 1978172"/>
              <a:gd name="connsiteX18" fmla="*/ 9679867 w 10768629"/>
              <a:gd name="connsiteY18" fmla="*/ 399081 h 1978172"/>
              <a:gd name="connsiteX19" fmla="*/ 9490654 w 10768629"/>
              <a:gd name="connsiteY19" fmla="*/ 455225 h 1978172"/>
              <a:gd name="connsiteX20" fmla="*/ 9470837 w 10768629"/>
              <a:gd name="connsiteY20" fmla="*/ 452539 h 1978172"/>
              <a:gd name="connsiteX21" fmla="*/ 9469082 w 10768629"/>
              <a:gd name="connsiteY21" fmla="*/ 454891 h 1978172"/>
              <a:gd name="connsiteX22" fmla="*/ 9448038 w 10768629"/>
              <a:gd name="connsiteY22" fmla="*/ 459733 h 1978172"/>
              <a:gd name="connsiteX23" fmla="*/ 9396821 w 10768629"/>
              <a:gd name="connsiteY23" fmla="*/ 455795 h 1978172"/>
              <a:gd name="connsiteX24" fmla="*/ 9392197 w 10768629"/>
              <a:gd name="connsiteY24" fmla="*/ 459796 h 1978172"/>
              <a:gd name="connsiteX25" fmla="*/ 9347994 w 10768629"/>
              <a:gd name="connsiteY25" fmla="*/ 464462 h 1978172"/>
              <a:gd name="connsiteX26" fmla="*/ 9347889 w 10768629"/>
              <a:gd name="connsiteY26" fmla="*/ 466539 h 1978172"/>
              <a:gd name="connsiteX27" fmla="*/ 9337639 w 10768629"/>
              <a:gd name="connsiteY27" fmla="*/ 476654 h 1978172"/>
              <a:gd name="connsiteX28" fmla="*/ 9316893 w 10768629"/>
              <a:gd name="connsiteY28" fmla="*/ 491390 h 1978172"/>
              <a:gd name="connsiteX29" fmla="*/ 9229283 w 10768629"/>
              <a:gd name="connsiteY29" fmla="*/ 555377 h 1978172"/>
              <a:gd name="connsiteX30" fmla="*/ 9220274 w 10768629"/>
              <a:gd name="connsiteY30" fmla="*/ 557502 h 1978172"/>
              <a:gd name="connsiteX31" fmla="*/ 9220202 w 10768629"/>
              <a:gd name="connsiteY31" fmla="*/ 558001 h 1978172"/>
              <a:gd name="connsiteX32" fmla="*/ 9210908 w 10768629"/>
              <a:gd name="connsiteY32" fmla="*/ 561147 h 1978172"/>
              <a:gd name="connsiteX33" fmla="*/ 9186374 w 10768629"/>
              <a:gd name="connsiteY33" fmla="*/ 565502 h 1978172"/>
              <a:gd name="connsiteX34" fmla="*/ 9181058 w 10768629"/>
              <a:gd name="connsiteY34" fmla="*/ 569943 h 1978172"/>
              <a:gd name="connsiteX35" fmla="*/ 9179948 w 10768629"/>
              <a:gd name="connsiteY35" fmla="*/ 576062 h 1978172"/>
              <a:gd name="connsiteX36" fmla="*/ 9149110 w 10768629"/>
              <a:gd name="connsiteY36" fmla="*/ 598906 h 1978172"/>
              <a:gd name="connsiteX37" fmla="*/ 9078556 w 10768629"/>
              <a:gd name="connsiteY37" fmla="*/ 644039 h 1978172"/>
              <a:gd name="connsiteX38" fmla="*/ 8996399 w 10768629"/>
              <a:gd name="connsiteY38" fmla="*/ 690055 h 1978172"/>
              <a:gd name="connsiteX39" fmla="*/ 8803791 w 10768629"/>
              <a:gd name="connsiteY39" fmla="*/ 813860 h 1978172"/>
              <a:gd name="connsiteX40" fmla="*/ 8636202 w 10768629"/>
              <a:gd name="connsiteY40" fmla="*/ 848463 h 1978172"/>
              <a:gd name="connsiteX41" fmla="*/ 8555372 w 10768629"/>
              <a:gd name="connsiteY41" fmla="*/ 883171 h 1978172"/>
              <a:gd name="connsiteX42" fmla="*/ 8507229 w 10768629"/>
              <a:gd name="connsiteY42" fmla="*/ 901665 h 1978172"/>
              <a:gd name="connsiteX43" fmla="*/ 8428473 w 10768629"/>
              <a:gd name="connsiteY43" fmla="*/ 927985 h 1978172"/>
              <a:gd name="connsiteX44" fmla="*/ 8427914 w 10768629"/>
              <a:gd name="connsiteY44" fmla="*/ 933480 h 1978172"/>
              <a:gd name="connsiteX45" fmla="*/ 8420327 w 10768629"/>
              <a:gd name="connsiteY45" fmla="*/ 941984 h 1978172"/>
              <a:gd name="connsiteX46" fmla="*/ 8407128 w 10768629"/>
              <a:gd name="connsiteY46" fmla="*/ 961344 h 1978172"/>
              <a:gd name="connsiteX47" fmla="*/ 8380548 w 10768629"/>
              <a:gd name="connsiteY47" fmla="*/ 987916 h 1978172"/>
              <a:gd name="connsiteX48" fmla="*/ 8379462 w 10768629"/>
              <a:gd name="connsiteY48" fmla="*/ 987106 h 1978172"/>
              <a:gd name="connsiteX49" fmla="*/ 8369725 w 10768629"/>
              <a:gd name="connsiteY49" fmla="*/ 989186 h 1978172"/>
              <a:gd name="connsiteX50" fmla="*/ 8304438 w 10768629"/>
              <a:gd name="connsiteY50" fmla="*/ 996739 h 1978172"/>
              <a:gd name="connsiteX51" fmla="*/ 8280929 w 10768629"/>
              <a:gd name="connsiteY51" fmla="*/ 1023089 h 1978172"/>
              <a:gd name="connsiteX52" fmla="*/ 8275760 w 10768629"/>
              <a:gd name="connsiteY52" fmla="*/ 1027772 h 1978172"/>
              <a:gd name="connsiteX53" fmla="*/ 8275478 w 10768629"/>
              <a:gd name="connsiteY53" fmla="*/ 1027605 h 1978172"/>
              <a:gd name="connsiteX54" fmla="*/ 8269666 w 10768629"/>
              <a:gd name="connsiteY54" fmla="*/ 1032033 h 1978172"/>
              <a:gd name="connsiteX55" fmla="*/ 8203836 w 10768629"/>
              <a:gd name="connsiteY55" fmla="*/ 1037347 h 1978172"/>
              <a:gd name="connsiteX56" fmla="*/ 8122936 w 10768629"/>
              <a:gd name="connsiteY56" fmla="*/ 1063113 h 1978172"/>
              <a:gd name="connsiteX57" fmla="*/ 8043658 w 10768629"/>
              <a:gd name="connsiteY57" fmla="*/ 1092746 h 1978172"/>
              <a:gd name="connsiteX58" fmla="*/ 8015351 w 10768629"/>
              <a:gd name="connsiteY58" fmla="*/ 1105478 h 1978172"/>
              <a:gd name="connsiteX59" fmla="*/ 7963145 w 10768629"/>
              <a:gd name="connsiteY59" fmla="*/ 1119346 h 1978172"/>
              <a:gd name="connsiteX60" fmla="*/ 7938145 w 10768629"/>
              <a:gd name="connsiteY60" fmla="*/ 1120225 h 1978172"/>
              <a:gd name="connsiteX61" fmla="*/ 7937238 w 10768629"/>
              <a:gd name="connsiteY61" fmla="*/ 1121204 h 1978172"/>
              <a:gd name="connsiteX62" fmla="*/ 7934398 w 10768629"/>
              <a:gd name="connsiteY62" fmla="*/ 1118240 h 1978172"/>
              <a:gd name="connsiteX63" fmla="*/ 7918248 w 10768629"/>
              <a:gd name="connsiteY63" fmla="*/ 1124371 h 1978172"/>
              <a:gd name="connsiteX64" fmla="*/ 7914119 w 10768629"/>
              <a:gd name="connsiteY64" fmla="*/ 1127653 h 1978172"/>
              <a:gd name="connsiteX65" fmla="*/ 7907658 w 10768629"/>
              <a:gd name="connsiteY65" fmla="*/ 1130350 h 1978172"/>
              <a:gd name="connsiteX66" fmla="*/ 7907434 w 10768629"/>
              <a:gd name="connsiteY66" fmla="*/ 1130103 h 1978172"/>
              <a:gd name="connsiteX67" fmla="*/ 7901508 w 10768629"/>
              <a:gd name="connsiteY67" fmla="*/ 1133245 h 1978172"/>
              <a:gd name="connsiteX68" fmla="*/ 7873287 w 10768629"/>
              <a:gd name="connsiteY68" fmla="*/ 1152609 h 1978172"/>
              <a:gd name="connsiteX69" fmla="*/ 7834833 w 10768629"/>
              <a:gd name="connsiteY69" fmla="*/ 1153868 h 1978172"/>
              <a:gd name="connsiteX70" fmla="*/ 7828661 w 10768629"/>
              <a:gd name="connsiteY70" fmla="*/ 1139994 h 1978172"/>
              <a:gd name="connsiteX71" fmla="*/ 7823966 w 10768629"/>
              <a:gd name="connsiteY71" fmla="*/ 1143178 h 1978172"/>
              <a:gd name="connsiteX72" fmla="*/ 7815078 w 10768629"/>
              <a:gd name="connsiteY72" fmla="*/ 1151776 h 1978172"/>
              <a:gd name="connsiteX73" fmla="*/ 7812026 w 10768629"/>
              <a:gd name="connsiteY73" fmla="*/ 1151522 h 1978172"/>
              <a:gd name="connsiteX74" fmla="*/ 7782249 w 10768629"/>
              <a:gd name="connsiteY74" fmla="*/ 1160970 h 1978172"/>
              <a:gd name="connsiteX75" fmla="*/ 7773476 w 10768629"/>
              <a:gd name="connsiteY75" fmla="*/ 1157414 h 1978172"/>
              <a:gd name="connsiteX76" fmla="*/ 7769600 w 10768629"/>
              <a:gd name="connsiteY76" fmla="*/ 1157365 h 1978172"/>
              <a:gd name="connsiteX77" fmla="*/ 7752631 w 10768629"/>
              <a:gd name="connsiteY77" fmla="*/ 1172815 h 1978172"/>
              <a:gd name="connsiteX78" fmla="*/ 7743525 w 10768629"/>
              <a:gd name="connsiteY78" fmla="*/ 1179064 h 1978172"/>
              <a:gd name="connsiteX79" fmla="*/ 7685942 w 10768629"/>
              <a:gd name="connsiteY79" fmla="*/ 1233723 h 1978172"/>
              <a:gd name="connsiteX80" fmla="*/ 7586920 w 10768629"/>
              <a:gd name="connsiteY80" fmla="*/ 1261888 h 1978172"/>
              <a:gd name="connsiteX81" fmla="*/ 7486100 w 10768629"/>
              <a:gd name="connsiteY81" fmla="*/ 1292563 h 1978172"/>
              <a:gd name="connsiteX82" fmla="*/ 7407190 w 10768629"/>
              <a:gd name="connsiteY82" fmla="*/ 1314737 h 1978172"/>
              <a:gd name="connsiteX83" fmla="*/ 7240698 w 10768629"/>
              <a:gd name="connsiteY83" fmla="*/ 1438832 h 1978172"/>
              <a:gd name="connsiteX84" fmla="*/ 7197675 w 10768629"/>
              <a:gd name="connsiteY84" fmla="*/ 1447530 h 1978172"/>
              <a:gd name="connsiteX85" fmla="*/ 7164788 w 10768629"/>
              <a:gd name="connsiteY85" fmla="*/ 1480293 h 1978172"/>
              <a:gd name="connsiteX86" fmla="*/ 7147929 w 10768629"/>
              <a:gd name="connsiteY86" fmla="*/ 1477641 h 1978172"/>
              <a:gd name="connsiteX87" fmla="*/ 7144965 w 10768629"/>
              <a:gd name="connsiteY87" fmla="*/ 1476908 h 1978172"/>
              <a:gd name="connsiteX88" fmla="*/ 7134299 w 10768629"/>
              <a:gd name="connsiteY88" fmla="*/ 1479969 h 1978172"/>
              <a:gd name="connsiteX89" fmla="*/ 7129809 w 10768629"/>
              <a:gd name="connsiteY89" fmla="*/ 1473339 h 1978172"/>
              <a:gd name="connsiteX90" fmla="*/ 7112688 w 10768629"/>
              <a:gd name="connsiteY90" fmla="*/ 1472575 h 1978172"/>
              <a:gd name="connsiteX91" fmla="*/ 7093470 w 10768629"/>
              <a:gd name="connsiteY91" fmla="*/ 1480300 h 1978172"/>
              <a:gd name="connsiteX92" fmla="*/ 7025034 w 10768629"/>
              <a:gd name="connsiteY92" fmla="*/ 1506934 h 1978172"/>
              <a:gd name="connsiteX93" fmla="*/ 7014783 w 10768629"/>
              <a:gd name="connsiteY93" fmla="*/ 1515868 h 1978172"/>
              <a:gd name="connsiteX94" fmla="*/ 6979706 w 10768629"/>
              <a:gd name="connsiteY94" fmla="*/ 1523511 h 1978172"/>
              <a:gd name="connsiteX95" fmla="*/ 6977890 w 10768629"/>
              <a:gd name="connsiteY95" fmla="*/ 1525793 h 1978172"/>
              <a:gd name="connsiteX96" fmla="*/ 6944339 w 10768629"/>
              <a:gd name="connsiteY96" fmla="*/ 1536237 h 1978172"/>
              <a:gd name="connsiteX97" fmla="*/ 6886996 w 10768629"/>
              <a:gd name="connsiteY97" fmla="*/ 1563569 h 1978172"/>
              <a:gd name="connsiteX98" fmla="*/ 6874510 w 10768629"/>
              <a:gd name="connsiteY98" fmla="*/ 1558469 h 1978172"/>
              <a:gd name="connsiteX99" fmla="*/ 6871943 w 10768629"/>
              <a:gd name="connsiteY99" fmla="*/ 1554651 h 1978172"/>
              <a:gd name="connsiteX100" fmla="*/ 6856174 w 10768629"/>
              <a:gd name="connsiteY100" fmla="*/ 1562024 h 1978172"/>
              <a:gd name="connsiteX101" fmla="*/ 6842321 w 10768629"/>
              <a:gd name="connsiteY101" fmla="*/ 1560554 h 1978172"/>
              <a:gd name="connsiteX102" fmla="*/ 6832713 w 10768629"/>
              <a:gd name="connsiteY102" fmla="*/ 1569357 h 1978172"/>
              <a:gd name="connsiteX103" fmla="*/ 6816351 w 10768629"/>
              <a:gd name="connsiteY103" fmla="*/ 1571495 h 1978172"/>
              <a:gd name="connsiteX104" fmla="*/ 6795800 w 10768629"/>
              <a:gd name="connsiteY104" fmla="*/ 1572010 h 1978172"/>
              <a:gd name="connsiteX105" fmla="*/ 6777546 w 10768629"/>
              <a:gd name="connsiteY105" fmla="*/ 1568661 h 1978172"/>
              <a:gd name="connsiteX106" fmla="*/ 6751528 w 10768629"/>
              <a:gd name="connsiteY106" fmla="*/ 1574143 h 1978172"/>
              <a:gd name="connsiteX107" fmla="*/ 6691966 w 10768629"/>
              <a:gd name="connsiteY107" fmla="*/ 1582255 h 1978172"/>
              <a:gd name="connsiteX108" fmla="*/ 6646941 w 10768629"/>
              <a:gd name="connsiteY108" fmla="*/ 1588471 h 1978172"/>
              <a:gd name="connsiteX109" fmla="*/ 6568576 w 10768629"/>
              <a:gd name="connsiteY109" fmla="*/ 1606488 h 1978172"/>
              <a:gd name="connsiteX110" fmla="*/ 6554358 w 10768629"/>
              <a:gd name="connsiteY110" fmla="*/ 1621701 h 1978172"/>
              <a:gd name="connsiteX111" fmla="*/ 6516968 w 10768629"/>
              <a:gd name="connsiteY111" fmla="*/ 1617195 h 1978172"/>
              <a:gd name="connsiteX112" fmla="*/ 6506479 w 10768629"/>
              <a:gd name="connsiteY112" fmla="*/ 1602227 h 1978172"/>
              <a:gd name="connsiteX113" fmla="*/ 6458436 w 10768629"/>
              <a:gd name="connsiteY113" fmla="*/ 1607332 h 1978172"/>
              <a:gd name="connsiteX114" fmla="*/ 6414786 w 10768629"/>
              <a:gd name="connsiteY114" fmla="*/ 1628815 h 1978172"/>
              <a:gd name="connsiteX115" fmla="*/ 6357085 w 10768629"/>
              <a:gd name="connsiteY115" fmla="*/ 1640846 h 1978172"/>
              <a:gd name="connsiteX116" fmla="*/ 6322636 w 10768629"/>
              <a:gd name="connsiteY116" fmla="*/ 1648213 h 1978172"/>
              <a:gd name="connsiteX117" fmla="*/ 6226172 w 10768629"/>
              <a:gd name="connsiteY117" fmla="*/ 1654676 h 1978172"/>
              <a:gd name="connsiteX118" fmla="*/ 6221217 w 10768629"/>
              <a:gd name="connsiteY118" fmla="*/ 1654506 h 1978172"/>
              <a:gd name="connsiteX119" fmla="*/ 6204956 w 10768629"/>
              <a:gd name="connsiteY119" fmla="*/ 1664280 h 1978172"/>
              <a:gd name="connsiteX120" fmla="*/ 6204270 w 10768629"/>
              <a:gd name="connsiteY120" fmla="*/ 1666782 h 1978172"/>
              <a:gd name="connsiteX121" fmla="*/ 6143810 w 10768629"/>
              <a:gd name="connsiteY121" fmla="*/ 1661963 h 1978172"/>
              <a:gd name="connsiteX122" fmla="*/ 6136560 w 10768629"/>
              <a:gd name="connsiteY122" fmla="*/ 1665728 h 1978172"/>
              <a:gd name="connsiteX123" fmla="*/ 6096155 w 10768629"/>
              <a:gd name="connsiteY123" fmla="*/ 1656951 h 1978172"/>
              <a:gd name="connsiteX124" fmla="*/ 6075812 w 10768629"/>
              <a:gd name="connsiteY124" fmla="*/ 1655422 h 1978172"/>
              <a:gd name="connsiteX125" fmla="*/ 6039495 w 10768629"/>
              <a:gd name="connsiteY125" fmla="*/ 1649680 h 1978172"/>
              <a:gd name="connsiteX126" fmla="*/ 6036523 w 10768629"/>
              <a:gd name="connsiteY126" fmla="*/ 1652121 h 1978172"/>
              <a:gd name="connsiteX127" fmla="*/ 6029328 w 10768629"/>
              <a:gd name="connsiteY127" fmla="*/ 1649904 h 1978172"/>
              <a:gd name="connsiteX128" fmla="*/ 6024075 w 10768629"/>
              <a:gd name="connsiteY128" fmla="*/ 1652779 h 1978172"/>
              <a:gd name="connsiteX129" fmla="*/ 6018085 w 10768629"/>
              <a:gd name="connsiteY129" fmla="*/ 1652030 h 1978172"/>
              <a:gd name="connsiteX130" fmla="*/ 5955513 w 10768629"/>
              <a:gd name="connsiteY130" fmla="*/ 1663584 h 1978172"/>
              <a:gd name="connsiteX131" fmla="*/ 5941996 w 10768629"/>
              <a:gd name="connsiteY131" fmla="*/ 1661326 h 1978172"/>
              <a:gd name="connsiteX132" fmla="*/ 5931789 w 10768629"/>
              <a:gd name="connsiteY132" fmla="*/ 1669915 h 1978172"/>
              <a:gd name="connsiteX133" fmla="*/ 5888686 w 10768629"/>
              <a:gd name="connsiteY133" fmla="*/ 1672175 h 1978172"/>
              <a:gd name="connsiteX134" fmla="*/ 5873794 w 10768629"/>
              <a:gd name="connsiteY134" fmla="*/ 1665454 h 1978172"/>
              <a:gd name="connsiteX135" fmla="*/ 5860022 w 10768629"/>
              <a:gd name="connsiteY135" fmla="*/ 1660635 h 1978172"/>
              <a:gd name="connsiteX136" fmla="*/ 5858237 w 10768629"/>
              <a:gd name="connsiteY136" fmla="*/ 1660649 h 1978172"/>
              <a:gd name="connsiteX137" fmla="*/ 5840319 w 10768629"/>
              <a:gd name="connsiteY137" fmla="*/ 1660798 h 1978172"/>
              <a:gd name="connsiteX138" fmla="*/ 5806984 w 10768629"/>
              <a:gd name="connsiteY138" fmla="*/ 1661075 h 1978172"/>
              <a:gd name="connsiteX139" fmla="*/ 5742351 w 10768629"/>
              <a:gd name="connsiteY139" fmla="*/ 1667489 h 1978172"/>
              <a:gd name="connsiteX140" fmla="*/ 5521171 w 10768629"/>
              <a:gd name="connsiteY140" fmla="*/ 1671626 h 1978172"/>
              <a:gd name="connsiteX141" fmla="*/ 5457384 w 10768629"/>
              <a:gd name="connsiteY141" fmla="*/ 1683952 h 1978172"/>
              <a:gd name="connsiteX142" fmla="*/ 4950070 w 10768629"/>
              <a:gd name="connsiteY142" fmla="*/ 1748401 h 1978172"/>
              <a:gd name="connsiteX143" fmla="*/ 4872172 w 10768629"/>
              <a:gd name="connsiteY143" fmla="*/ 1757222 h 1978172"/>
              <a:gd name="connsiteX144" fmla="*/ 4809524 w 10768629"/>
              <a:gd name="connsiteY144" fmla="*/ 1761033 h 1978172"/>
              <a:gd name="connsiteX145" fmla="*/ 4759058 w 10768629"/>
              <a:gd name="connsiteY145" fmla="*/ 1766533 h 1978172"/>
              <a:gd name="connsiteX146" fmla="*/ 4719749 w 10768629"/>
              <a:gd name="connsiteY146" fmla="*/ 1771811 h 1978172"/>
              <a:gd name="connsiteX147" fmla="*/ 4568686 w 10768629"/>
              <a:gd name="connsiteY147" fmla="*/ 1786141 h 1978172"/>
              <a:gd name="connsiteX148" fmla="*/ 4418751 w 10768629"/>
              <a:gd name="connsiteY148" fmla="*/ 1796932 h 1978172"/>
              <a:gd name="connsiteX149" fmla="*/ 4378377 w 10768629"/>
              <a:gd name="connsiteY149" fmla="*/ 1815528 h 1978172"/>
              <a:gd name="connsiteX150" fmla="*/ 4320575 w 10768629"/>
              <a:gd name="connsiteY150" fmla="*/ 1832722 h 1978172"/>
              <a:gd name="connsiteX151" fmla="*/ 4220200 w 10768629"/>
              <a:gd name="connsiteY151" fmla="*/ 1873173 h 1978172"/>
              <a:gd name="connsiteX152" fmla="*/ 4105361 w 10768629"/>
              <a:gd name="connsiteY152" fmla="*/ 1894711 h 1978172"/>
              <a:gd name="connsiteX153" fmla="*/ 3973223 w 10768629"/>
              <a:gd name="connsiteY153" fmla="*/ 1881015 h 1978172"/>
              <a:gd name="connsiteX154" fmla="*/ 3900992 w 10768629"/>
              <a:gd name="connsiteY154" fmla="*/ 1880603 h 1978172"/>
              <a:gd name="connsiteX155" fmla="*/ 3662119 w 10768629"/>
              <a:gd name="connsiteY155" fmla="*/ 1889285 h 1978172"/>
              <a:gd name="connsiteX156" fmla="*/ 3496919 w 10768629"/>
              <a:gd name="connsiteY156" fmla="*/ 1873180 h 1978172"/>
              <a:gd name="connsiteX157" fmla="*/ 3449433 w 10768629"/>
              <a:gd name="connsiteY157" fmla="*/ 1889681 h 1978172"/>
              <a:gd name="connsiteX158" fmla="*/ 3369766 w 10768629"/>
              <a:gd name="connsiteY158" fmla="*/ 1916653 h 1978172"/>
              <a:gd name="connsiteX159" fmla="*/ 3269672 w 10768629"/>
              <a:gd name="connsiteY159" fmla="*/ 1938036 h 1978172"/>
              <a:gd name="connsiteX160" fmla="*/ 3224897 w 10768629"/>
              <a:gd name="connsiteY160" fmla="*/ 1943733 h 1978172"/>
              <a:gd name="connsiteX161" fmla="*/ 3161463 w 10768629"/>
              <a:gd name="connsiteY161" fmla="*/ 1946591 h 1978172"/>
              <a:gd name="connsiteX162" fmla="*/ 3112044 w 10768629"/>
              <a:gd name="connsiteY162" fmla="*/ 1935614 h 1978172"/>
              <a:gd name="connsiteX163" fmla="*/ 3069716 w 10768629"/>
              <a:gd name="connsiteY163" fmla="*/ 1930463 h 1978172"/>
              <a:gd name="connsiteX164" fmla="*/ 3005773 w 10768629"/>
              <a:gd name="connsiteY164" fmla="*/ 1915878 h 1978172"/>
              <a:gd name="connsiteX165" fmla="*/ 2897201 w 10768629"/>
              <a:gd name="connsiteY165" fmla="*/ 1926772 h 1978172"/>
              <a:gd name="connsiteX166" fmla="*/ 2783891 w 10768629"/>
              <a:gd name="connsiteY166" fmla="*/ 1931749 h 1978172"/>
              <a:gd name="connsiteX167" fmla="*/ 2712447 w 10768629"/>
              <a:gd name="connsiteY167" fmla="*/ 1933044 h 1978172"/>
              <a:gd name="connsiteX168" fmla="*/ 2560151 w 10768629"/>
              <a:gd name="connsiteY168" fmla="*/ 1963609 h 1978172"/>
              <a:gd name="connsiteX169" fmla="*/ 2367221 w 10768629"/>
              <a:gd name="connsiteY169" fmla="*/ 1971884 h 1978172"/>
              <a:gd name="connsiteX170" fmla="*/ 2272130 w 10768629"/>
              <a:gd name="connsiteY170" fmla="*/ 1961162 h 1978172"/>
              <a:gd name="connsiteX171" fmla="*/ 2189404 w 10768629"/>
              <a:gd name="connsiteY171" fmla="*/ 1978172 h 1978172"/>
              <a:gd name="connsiteX172" fmla="*/ 2077704 w 10768629"/>
              <a:gd name="connsiteY172" fmla="*/ 1965002 h 1978172"/>
              <a:gd name="connsiteX173" fmla="*/ 2033299 w 10768629"/>
              <a:gd name="connsiteY173" fmla="*/ 1969042 h 1978172"/>
              <a:gd name="connsiteX174" fmla="*/ 1967996 w 10768629"/>
              <a:gd name="connsiteY174" fmla="*/ 1953187 h 1978172"/>
              <a:gd name="connsiteX175" fmla="*/ 1855805 w 10768629"/>
              <a:gd name="connsiteY175" fmla="*/ 1926082 h 1978172"/>
              <a:gd name="connsiteX176" fmla="*/ 1790957 w 10768629"/>
              <a:gd name="connsiteY176" fmla="*/ 1919460 h 1978172"/>
              <a:gd name="connsiteX177" fmla="*/ 1613978 w 10768629"/>
              <a:gd name="connsiteY177" fmla="*/ 1891581 h 1978172"/>
              <a:gd name="connsiteX178" fmla="*/ 1436831 w 10768629"/>
              <a:gd name="connsiteY178" fmla="*/ 1856201 h 1978172"/>
              <a:gd name="connsiteX179" fmla="*/ 1357365 w 10768629"/>
              <a:gd name="connsiteY179" fmla="*/ 1832140 h 1978172"/>
              <a:gd name="connsiteX180" fmla="*/ 1232341 w 10768629"/>
              <a:gd name="connsiteY180" fmla="*/ 1785942 h 1978172"/>
              <a:gd name="connsiteX181" fmla="*/ 1162595 w 10768629"/>
              <a:gd name="connsiteY181" fmla="*/ 1758337 h 1978172"/>
              <a:gd name="connsiteX182" fmla="*/ 1128523 w 10768629"/>
              <a:gd name="connsiteY182" fmla="*/ 1763621 h 1978172"/>
              <a:gd name="connsiteX183" fmla="*/ 991903 w 10768629"/>
              <a:gd name="connsiteY183" fmla="*/ 1786741 h 1978172"/>
              <a:gd name="connsiteX184" fmla="*/ 883960 w 10768629"/>
              <a:gd name="connsiteY184" fmla="*/ 1822386 h 1978172"/>
              <a:gd name="connsiteX185" fmla="*/ 766531 w 10768629"/>
              <a:gd name="connsiteY185" fmla="*/ 1805053 h 1978172"/>
              <a:gd name="connsiteX186" fmla="*/ 669779 w 10768629"/>
              <a:gd name="connsiteY186" fmla="*/ 1800537 h 1978172"/>
              <a:gd name="connsiteX187" fmla="*/ 523898 w 10768629"/>
              <a:gd name="connsiteY187" fmla="*/ 1811085 h 1978172"/>
              <a:gd name="connsiteX188" fmla="*/ 360251 w 10768629"/>
              <a:gd name="connsiteY188" fmla="*/ 1830735 h 1978172"/>
              <a:gd name="connsiteX189" fmla="*/ 255207 w 10768629"/>
              <a:gd name="connsiteY189" fmla="*/ 1818275 h 1978172"/>
              <a:gd name="connsiteX190" fmla="*/ 101803 w 10768629"/>
              <a:gd name="connsiteY190" fmla="*/ 1870647 h 1978172"/>
              <a:gd name="connsiteX191" fmla="*/ 25397 w 10768629"/>
              <a:gd name="connsiteY191" fmla="*/ 1888443 h 1978172"/>
              <a:gd name="connsiteX192" fmla="*/ 2370 w 10768629"/>
              <a:gd name="connsiteY192" fmla="*/ 1878311 h 1978172"/>
              <a:gd name="connsiteX193" fmla="*/ 0 w 10768629"/>
              <a:gd name="connsiteY193" fmla="*/ 1878785 h 1978172"/>
              <a:gd name="connsiteX194" fmla="*/ 0 w 10768629"/>
              <a:gd name="connsiteY194" fmla="*/ 0 h 1978172"/>
              <a:gd name="connsiteX0" fmla="*/ 0 w 10768629"/>
              <a:gd name="connsiteY0" fmla="*/ 0 h 1978172"/>
              <a:gd name="connsiteX1" fmla="*/ 10768629 w 10768629"/>
              <a:gd name="connsiteY1" fmla="*/ 0 h 1978172"/>
              <a:gd name="connsiteX2" fmla="*/ 10733254 w 10768629"/>
              <a:gd name="connsiteY2" fmla="*/ 31439 h 1978172"/>
              <a:gd name="connsiteX3" fmla="*/ 10727085 w 10768629"/>
              <a:gd name="connsiteY3" fmla="*/ 37910 h 1978172"/>
              <a:gd name="connsiteX4" fmla="*/ 10675953 w 10768629"/>
              <a:gd name="connsiteY4" fmla="*/ 68623 h 1978172"/>
              <a:gd name="connsiteX5" fmla="*/ 10637091 w 10768629"/>
              <a:gd name="connsiteY5" fmla="*/ 90361 h 1978172"/>
              <a:gd name="connsiteX6" fmla="*/ 10610971 w 10768629"/>
              <a:gd name="connsiteY6" fmla="*/ 110764 h 1978172"/>
              <a:gd name="connsiteX7" fmla="*/ 10532872 w 10768629"/>
              <a:gd name="connsiteY7" fmla="*/ 138028 h 1978172"/>
              <a:gd name="connsiteX8" fmla="*/ 10398558 w 10768629"/>
              <a:gd name="connsiteY8" fmla="*/ 172911 h 1978172"/>
              <a:gd name="connsiteX9" fmla="*/ 10371128 w 10768629"/>
              <a:gd name="connsiteY9" fmla="*/ 182609 h 1978172"/>
              <a:gd name="connsiteX10" fmla="*/ 10352178 w 10768629"/>
              <a:gd name="connsiteY10" fmla="*/ 199976 h 1978172"/>
              <a:gd name="connsiteX11" fmla="*/ 10351815 w 10768629"/>
              <a:gd name="connsiteY11" fmla="*/ 211879 h 1978172"/>
              <a:gd name="connsiteX12" fmla="*/ 10337471 w 10768629"/>
              <a:gd name="connsiteY12" fmla="*/ 218661 h 1978172"/>
              <a:gd name="connsiteX13" fmla="*/ 10334625 w 10768629"/>
              <a:gd name="connsiteY13" fmla="*/ 222351 h 1978172"/>
              <a:gd name="connsiteX14" fmla="*/ 10256365 w 10768629"/>
              <a:gd name="connsiteY14" fmla="*/ 235917 h 1978172"/>
              <a:gd name="connsiteX15" fmla="*/ 10201127 w 10768629"/>
              <a:gd name="connsiteY15" fmla="*/ 267448 h 1978172"/>
              <a:gd name="connsiteX16" fmla="*/ 9961218 w 10768629"/>
              <a:gd name="connsiteY16" fmla="*/ 326720 h 1978172"/>
              <a:gd name="connsiteX17" fmla="*/ 9859715 w 10768629"/>
              <a:gd name="connsiteY17" fmla="*/ 355698 h 1978172"/>
              <a:gd name="connsiteX18" fmla="*/ 9679867 w 10768629"/>
              <a:gd name="connsiteY18" fmla="*/ 399081 h 1978172"/>
              <a:gd name="connsiteX19" fmla="*/ 9490654 w 10768629"/>
              <a:gd name="connsiteY19" fmla="*/ 455225 h 1978172"/>
              <a:gd name="connsiteX20" fmla="*/ 9470837 w 10768629"/>
              <a:gd name="connsiteY20" fmla="*/ 452539 h 1978172"/>
              <a:gd name="connsiteX21" fmla="*/ 9469082 w 10768629"/>
              <a:gd name="connsiteY21" fmla="*/ 454891 h 1978172"/>
              <a:gd name="connsiteX22" fmla="*/ 9448038 w 10768629"/>
              <a:gd name="connsiteY22" fmla="*/ 459733 h 1978172"/>
              <a:gd name="connsiteX23" fmla="*/ 9396821 w 10768629"/>
              <a:gd name="connsiteY23" fmla="*/ 455795 h 1978172"/>
              <a:gd name="connsiteX24" fmla="*/ 9392197 w 10768629"/>
              <a:gd name="connsiteY24" fmla="*/ 459796 h 1978172"/>
              <a:gd name="connsiteX25" fmla="*/ 9347994 w 10768629"/>
              <a:gd name="connsiteY25" fmla="*/ 464462 h 1978172"/>
              <a:gd name="connsiteX26" fmla="*/ 9347889 w 10768629"/>
              <a:gd name="connsiteY26" fmla="*/ 466539 h 1978172"/>
              <a:gd name="connsiteX27" fmla="*/ 9337639 w 10768629"/>
              <a:gd name="connsiteY27" fmla="*/ 476654 h 1978172"/>
              <a:gd name="connsiteX28" fmla="*/ 9316893 w 10768629"/>
              <a:gd name="connsiteY28" fmla="*/ 491390 h 1978172"/>
              <a:gd name="connsiteX29" fmla="*/ 9229283 w 10768629"/>
              <a:gd name="connsiteY29" fmla="*/ 555377 h 1978172"/>
              <a:gd name="connsiteX30" fmla="*/ 9220274 w 10768629"/>
              <a:gd name="connsiteY30" fmla="*/ 557502 h 1978172"/>
              <a:gd name="connsiteX31" fmla="*/ 9220202 w 10768629"/>
              <a:gd name="connsiteY31" fmla="*/ 558001 h 1978172"/>
              <a:gd name="connsiteX32" fmla="*/ 9210908 w 10768629"/>
              <a:gd name="connsiteY32" fmla="*/ 561147 h 1978172"/>
              <a:gd name="connsiteX33" fmla="*/ 9186374 w 10768629"/>
              <a:gd name="connsiteY33" fmla="*/ 565502 h 1978172"/>
              <a:gd name="connsiteX34" fmla="*/ 9181058 w 10768629"/>
              <a:gd name="connsiteY34" fmla="*/ 569943 h 1978172"/>
              <a:gd name="connsiteX35" fmla="*/ 9179948 w 10768629"/>
              <a:gd name="connsiteY35" fmla="*/ 576062 h 1978172"/>
              <a:gd name="connsiteX36" fmla="*/ 9149110 w 10768629"/>
              <a:gd name="connsiteY36" fmla="*/ 598906 h 1978172"/>
              <a:gd name="connsiteX37" fmla="*/ 9078556 w 10768629"/>
              <a:gd name="connsiteY37" fmla="*/ 644039 h 1978172"/>
              <a:gd name="connsiteX38" fmla="*/ 8996399 w 10768629"/>
              <a:gd name="connsiteY38" fmla="*/ 690055 h 1978172"/>
              <a:gd name="connsiteX39" fmla="*/ 8803791 w 10768629"/>
              <a:gd name="connsiteY39" fmla="*/ 813860 h 1978172"/>
              <a:gd name="connsiteX40" fmla="*/ 8636202 w 10768629"/>
              <a:gd name="connsiteY40" fmla="*/ 848463 h 1978172"/>
              <a:gd name="connsiteX41" fmla="*/ 8555372 w 10768629"/>
              <a:gd name="connsiteY41" fmla="*/ 883171 h 1978172"/>
              <a:gd name="connsiteX42" fmla="*/ 8507229 w 10768629"/>
              <a:gd name="connsiteY42" fmla="*/ 901665 h 1978172"/>
              <a:gd name="connsiteX43" fmla="*/ 8428473 w 10768629"/>
              <a:gd name="connsiteY43" fmla="*/ 927985 h 1978172"/>
              <a:gd name="connsiteX44" fmla="*/ 8427914 w 10768629"/>
              <a:gd name="connsiteY44" fmla="*/ 933480 h 1978172"/>
              <a:gd name="connsiteX45" fmla="*/ 8420327 w 10768629"/>
              <a:gd name="connsiteY45" fmla="*/ 941984 h 1978172"/>
              <a:gd name="connsiteX46" fmla="*/ 8394729 w 10768629"/>
              <a:gd name="connsiteY46" fmla="*/ 948347 h 1978172"/>
              <a:gd name="connsiteX47" fmla="*/ 8380548 w 10768629"/>
              <a:gd name="connsiteY47" fmla="*/ 987916 h 1978172"/>
              <a:gd name="connsiteX48" fmla="*/ 8379462 w 10768629"/>
              <a:gd name="connsiteY48" fmla="*/ 987106 h 1978172"/>
              <a:gd name="connsiteX49" fmla="*/ 8369725 w 10768629"/>
              <a:gd name="connsiteY49" fmla="*/ 989186 h 1978172"/>
              <a:gd name="connsiteX50" fmla="*/ 8304438 w 10768629"/>
              <a:gd name="connsiteY50" fmla="*/ 996739 h 1978172"/>
              <a:gd name="connsiteX51" fmla="*/ 8280929 w 10768629"/>
              <a:gd name="connsiteY51" fmla="*/ 1023089 h 1978172"/>
              <a:gd name="connsiteX52" fmla="*/ 8275760 w 10768629"/>
              <a:gd name="connsiteY52" fmla="*/ 1027772 h 1978172"/>
              <a:gd name="connsiteX53" fmla="*/ 8275478 w 10768629"/>
              <a:gd name="connsiteY53" fmla="*/ 1027605 h 1978172"/>
              <a:gd name="connsiteX54" fmla="*/ 8269666 w 10768629"/>
              <a:gd name="connsiteY54" fmla="*/ 1032033 h 1978172"/>
              <a:gd name="connsiteX55" fmla="*/ 8203836 w 10768629"/>
              <a:gd name="connsiteY55" fmla="*/ 1037347 h 1978172"/>
              <a:gd name="connsiteX56" fmla="*/ 8122936 w 10768629"/>
              <a:gd name="connsiteY56" fmla="*/ 1063113 h 1978172"/>
              <a:gd name="connsiteX57" fmla="*/ 8043658 w 10768629"/>
              <a:gd name="connsiteY57" fmla="*/ 1092746 h 1978172"/>
              <a:gd name="connsiteX58" fmla="*/ 8015351 w 10768629"/>
              <a:gd name="connsiteY58" fmla="*/ 1105478 h 1978172"/>
              <a:gd name="connsiteX59" fmla="*/ 7963145 w 10768629"/>
              <a:gd name="connsiteY59" fmla="*/ 1119346 h 1978172"/>
              <a:gd name="connsiteX60" fmla="*/ 7938145 w 10768629"/>
              <a:gd name="connsiteY60" fmla="*/ 1120225 h 1978172"/>
              <a:gd name="connsiteX61" fmla="*/ 7937238 w 10768629"/>
              <a:gd name="connsiteY61" fmla="*/ 1121204 h 1978172"/>
              <a:gd name="connsiteX62" fmla="*/ 7934398 w 10768629"/>
              <a:gd name="connsiteY62" fmla="*/ 1118240 h 1978172"/>
              <a:gd name="connsiteX63" fmla="*/ 7918248 w 10768629"/>
              <a:gd name="connsiteY63" fmla="*/ 1124371 h 1978172"/>
              <a:gd name="connsiteX64" fmla="*/ 7914119 w 10768629"/>
              <a:gd name="connsiteY64" fmla="*/ 1127653 h 1978172"/>
              <a:gd name="connsiteX65" fmla="*/ 7907658 w 10768629"/>
              <a:gd name="connsiteY65" fmla="*/ 1130350 h 1978172"/>
              <a:gd name="connsiteX66" fmla="*/ 7907434 w 10768629"/>
              <a:gd name="connsiteY66" fmla="*/ 1130103 h 1978172"/>
              <a:gd name="connsiteX67" fmla="*/ 7901508 w 10768629"/>
              <a:gd name="connsiteY67" fmla="*/ 1133245 h 1978172"/>
              <a:gd name="connsiteX68" fmla="*/ 7873287 w 10768629"/>
              <a:gd name="connsiteY68" fmla="*/ 1152609 h 1978172"/>
              <a:gd name="connsiteX69" fmla="*/ 7834833 w 10768629"/>
              <a:gd name="connsiteY69" fmla="*/ 1153868 h 1978172"/>
              <a:gd name="connsiteX70" fmla="*/ 7828661 w 10768629"/>
              <a:gd name="connsiteY70" fmla="*/ 1139994 h 1978172"/>
              <a:gd name="connsiteX71" fmla="*/ 7823966 w 10768629"/>
              <a:gd name="connsiteY71" fmla="*/ 1143178 h 1978172"/>
              <a:gd name="connsiteX72" fmla="*/ 7815078 w 10768629"/>
              <a:gd name="connsiteY72" fmla="*/ 1151776 h 1978172"/>
              <a:gd name="connsiteX73" fmla="*/ 7812026 w 10768629"/>
              <a:gd name="connsiteY73" fmla="*/ 1151522 h 1978172"/>
              <a:gd name="connsiteX74" fmla="*/ 7782249 w 10768629"/>
              <a:gd name="connsiteY74" fmla="*/ 1160970 h 1978172"/>
              <a:gd name="connsiteX75" fmla="*/ 7773476 w 10768629"/>
              <a:gd name="connsiteY75" fmla="*/ 1157414 h 1978172"/>
              <a:gd name="connsiteX76" fmla="*/ 7769600 w 10768629"/>
              <a:gd name="connsiteY76" fmla="*/ 1157365 h 1978172"/>
              <a:gd name="connsiteX77" fmla="*/ 7752631 w 10768629"/>
              <a:gd name="connsiteY77" fmla="*/ 1172815 h 1978172"/>
              <a:gd name="connsiteX78" fmla="*/ 7743525 w 10768629"/>
              <a:gd name="connsiteY78" fmla="*/ 1179064 h 1978172"/>
              <a:gd name="connsiteX79" fmla="*/ 7685942 w 10768629"/>
              <a:gd name="connsiteY79" fmla="*/ 1233723 h 1978172"/>
              <a:gd name="connsiteX80" fmla="*/ 7586920 w 10768629"/>
              <a:gd name="connsiteY80" fmla="*/ 1261888 h 1978172"/>
              <a:gd name="connsiteX81" fmla="*/ 7486100 w 10768629"/>
              <a:gd name="connsiteY81" fmla="*/ 1292563 h 1978172"/>
              <a:gd name="connsiteX82" fmla="*/ 7407190 w 10768629"/>
              <a:gd name="connsiteY82" fmla="*/ 1314737 h 1978172"/>
              <a:gd name="connsiteX83" fmla="*/ 7240698 w 10768629"/>
              <a:gd name="connsiteY83" fmla="*/ 1438832 h 1978172"/>
              <a:gd name="connsiteX84" fmla="*/ 7197675 w 10768629"/>
              <a:gd name="connsiteY84" fmla="*/ 1447530 h 1978172"/>
              <a:gd name="connsiteX85" fmla="*/ 7164788 w 10768629"/>
              <a:gd name="connsiteY85" fmla="*/ 1480293 h 1978172"/>
              <a:gd name="connsiteX86" fmla="*/ 7147929 w 10768629"/>
              <a:gd name="connsiteY86" fmla="*/ 1477641 h 1978172"/>
              <a:gd name="connsiteX87" fmla="*/ 7144965 w 10768629"/>
              <a:gd name="connsiteY87" fmla="*/ 1476908 h 1978172"/>
              <a:gd name="connsiteX88" fmla="*/ 7134299 w 10768629"/>
              <a:gd name="connsiteY88" fmla="*/ 1479969 h 1978172"/>
              <a:gd name="connsiteX89" fmla="*/ 7129809 w 10768629"/>
              <a:gd name="connsiteY89" fmla="*/ 1473339 h 1978172"/>
              <a:gd name="connsiteX90" fmla="*/ 7112688 w 10768629"/>
              <a:gd name="connsiteY90" fmla="*/ 1472575 h 1978172"/>
              <a:gd name="connsiteX91" fmla="*/ 7093470 w 10768629"/>
              <a:gd name="connsiteY91" fmla="*/ 1480300 h 1978172"/>
              <a:gd name="connsiteX92" fmla="*/ 7025034 w 10768629"/>
              <a:gd name="connsiteY92" fmla="*/ 1506934 h 1978172"/>
              <a:gd name="connsiteX93" fmla="*/ 7014783 w 10768629"/>
              <a:gd name="connsiteY93" fmla="*/ 1515868 h 1978172"/>
              <a:gd name="connsiteX94" fmla="*/ 6979706 w 10768629"/>
              <a:gd name="connsiteY94" fmla="*/ 1523511 h 1978172"/>
              <a:gd name="connsiteX95" fmla="*/ 6977890 w 10768629"/>
              <a:gd name="connsiteY95" fmla="*/ 1525793 h 1978172"/>
              <a:gd name="connsiteX96" fmla="*/ 6944339 w 10768629"/>
              <a:gd name="connsiteY96" fmla="*/ 1536237 h 1978172"/>
              <a:gd name="connsiteX97" fmla="*/ 6886996 w 10768629"/>
              <a:gd name="connsiteY97" fmla="*/ 1563569 h 1978172"/>
              <a:gd name="connsiteX98" fmla="*/ 6874510 w 10768629"/>
              <a:gd name="connsiteY98" fmla="*/ 1558469 h 1978172"/>
              <a:gd name="connsiteX99" fmla="*/ 6871943 w 10768629"/>
              <a:gd name="connsiteY99" fmla="*/ 1554651 h 1978172"/>
              <a:gd name="connsiteX100" fmla="*/ 6856174 w 10768629"/>
              <a:gd name="connsiteY100" fmla="*/ 1562024 h 1978172"/>
              <a:gd name="connsiteX101" fmla="*/ 6842321 w 10768629"/>
              <a:gd name="connsiteY101" fmla="*/ 1560554 h 1978172"/>
              <a:gd name="connsiteX102" fmla="*/ 6832713 w 10768629"/>
              <a:gd name="connsiteY102" fmla="*/ 1569357 h 1978172"/>
              <a:gd name="connsiteX103" fmla="*/ 6816351 w 10768629"/>
              <a:gd name="connsiteY103" fmla="*/ 1571495 h 1978172"/>
              <a:gd name="connsiteX104" fmla="*/ 6795800 w 10768629"/>
              <a:gd name="connsiteY104" fmla="*/ 1572010 h 1978172"/>
              <a:gd name="connsiteX105" fmla="*/ 6777546 w 10768629"/>
              <a:gd name="connsiteY105" fmla="*/ 1568661 h 1978172"/>
              <a:gd name="connsiteX106" fmla="*/ 6751528 w 10768629"/>
              <a:gd name="connsiteY106" fmla="*/ 1574143 h 1978172"/>
              <a:gd name="connsiteX107" fmla="*/ 6691966 w 10768629"/>
              <a:gd name="connsiteY107" fmla="*/ 1582255 h 1978172"/>
              <a:gd name="connsiteX108" fmla="*/ 6646941 w 10768629"/>
              <a:gd name="connsiteY108" fmla="*/ 1588471 h 1978172"/>
              <a:gd name="connsiteX109" fmla="*/ 6568576 w 10768629"/>
              <a:gd name="connsiteY109" fmla="*/ 1606488 h 1978172"/>
              <a:gd name="connsiteX110" fmla="*/ 6554358 w 10768629"/>
              <a:gd name="connsiteY110" fmla="*/ 1621701 h 1978172"/>
              <a:gd name="connsiteX111" fmla="*/ 6516968 w 10768629"/>
              <a:gd name="connsiteY111" fmla="*/ 1617195 h 1978172"/>
              <a:gd name="connsiteX112" fmla="*/ 6506479 w 10768629"/>
              <a:gd name="connsiteY112" fmla="*/ 1602227 h 1978172"/>
              <a:gd name="connsiteX113" fmla="*/ 6458436 w 10768629"/>
              <a:gd name="connsiteY113" fmla="*/ 1607332 h 1978172"/>
              <a:gd name="connsiteX114" fmla="*/ 6414786 w 10768629"/>
              <a:gd name="connsiteY114" fmla="*/ 1628815 h 1978172"/>
              <a:gd name="connsiteX115" fmla="*/ 6357085 w 10768629"/>
              <a:gd name="connsiteY115" fmla="*/ 1640846 h 1978172"/>
              <a:gd name="connsiteX116" fmla="*/ 6322636 w 10768629"/>
              <a:gd name="connsiteY116" fmla="*/ 1648213 h 1978172"/>
              <a:gd name="connsiteX117" fmla="*/ 6226172 w 10768629"/>
              <a:gd name="connsiteY117" fmla="*/ 1654676 h 1978172"/>
              <a:gd name="connsiteX118" fmla="*/ 6221217 w 10768629"/>
              <a:gd name="connsiteY118" fmla="*/ 1654506 h 1978172"/>
              <a:gd name="connsiteX119" fmla="*/ 6204956 w 10768629"/>
              <a:gd name="connsiteY119" fmla="*/ 1664280 h 1978172"/>
              <a:gd name="connsiteX120" fmla="*/ 6204270 w 10768629"/>
              <a:gd name="connsiteY120" fmla="*/ 1666782 h 1978172"/>
              <a:gd name="connsiteX121" fmla="*/ 6143810 w 10768629"/>
              <a:gd name="connsiteY121" fmla="*/ 1661963 h 1978172"/>
              <a:gd name="connsiteX122" fmla="*/ 6136560 w 10768629"/>
              <a:gd name="connsiteY122" fmla="*/ 1665728 h 1978172"/>
              <a:gd name="connsiteX123" fmla="*/ 6096155 w 10768629"/>
              <a:gd name="connsiteY123" fmla="*/ 1656951 h 1978172"/>
              <a:gd name="connsiteX124" fmla="*/ 6075812 w 10768629"/>
              <a:gd name="connsiteY124" fmla="*/ 1655422 h 1978172"/>
              <a:gd name="connsiteX125" fmla="*/ 6039495 w 10768629"/>
              <a:gd name="connsiteY125" fmla="*/ 1649680 h 1978172"/>
              <a:gd name="connsiteX126" fmla="*/ 6036523 w 10768629"/>
              <a:gd name="connsiteY126" fmla="*/ 1652121 h 1978172"/>
              <a:gd name="connsiteX127" fmla="*/ 6029328 w 10768629"/>
              <a:gd name="connsiteY127" fmla="*/ 1649904 h 1978172"/>
              <a:gd name="connsiteX128" fmla="*/ 6024075 w 10768629"/>
              <a:gd name="connsiteY128" fmla="*/ 1652779 h 1978172"/>
              <a:gd name="connsiteX129" fmla="*/ 6018085 w 10768629"/>
              <a:gd name="connsiteY129" fmla="*/ 1652030 h 1978172"/>
              <a:gd name="connsiteX130" fmla="*/ 5955513 w 10768629"/>
              <a:gd name="connsiteY130" fmla="*/ 1663584 h 1978172"/>
              <a:gd name="connsiteX131" fmla="*/ 5941996 w 10768629"/>
              <a:gd name="connsiteY131" fmla="*/ 1661326 h 1978172"/>
              <a:gd name="connsiteX132" fmla="*/ 5931789 w 10768629"/>
              <a:gd name="connsiteY132" fmla="*/ 1669915 h 1978172"/>
              <a:gd name="connsiteX133" fmla="*/ 5888686 w 10768629"/>
              <a:gd name="connsiteY133" fmla="*/ 1672175 h 1978172"/>
              <a:gd name="connsiteX134" fmla="*/ 5873794 w 10768629"/>
              <a:gd name="connsiteY134" fmla="*/ 1665454 h 1978172"/>
              <a:gd name="connsiteX135" fmla="*/ 5860022 w 10768629"/>
              <a:gd name="connsiteY135" fmla="*/ 1660635 h 1978172"/>
              <a:gd name="connsiteX136" fmla="*/ 5858237 w 10768629"/>
              <a:gd name="connsiteY136" fmla="*/ 1660649 h 1978172"/>
              <a:gd name="connsiteX137" fmla="*/ 5840319 w 10768629"/>
              <a:gd name="connsiteY137" fmla="*/ 1660798 h 1978172"/>
              <a:gd name="connsiteX138" fmla="*/ 5806984 w 10768629"/>
              <a:gd name="connsiteY138" fmla="*/ 1661075 h 1978172"/>
              <a:gd name="connsiteX139" fmla="*/ 5742351 w 10768629"/>
              <a:gd name="connsiteY139" fmla="*/ 1667489 h 1978172"/>
              <a:gd name="connsiteX140" fmla="*/ 5521171 w 10768629"/>
              <a:gd name="connsiteY140" fmla="*/ 1671626 h 1978172"/>
              <a:gd name="connsiteX141" fmla="*/ 5457384 w 10768629"/>
              <a:gd name="connsiteY141" fmla="*/ 1683952 h 1978172"/>
              <a:gd name="connsiteX142" fmla="*/ 4950070 w 10768629"/>
              <a:gd name="connsiteY142" fmla="*/ 1748401 h 1978172"/>
              <a:gd name="connsiteX143" fmla="*/ 4872172 w 10768629"/>
              <a:gd name="connsiteY143" fmla="*/ 1757222 h 1978172"/>
              <a:gd name="connsiteX144" fmla="*/ 4809524 w 10768629"/>
              <a:gd name="connsiteY144" fmla="*/ 1761033 h 1978172"/>
              <a:gd name="connsiteX145" fmla="*/ 4759058 w 10768629"/>
              <a:gd name="connsiteY145" fmla="*/ 1766533 h 1978172"/>
              <a:gd name="connsiteX146" fmla="*/ 4719749 w 10768629"/>
              <a:gd name="connsiteY146" fmla="*/ 1771811 h 1978172"/>
              <a:gd name="connsiteX147" fmla="*/ 4568686 w 10768629"/>
              <a:gd name="connsiteY147" fmla="*/ 1786141 h 1978172"/>
              <a:gd name="connsiteX148" fmla="*/ 4418751 w 10768629"/>
              <a:gd name="connsiteY148" fmla="*/ 1796932 h 1978172"/>
              <a:gd name="connsiteX149" fmla="*/ 4378377 w 10768629"/>
              <a:gd name="connsiteY149" fmla="*/ 1815528 h 1978172"/>
              <a:gd name="connsiteX150" fmla="*/ 4320575 w 10768629"/>
              <a:gd name="connsiteY150" fmla="*/ 1832722 h 1978172"/>
              <a:gd name="connsiteX151" fmla="*/ 4220200 w 10768629"/>
              <a:gd name="connsiteY151" fmla="*/ 1873173 h 1978172"/>
              <a:gd name="connsiteX152" fmla="*/ 4105361 w 10768629"/>
              <a:gd name="connsiteY152" fmla="*/ 1894711 h 1978172"/>
              <a:gd name="connsiteX153" fmla="*/ 3973223 w 10768629"/>
              <a:gd name="connsiteY153" fmla="*/ 1881015 h 1978172"/>
              <a:gd name="connsiteX154" fmla="*/ 3900992 w 10768629"/>
              <a:gd name="connsiteY154" fmla="*/ 1880603 h 1978172"/>
              <a:gd name="connsiteX155" fmla="*/ 3662119 w 10768629"/>
              <a:gd name="connsiteY155" fmla="*/ 1889285 h 1978172"/>
              <a:gd name="connsiteX156" fmla="*/ 3496919 w 10768629"/>
              <a:gd name="connsiteY156" fmla="*/ 1873180 h 1978172"/>
              <a:gd name="connsiteX157" fmla="*/ 3449433 w 10768629"/>
              <a:gd name="connsiteY157" fmla="*/ 1889681 h 1978172"/>
              <a:gd name="connsiteX158" fmla="*/ 3369766 w 10768629"/>
              <a:gd name="connsiteY158" fmla="*/ 1916653 h 1978172"/>
              <a:gd name="connsiteX159" fmla="*/ 3269672 w 10768629"/>
              <a:gd name="connsiteY159" fmla="*/ 1938036 h 1978172"/>
              <a:gd name="connsiteX160" fmla="*/ 3224897 w 10768629"/>
              <a:gd name="connsiteY160" fmla="*/ 1943733 h 1978172"/>
              <a:gd name="connsiteX161" fmla="*/ 3161463 w 10768629"/>
              <a:gd name="connsiteY161" fmla="*/ 1946591 h 1978172"/>
              <a:gd name="connsiteX162" fmla="*/ 3112044 w 10768629"/>
              <a:gd name="connsiteY162" fmla="*/ 1935614 h 1978172"/>
              <a:gd name="connsiteX163" fmla="*/ 3069716 w 10768629"/>
              <a:gd name="connsiteY163" fmla="*/ 1930463 h 1978172"/>
              <a:gd name="connsiteX164" fmla="*/ 3005773 w 10768629"/>
              <a:gd name="connsiteY164" fmla="*/ 1915878 h 1978172"/>
              <a:gd name="connsiteX165" fmla="*/ 2897201 w 10768629"/>
              <a:gd name="connsiteY165" fmla="*/ 1926772 h 1978172"/>
              <a:gd name="connsiteX166" fmla="*/ 2783891 w 10768629"/>
              <a:gd name="connsiteY166" fmla="*/ 1931749 h 1978172"/>
              <a:gd name="connsiteX167" fmla="*/ 2712447 w 10768629"/>
              <a:gd name="connsiteY167" fmla="*/ 1933044 h 1978172"/>
              <a:gd name="connsiteX168" fmla="*/ 2560151 w 10768629"/>
              <a:gd name="connsiteY168" fmla="*/ 1963609 h 1978172"/>
              <a:gd name="connsiteX169" fmla="*/ 2367221 w 10768629"/>
              <a:gd name="connsiteY169" fmla="*/ 1971884 h 1978172"/>
              <a:gd name="connsiteX170" fmla="*/ 2272130 w 10768629"/>
              <a:gd name="connsiteY170" fmla="*/ 1961162 h 1978172"/>
              <a:gd name="connsiteX171" fmla="*/ 2189404 w 10768629"/>
              <a:gd name="connsiteY171" fmla="*/ 1978172 h 1978172"/>
              <a:gd name="connsiteX172" fmla="*/ 2077704 w 10768629"/>
              <a:gd name="connsiteY172" fmla="*/ 1965002 h 1978172"/>
              <a:gd name="connsiteX173" fmla="*/ 2033299 w 10768629"/>
              <a:gd name="connsiteY173" fmla="*/ 1969042 h 1978172"/>
              <a:gd name="connsiteX174" fmla="*/ 1967996 w 10768629"/>
              <a:gd name="connsiteY174" fmla="*/ 1953187 h 1978172"/>
              <a:gd name="connsiteX175" fmla="*/ 1855805 w 10768629"/>
              <a:gd name="connsiteY175" fmla="*/ 1926082 h 1978172"/>
              <a:gd name="connsiteX176" fmla="*/ 1790957 w 10768629"/>
              <a:gd name="connsiteY176" fmla="*/ 1919460 h 1978172"/>
              <a:gd name="connsiteX177" fmla="*/ 1613978 w 10768629"/>
              <a:gd name="connsiteY177" fmla="*/ 1891581 h 1978172"/>
              <a:gd name="connsiteX178" fmla="*/ 1436831 w 10768629"/>
              <a:gd name="connsiteY178" fmla="*/ 1856201 h 1978172"/>
              <a:gd name="connsiteX179" fmla="*/ 1357365 w 10768629"/>
              <a:gd name="connsiteY179" fmla="*/ 1832140 h 1978172"/>
              <a:gd name="connsiteX180" fmla="*/ 1232341 w 10768629"/>
              <a:gd name="connsiteY180" fmla="*/ 1785942 h 1978172"/>
              <a:gd name="connsiteX181" fmla="*/ 1162595 w 10768629"/>
              <a:gd name="connsiteY181" fmla="*/ 1758337 h 1978172"/>
              <a:gd name="connsiteX182" fmla="*/ 1128523 w 10768629"/>
              <a:gd name="connsiteY182" fmla="*/ 1763621 h 1978172"/>
              <a:gd name="connsiteX183" fmla="*/ 991903 w 10768629"/>
              <a:gd name="connsiteY183" fmla="*/ 1786741 h 1978172"/>
              <a:gd name="connsiteX184" fmla="*/ 883960 w 10768629"/>
              <a:gd name="connsiteY184" fmla="*/ 1822386 h 1978172"/>
              <a:gd name="connsiteX185" fmla="*/ 766531 w 10768629"/>
              <a:gd name="connsiteY185" fmla="*/ 1805053 h 1978172"/>
              <a:gd name="connsiteX186" fmla="*/ 669779 w 10768629"/>
              <a:gd name="connsiteY186" fmla="*/ 1800537 h 1978172"/>
              <a:gd name="connsiteX187" fmla="*/ 523898 w 10768629"/>
              <a:gd name="connsiteY187" fmla="*/ 1811085 h 1978172"/>
              <a:gd name="connsiteX188" fmla="*/ 360251 w 10768629"/>
              <a:gd name="connsiteY188" fmla="*/ 1830735 h 1978172"/>
              <a:gd name="connsiteX189" fmla="*/ 255207 w 10768629"/>
              <a:gd name="connsiteY189" fmla="*/ 1818275 h 1978172"/>
              <a:gd name="connsiteX190" fmla="*/ 101803 w 10768629"/>
              <a:gd name="connsiteY190" fmla="*/ 1870647 h 1978172"/>
              <a:gd name="connsiteX191" fmla="*/ 25397 w 10768629"/>
              <a:gd name="connsiteY191" fmla="*/ 1888443 h 1978172"/>
              <a:gd name="connsiteX192" fmla="*/ 2370 w 10768629"/>
              <a:gd name="connsiteY192" fmla="*/ 1878311 h 1978172"/>
              <a:gd name="connsiteX193" fmla="*/ 0 w 10768629"/>
              <a:gd name="connsiteY193" fmla="*/ 1878785 h 1978172"/>
              <a:gd name="connsiteX194" fmla="*/ 0 w 10768629"/>
              <a:gd name="connsiteY194" fmla="*/ 0 h 1978172"/>
              <a:gd name="connsiteX0" fmla="*/ 0 w 10768629"/>
              <a:gd name="connsiteY0" fmla="*/ 0 h 1978172"/>
              <a:gd name="connsiteX1" fmla="*/ 10768629 w 10768629"/>
              <a:gd name="connsiteY1" fmla="*/ 0 h 1978172"/>
              <a:gd name="connsiteX2" fmla="*/ 10733254 w 10768629"/>
              <a:gd name="connsiteY2" fmla="*/ 31439 h 1978172"/>
              <a:gd name="connsiteX3" fmla="*/ 10727085 w 10768629"/>
              <a:gd name="connsiteY3" fmla="*/ 37910 h 1978172"/>
              <a:gd name="connsiteX4" fmla="*/ 10675953 w 10768629"/>
              <a:gd name="connsiteY4" fmla="*/ 68623 h 1978172"/>
              <a:gd name="connsiteX5" fmla="*/ 10637091 w 10768629"/>
              <a:gd name="connsiteY5" fmla="*/ 90361 h 1978172"/>
              <a:gd name="connsiteX6" fmla="*/ 10610971 w 10768629"/>
              <a:gd name="connsiteY6" fmla="*/ 110764 h 1978172"/>
              <a:gd name="connsiteX7" fmla="*/ 10532872 w 10768629"/>
              <a:gd name="connsiteY7" fmla="*/ 138028 h 1978172"/>
              <a:gd name="connsiteX8" fmla="*/ 10398558 w 10768629"/>
              <a:gd name="connsiteY8" fmla="*/ 172911 h 1978172"/>
              <a:gd name="connsiteX9" fmla="*/ 10371128 w 10768629"/>
              <a:gd name="connsiteY9" fmla="*/ 182609 h 1978172"/>
              <a:gd name="connsiteX10" fmla="*/ 10352178 w 10768629"/>
              <a:gd name="connsiteY10" fmla="*/ 199976 h 1978172"/>
              <a:gd name="connsiteX11" fmla="*/ 10351815 w 10768629"/>
              <a:gd name="connsiteY11" fmla="*/ 211879 h 1978172"/>
              <a:gd name="connsiteX12" fmla="*/ 10337471 w 10768629"/>
              <a:gd name="connsiteY12" fmla="*/ 218661 h 1978172"/>
              <a:gd name="connsiteX13" fmla="*/ 10334625 w 10768629"/>
              <a:gd name="connsiteY13" fmla="*/ 222351 h 1978172"/>
              <a:gd name="connsiteX14" fmla="*/ 10256365 w 10768629"/>
              <a:gd name="connsiteY14" fmla="*/ 235917 h 1978172"/>
              <a:gd name="connsiteX15" fmla="*/ 10201127 w 10768629"/>
              <a:gd name="connsiteY15" fmla="*/ 267448 h 1978172"/>
              <a:gd name="connsiteX16" fmla="*/ 9961218 w 10768629"/>
              <a:gd name="connsiteY16" fmla="*/ 326720 h 1978172"/>
              <a:gd name="connsiteX17" fmla="*/ 9859715 w 10768629"/>
              <a:gd name="connsiteY17" fmla="*/ 355698 h 1978172"/>
              <a:gd name="connsiteX18" fmla="*/ 9679867 w 10768629"/>
              <a:gd name="connsiteY18" fmla="*/ 399081 h 1978172"/>
              <a:gd name="connsiteX19" fmla="*/ 9490654 w 10768629"/>
              <a:gd name="connsiteY19" fmla="*/ 455225 h 1978172"/>
              <a:gd name="connsiteX20" fmla="*/ 9470837 w 10768629"/>
              <a:gd name="connsiteY20" fmla="*/ 452539 h 1978172"/>
              <a:gd name="connsiteX21" fmla="*/ 9469082 w 10768629"/>
              <a:gd name="connsiteY21" fmla="*/ 454891 h 1978172"/>
              <a:gd name="connsiteX22" fmla="*/ 9448038 w 10768629"/>
              <a:gd name="connsiteY22" fmla="*/ 459733 h 1978172"/>
              <a:gd name="connsiteX23" fmla="*/ 9396821 w 10768629"/>
              <a:gd name="connsiteY23" fmla="*/ 455795 h 1978172"/>
              <a:gd name="connsiteX24" fmla="*/ 9392197 w 10768629"/>
              <a:gd name="connsiteY24" fmla="*/ 459796 h 1978172"/>
              <a:gd name="connsiteX25" fmla="*/ 9347994 w 10768629"/>
              <a:gd name="connsiteY25" fmla="*/ 464462 h 1978172"/>
              <a:gd name="connsiteX26" fmla="*/ 9347889 w 10768629"/>
              <a:gd name="connsiteY26" fmla="*/ 466539 h 1978172"/>
              <a:gd name="connsiteX27" fmla="*/ 9337639 w 10768629"/>
              <a:gd name="connsiteY27" fmla="*/ 476654 h 1978172"/>
              <a:gd name="connsiteX28" fmla="*/ 9316893 w 10768629"/>
              <a:gd name="connsiteY28" fmla="*/ 491390 h 1978172"/>
              <a:gd name="connsiteX29" fmla="*/ 9229283 w 10768629"/>
              <a:gd name="connsiteY29" fmla="*/ 555377 h 1978172"/>
              <a:gd name="connsiteX30" fmla="*/ 9220274 w 10768629"/>
              <a:gd name="connsiteY30" fmla="*/ 557502 h 1978172"/>
              <a:gd name="connsiteX31" fmla="*/ 9220202 w 10768629"/>
              <a:gd name="connsiteY31" fmla="*/ 558001 h 1978172"/>
              <a:gd name="connsiteX32" fmla="*/ 9210908 w 10768629"/>
              <a:gd name="connsiteY32" fmla="*/ 561147 h 1978172"/>
              <a:gd name="connsiteX33" fmla="*/ 9186374 w 10768629"/>
              <a:gd name="connsiteY33" fmla="*/ 565502 h 1978172"/>
              <a:gd name="connsiteX34" fmla="*/ 9181058 w 10768629"/>
              <a:gd name="connsiteY34" fmla="*/ 569943 h 1978172"/>
              <a:gd name="connsiteX35" fmla="*/ 9179948 w 10768629"/>
              <a:gd name="connsiteY35" fmla="*/ 576062 h 1978172"/>
              <a:gd name="connsiteX36" fmla="*/ 9149110 w 10768629"/>
              <a:gd name="connsiteY36" fmla="*/ 598906 h 1978172"/>
              <a:gd name="connsiteX37" fmla="*/ 9078556 w 10768629"/>
              <a:gd name="connsiteY37" fmla="*/ 644039 h 1978172"/>
              <a:gd name="connsiteX38" fmla="*/ 8996399 w 10768629"/>
              <a:gd name="connsiteY38" fmla="*/ 690055 h 1978172"/>
              <a:gd name="connsiteX39" fmla="*/ 8803791 w 10768629"/>
              <a:gd name="connsiteY39" fmla="*/ 813860 h 1978172"/>
              <a:gd name="connsiteX40" fmla="*/ 8636202 w 10768629"/>
              <a:gd name="connsiteY40" fmla="*/ 848463 h 1978172"/>
              <a:gd name="connsiteX41" fmla="*/ 8555372 w 10768629"/>
              <a:gd name="connsiteY41" fmla="*/ 883171 h 1978172"/>
              <a:gd name="connsiteX42" fmla="*/ 8507229 w 10768629"/>
              <a:gd name="connsiteY42" fmla="*/ 901665 h 1978172"/>
              <a:gd name="connsiteX43" fmla="*/ 8428473 w 10768629"/>
              <a:gd name="connsiteY43" fmla="*/ 927985 h 1978172"/>
              <a:gd name="connsiteX44" fmla="*/ 8427914 w 10768629"/>
              <a:gd name="connsiteY44" fmla="*/ 933480 h 1978172"/>
              <a:gd name="connsiteX45" fmla="*/ 8420327 w 10768629"/>
              <a:gd name="connsiteY45" fmla="*/ 941984 h 1978172"/>
              <a:gd name="connsiteX46" fmla="*/ 8394729 w 10768629"/>
              <a:gd name="connsiteY46" fmla="*/ 948347 h 1978172"/>
              <a:gd name="connsiteX47" fmla="*/ 8380548 w 10768629"/>
              <a:gd name="connsiteY47" fmla="*/ 987916 h 1978172"/>
              <a:gd name="connsiteX48" fmla="*/ 8379462 w 10768629"/>
              <a:gd name="connsiteY48" fmla="*/ 987106 h 1978172"/>
              <a:gd name="connsiteX49" fmla="*/ 8340796 w 10768629"/>
              <a:gd name="connsiteY49" fmla="*/ 980522 h 1978172"/>
              <a:gd name="connsiteX50" fmla="*/ 8304438 w 10768629"/>
              <a:gd name="connsiteY50" fmla="*/ 996739 h 1978172"/>
              <a:gd name="connsiteX51" fmla="*/ 8280929 w 10768629"/>
              <a:gd name="connsiteY51" fmla="*/ 1023089 h 1978172"/>
              <a:gd name="connsiteX52" fmla="*/ 8275760 w 10768629"/>
              <a:gd name="connsiteY52" fmla="*/ 1027772 h 1978172"/>
              <a:gd name="connsiteX53" fmla="*/ 8275478 w 10768629"/>
              <a:gd name="connsiteY53" fmla="*/ 1027605 h 1978172"/>
              <a:gd name="connsiteX54" fmla="*/ 8269666 w 10768629"/>
              <a:gd name="connsiteY54" fmla="*/ 1032033 h 1978172"/>
              <a:gd name="connsiteX55" fmla="*/ 8203836 w 10768629"/>
              <a:gd name="connsiteY55" fmla="*/ 1037347 h 1978172"/>
              <a:gd name="connsiteX56" fmla="*/ 8122936 w 10768629"/>
              <a:gd name="connsiteY56" fmla="*/ 1063113 h 1978172"/>
              <a:gd name="connsiteX57" fmla="*/ 8043658 w 10768629"/>
              <a:gd name="connsiteY57" fmla="*/ 1092746 h 1978172"/>
              <a:gd name="connsiteX58" fmla="*/ 8015351 w 10768629"/>
              <a:gd name="connsiteY58" fmla="*/ 1105478 h 1978172"/>
              <a:gd name="connsiteX59" fmla="*/ 7963145 w 10768629"/>
              <a:gd name="connsiteY59" fmla="*/ 1119346 h 1978172"/>
              <a:gd name="connsiteX60" fmla="*/ 7938145 w 10768629"/>
              <a:gd name="connsiteY60" fmla="*/ 1120225 h 1978172"/>
              <a:gd name="connsiteX61" fmla="*/ 7937238 w 10768629"/>
              <a:gd name="connsiteY61" fmla="*/ 1121204 h 1978172"/>
              <a:gd name="connsiteX62" fmla="*/ 7934398 w 10768629"/>
              <a:gd name="connsiteY62" fmla="*/ 1118240 h 1978172"/>
              <a:gd name="connsiteX63" fmla="*/ 7918248 w 10768629"/>
              <a:gd name="connsiteY63" fmla="*/ 1124371 h 1978172"/>
              <a:gd name="connsiteX64" fmla="*/ 7914119 w 10768629"/>
              <a:gd name="connsiteY64" fmla="*/ 1127653 h 1978172"/>
              <a:gd name="connsiteX65" fmla="*/ 7907658 w 10768629"/>
              <a:gd name="connsiteY65" fmla="*/ 1130350 h 1978172"/>
              <a:gd name="connsiteX66" fmla="*/ 7907434 w 10768629"/>
              <a:gd name="connsiteY66" fmla="*/ 1130103 h 1978172"/>
              <a:gd name="connsiteX67" fmla="*/ 7901508 w 10768629"/>
              <a:gd name="connsiteY67" fmla="*/ 1133245 h 1978172"/>
              <a:gd name="connsiteX68" fmla="*/ 7873287 w 10768629"/>
              <a:gd name="connsiteY68" fmla="*/ 1152609 h 1978172"/>
              <a:gd name="connsiteX69" fmla="*/ 7834833 w 10768629"/>
              <a:gd name="connsiteY69" fmla="*/ 1153868 h 1978172"/>
              <a:gd name="connsiteX70" fmla="*/ 7828661 w 10768629"/>
              <a:gd name="connsiteY70" fmla="*/ 1139994 h 1978172"/>
              <a:gd name="connsiteX71" fmla="*/ 7823966 w 10768629"/>
              <a:gd name="connsiteY71" fmla="*/ 1143178 h 1978172"/>
              <a:gd name="connsiteX72" fmla="*/ 7815078 w 10768629"/>
              <a:gd name="connsiteY72" fmla="*/ 1151776 h 1978172"/>
              <a:gd name="connsiteX73" fmla="*/ 7812026 w 10768629"/>
              <a:gd name="connsiteY73" fmla="*/ 1151522 h 1978172"/>
              <a:gd name="connsiteX74" fmla="*/ 7782249 w 10768629"/>
              <a:gd name="connsiteY74" fmla="*/ 1160970 h 1978172"/>
              <a:gd name="connsiteX75" fmla="*/ 7773476 w 10768629"/>
              <a:gd name="connsiteY75" fmla="*/ 1157414 h 1978172"/>
              <a:gd name="connsiteX76" fmla="*/ 7769600 w 10768629"/>
              <a:gd name="connsiteY76" fmla="*/ 1157365 h 1978172"/>
              <a:gd name="connsiteX77" fmla="*/ 7752631 w 10768629"/>
              <a:gd name="connsiteY77" fmla="*/ 1172815 h 1978172"/>
              <a:gd name="connsiteX78" fmla="*/ 7743525 w 10768629"/>
              <a:gd name="connsiteY78" fmla="*/ 1179064 h 1978172"/>
              <a:gd name="connsiteX79" fmla="*/ 7685942 w 10768629"/>
              <a:gd name="connsiteY79" fmla="*/ 1233723 h 1978172"/>
              <a:gd name="connsiteX80" fmla="*/ 7586920 w 10768629"/>
              <a:gd name="connsiteY80" fmla="*/ 1261888 h 1978172"/>
              <a:gd name="connsiteX81" fmla="*/ 7486100 w 10768629"/>
              <a:gd name="connsiteY81" fmla="*/ 1292563 h 1978172"/>
              <a:gd name="connsiteX82" fmla="*/ 7407190 w 10768629"/>
              <a:gd name="connsiteY82" fmla="*/ 1314737 h 1978172"/>
              <a:gd name="connsiteX83" fmla="*/ 7240698 w 10768629"/>
              <a:gd name="connsiteY83" fmla="*/ 1438832 h 1978172"/>
              <a:gd name="connsiteX84" fmla="*/ 7197675 w 10768629"/>
              <a:gd name="connsiteY84" fmla="*/ 1447530 h 1978172"/>
              <a:gd name="connsiteX85" fmla="*/ 7164788 w 10768629"/>
              <a:gd name="connsiteY85" fmla="*/ 1480293 h 1978172"/>
              <a:gd name="connsiteX86" fmla="*/ 7147929 w 10768629"/>
              <a:gd name="connsiteY86" fmla="*/ 1477641 h 1978172"/>
              <a:gd name="connsiteX87" fmla="*/ 7144965 w 10768629"/>
              <a:gd name="connsiteY87" fmla="*/ 1476908 h 1978172"/>
              <a:gd name="connsiteX88" fmla="*/ 7134299 w 10768629"/>
              <a:gd name="connsiteY88" fmla="*/ 1479969 h 1978172"/>
              <a:gd name="connsiteX89" fmla="*/ 7129809 w 10768629"/>
              <a:gd name="connsiteY89" fmla="*/ 1473339 h 1978172"/>
              <a:gd name="connsiteX90" fmla="*/ 7112688 w 10768629"/>
              <a:gd name="connsiteY90" fmla="*/ 1472575 h 1978172"/>
              <a:gd name="connsiteX91" fmla="*/ 7093470 w 10768629"/>
              <a:gd name="connsiteY91" fmla="*/ 1480300 h 1978172"/>
              <a:gd name="connsiteX92" fmla="*/ 7025034 w 10768629"/>
              <a:gd name="connsiteY92" fmla="*/ 1506934 h 1978172"/>
              <a:gd name="connsiteX93" fmla="*/ 7014783 w 10768629"/>
              <a:gd name="connsiteY93" fmla="*/ 1515868 h 1978172"/>
              <a:gd name="connsiteX94" fmla="*/ 6979706 w 10768629"/>
              <a:gd name="connsiteY94" fmla="*/ 1523511 h 1978172"/>
              <a:gd name="connsiteX95" fmla="*/ 6977890 w 10768629"/>
              <a:gd name="connsiteY95" fmla="*/ 1525793 h 1978172"/>
              <a:gd name="connsiteX96" fmla="*/ 6944339 w 10768629"/>
              <a:gd name="connsiteY96" fmla="*/ 1536237 h 1978172"/>
              <a:gd name="connsiteX97" fmla="*/ 6886996 w 10768629"/>
              <a:gd name="connsiteY97" fmla="*/ 1563569 h 1978172"/>
              <a:gd name="connsiteX98" fmla="*/ 6874510 w 10768629"/>
              <a:gd name="connsiteY98" fmla="*/ 1558469 h 1978172"/>
              <a:gd name="connsiteX99" fmla="*/ 6871943 w 10768629"/>
              <a:gd name="connsiteY99" fmla="*/ 1554651 h 1978172"/>
              <a:gd name="connsiteX100" fmla="*/ 6856174 w 10768629"/>
              <a:gd name="connsiteY100" fmla="*/ 1562024 h 1978172"/>
              <a:gd name="connsiteX101" fmla="*/ 6842321 w 10768629"/>
              <a:gd name="connsiteY101" fmla="*/ 1560554 h 1978172"/>
              <a:gd name="connsiteX102" fmla="*/ 6832713 w 10768629"/>
              <a:gd name="connsiteY102" fmla="*/ 1569357 h 1978172"/>
              <a:gd name="connsiteX103" fmla="*/ 6816351 w 10768629"/>
              <a:gd name="connsiteY103" fmla="*/ 1571495 h 1978172"/>
              <a:gd name="connsiteX104" fmla="*/ 6795800 w 10768629"/>
              <a:gd name="connsiteY104" fmla="*/ 1572010 h 1978172"/>
              <a:gd name="connsiteX105" fmla="*/ 6777546 w 10768629"/>
              <a:gd name="connsiteY105" fmla="*/ 1568661 h 1978172"/>
              <a:gd name="connsiteX106" fmla="*/ 6751528 w 10768629"/>
              <a:gd name="connsiteY106" fmla="*/ 1574143 h 1978172"/>
              <a:gd name="connsiteX107" fmla="*/ 6691966 w 10768629"/>
              <a:gd name="connsiteY107" fmla="*/ 1582255 h 1978172"/>
              <a:gd name="connsiteX108" fmla="*/ 6646941 w 10768629"/>
              <a:gd name="connsiteY108" fmla="*/ 1588471 h 1978172"/>
              <a:gd name="connsiteX109" fmla="*/ 6568576 w 10768629"/>
              <a:gd name="connsiteY109" fmla="*/ 1606488 h 1978172"/>
              <a:gd name="connsiteX110" fmla="*/ 6554358 w 10768629"/>
              <a:gd name="connsiteY110" fmla="*/ 1621701 h 1978172"/>
              <a:gd name="connsiteX111" fmla="*/ 6516968 w 10768629"/>
              <a:gd name="connsiteY111" fmla="*/ 1617195 h 1978172"/>
              <a:gd name="connsiteX112" fmla="*/ 6506479 w 10768629"/>
              <a:gd name="connsiteY112" fmla="*/ 1602227 h 1978172"/>
              <a:gd name="connsiteX113" fmla="*/ 6458436 w 10768629"/>
              <a:gd name="connsiteY113" fmla="*/ 1607332 h 1978172"/>
              <a:gd name="connsiteX114" fmla="*/ 6414786 w 10768629"/>
              <a:gd name="connsiteY114" fmla="*/ 1628815 h 1978172"/>
              <a:gd name="connsiteX115" fmla="*/ 6357085 w 10768629"/>
              <a:gd name="connsiteY115" fmla="*/ 1640846 h 1978172"/>
              <a:gd name="connsiteX116" fmla="*/ 6322636 w 10768629"/>
              <a:gd name="connsiteY116" fmla="*/ 1648213 h 1978172"/>
              <a:gd name="connsiteX117" fmla="*/ 6226172 w 10768629"/>
              <a:gd name="connsiteY117" fmla="*/ 1654676 h 1978172"/>
              <a:gd name="connsiteX118" fmla="*/ 6221217 w 10768629"/>
              <a:gd name="connsiteY118" fmla="*/ 1654506 h 1978172"/>
              <a:gd name="connsiteX119" fmla="*/ 6204956 w 10768629"/>
              <a:gd name="connsiteY119" fmla="*/ 1664280 h 1978172"/>
              <a:gd name="connsiteX120" fmla="*/ 6204270 w 10768629"/>
              <a:gd name="connsiteY120" fmla="*/ 1666782 h 1978172"/>
              <a:gd name="connsiteX121" fmla="*/ 6143810 w 10768629"/>
              <a:gd name="connsiteY121" fmla="*/ 1661963 h 1978172"/>
              <a:gd name="connsiteX122" fmla="*/ 6136560 w 10768629"/>
              <a:gd name="connsiteY122" fmla="*/ 1665728 h 1978172"/>
              <a:gd name="connsiteX123" fmla="*/ 6096155 w 10768629"/>
              <a:gd name="connsiteY123" fmla="*/ 1656951 h 1978172"/>
              <a:gd name="connsiteX124" fmla="*/ 6075812 w 10768629"/>
              <a:gd name="connsiteY124" fmla="*/ 1655422 h 1978172"/>
              <a:gd name="connsiteX125" fmla="*/ 6039495 w 10768629"/>
              <a:gd name="connsiteY125" fmla="*/ 1649680 h 1978172"/>
              <a:gd name="connsiteX126" fmla="*/ 6036523 w 10768629"/>
              <a:gd name="connsiteY126" fmla="*/ 1652121 h 1978172"/>
              <a:gd name="connsiteX127" fmla="*/ 6029328 w 10768629"/>
              <a:gd name="connsiteY127" fmla="*/ 1649904 h 1978172"/>
              <a:gd name="connsiteX128" fmla="*/ 6024075 w 10768629"/>
              <a:gd name="connsiteY128" fmla="*/ 1652779 h 1978172"/>
              <a:gd name="connsiteX129" fmla="*/ 6018085 w 10768629"/>
              <a:gd name="connsiteY129" fmla="*/ 1652030 h 1978172"/>
              <a:gd name="connsiteX130" fmla="*/ 5955513 w 10768629"/>
              <a:gd name="connsiteY130" fmla="*/ 1663584 h 1978172"/>
              <a:gd name="connsiteX131" fmla="*/ 5941996 w 10768629"/>
              <a:gd name="connsiteY131" fmla="*/ 1661326 h 1978172"/>
              <a:gd name="connsiteX132" fmla="*/ 5931789 w 10768629"/>
              <a:gd name="connsiteY132" fmla="*/ 1669915 h 1978172"/>
              <a:gd name="connsiteX133" fmla="*/ 5888686 w 10768629"/>
              <a:gd name="connsiteY133" fmla="*/ 1672175 h 1978172"/>
              <a:gd name="connsiteX134" fmla="*/ 5873794 w 10768629"/>
              <a:gd name="connsiteY134" fmla="*/ 1665454 h 1978172"/>
              <a:gd name="connsiteX135" fmla="*/ 5860022 w 10768629"/>
              <a:gd name="connsiteY135" fmla="*/ 1660635 h 1978172"/>
              <a:gd name="connsiteX136" fmla="*/ 5858237 w 10768629"/>
              <a:gd name="connsiteY136" fmla="*/ 1660649 h 1978172"/>
              <a:gd name="connsiteX137" fmla="*/ 5840319 w 10768629"/>
              <a:gd name="connsiteY137" fmla="*/ 1660798 h 1978172"/>
              <a:gd name="connsiteX138" fmla="*/ 5806984 w 10768629"/>
              <a:gd name="connsiteY138" fmla="*/ 1661075 h 1978172"/>
              <a:gd name="connsiteX139" fmla="*/ 5742351 w 10768629"/>
              <a:gd name="connsiteY139" fmla="*/ 1667489 h 1978172"/>
              <a:gd name="connsiteX140" fmla="*/ 5521171 w 10768629"/>
              <a:gd name="connsiteY140" fmla="*/ 1671626 h 1978172"/>
              <a:gd name="connsiteX141" fmla="*/ 5457384 w 10768629"/>
              <a:gd name="connsiteY141" fmla="*/ 1683952 h 1978172"/>
              <a:gd name="connsiteX142" fmla="*/ 4950070 w 10768629"/>
              <a:gd name="connsiteY142" fmla="*/ 1748401 h 1978172"/>
              <a:gd name="connsiteX143" fmla="*/ 4872172 w 10768629"/>
              <a:gd name="connsiteY143" fmla="*/ 1757222 h 1978172"/>
              <a:gd name="connsiteX144" fmla="*/ 4809524 w 10768629"/>
              <a:gd name="connsiteY144" fmla="*/ 1761033 h 1978172"/>
              <a:gd name="connsiteX145" fmla="*/ 4759058 w 10768629"/>
              <a:gd name="connsiteY145" fmla="*/ 1766533 h 1978172"/>
              <a:gd name="connsiteX146" fmla="*/ 4719749 w 10768629"/>
              <a:gd name="connsiteY146" fmla="*/ 1771811 h 1978172"/>
              <a:gd name="connsiteX147" fmla="*/ 4568686 w 10768629"/>
              <a:gd name="connsiteY147" fmla="*/ 1786141 h 1978172"/>
              <a:gd name="connsiteX148" fmla="*/ 4418751 w 10768629"/>
              <a:gd name="connsiteY148" fmla="*/ 1796932 h 1978172"/>
              <a:gd name="connsiteX149" fmla="*/ 4378377 w 10768629"/>
              <a:gd name="connsiteY149" fmla="*/ 1815528 h 1978172"/>
              <a:gd name="connsiteX150" fmla="*/ 4320575 w 10768629"/>
              <a:gd name="connsiteY150" fmla="*/ 1832722 h 1978172"/>
              <a:gd name="connsiteX151" fmla="*/ 4220200 w 10768629"/>
              <a:gd name="connsiteY151" fmla="*/ 1873173 h 1978172"/>
              <a:gd name="connsiteX152" fmla="*/ 4105361 w 10768629"/>
              <a:gd name="connsiteY152" fmla="*/ 1894711 h 1978172"/>
              <a:gd name="connsiteX153" fmla="*/ 3973223 w 10768629"/>
              <a:gd name="connsiteY153" fmla="*/ 1881015 h 1978172"/>
              <a:gd name="connsiteX154" fmla="*/ 3900992 w 10768629"/>
              <a:gd name="connsiteY154" fmla="*/ 1880603 h 1978172"/>
              <a:gd name="connsiteX155" fmla="*/ 3662119 w 10768629"/>
              <a:gd name="connsiteY155" fmla="*/ 1889285 h 1978172"/>
              <a:gd name="connsiteX156" fmla="*/ 3496919 w 10768629"/>
              <a:gd name="connsiteY156" fmla="*/ 1873180 h 1978172"/>
              <a:gd name="connsiteX157" fmla="*/ 3449433 w 10768629"/>
              <a:gd name="connsiteY157" fmla="*/ 1889681 h 1978172"/>
              <a:gd name="connsiteX158" fmla="*/ 3369766 w 10768629"/>
              <a:gd name="connsiteY158" fmla="*/ 1916653 h 1978172"/>
              <a:gd name="connsiteX159" fmla="*/ 3269672 w 10768629"/>
              <a:gd name="connsiteY159" fmla="*/ 1938036 h 1978172"/>
              <a:gd name="connsiteX160" fmla="*/ 3224897 w 10768629"/>
              <a:gd name="connsiteY160" fmla="*/ 1943733 h 1978172"/>
              <a:gd name="connsiteX161" fmla="*/ 3161463 w 10768629"/>
              <a:gd name="connsiteY161" fmla="*/ 1946591 h 1978172"/>
              <a:gd name="connsiteX162" fmla="*/ 3112044 w 10768629"/>
              <a:gd name="connsiteY162" fmla="*/ 1935614 h 1978172"/>
              <a:gd name="connsiteX163" fmla="*/ 3069716 w 10768629"/>
              <a:gd name="connsiteY163" fmla="*/ 1930463 h 1978172"/>
              <a:gd name="connsiteX164" fmla="*/ 3005773 w 10768629"/>
              <a:gd name="connsiteY164" fmla="*/ 1915878 h 1978172"/>
              <a:gd name="connsiteX165" fmla="*/ 2897201 w 10768629"/>
              <a:gd name="connsiteY165" fmla="*/ 1926772 h 1978172"/>
              <a:gd name="connsiteX166" fmla="*/ 2783891 w 10768629"/>
              <a:gd name="connsiteY166" fmla="*/ 1931749 h 1978172"/>
              <a:gd name="connsiteX167" fmla="*/ 2712447 w 10768629"/>
              <a:gd name="connsiteY167" fmla="*/ 1933044 h 1978172"/>
              <a:gd name="connsiteX168" fmla="*/ 2560151 w 10768629"/>
              <a:gd name="connsiteY168" fmla="*/ 1963609 h 1978172"/>
              <a:gd name="connsiteX169" fmla="*/ 2367221 w 10768629"/>
              <a:gd name="connsiteY169" fmla="*/ 1971884 h 1978172"/>
              <a:gd name="connsiteX170" fmla="*/ 2272130 w 10768629"/>
              <a:gd name="connsiteY170" fmla="*/ 1961162 h 1978172"/>
              <a:gd name="connsiteX171" fmla="*/ 2189404 w 10768629"/>
              <a:gd name="connsiteY171" fmla="*/ 1978172 h 1978172"/>
              <a:gd name="connsiteX172" fmla="*/ 2077704 w 10768629"/>
              <a:gd name="connsiteY172" fmla="*/ 1965002 h 1978172"/>
              <a:gd name="connsiteX173" fmla="*/ 2033299 w 10768629"/>
              <a:gd name="connsiteY173" fmla="*/ 1969042 h 1978172"/>
              <a:gd name="connsiteX174" fmla="*/ 1967996 w 10768629"/>
              <a:gd name="connsiteY174" fmla="*/ 1953187 h 1978172"/>
              <a:gd name="connsiteX175" fmla="*/ 1855805 w 10768629"/>
              <a:gd name="connsiteY175" fmla="*/ 1926082 h 1978172"/>
              <a:gd name="connsiteX176" fmla="*/ 1790957 w 10768629"/>
              <a:gd name="connsiteY176" fmla="*/ 1919460 h 1978172"/>
              <a:gd name="connsiteX177" fmla="*/ 1613978 w 10768629"/>
              <a:gd name="connsiteY177" fmla="*/ 1891581 h 1978172"/>
              <a:gd name="connsiteX178" fmla="*/ 1436831 w 10768629"/>
              <a:gd name="connsiteY178" fmla="*/ 1856201 h 1978172"/>
              <a:gd name="connsiteX179" fmla="*/ 1357365 w 10768629"/>
              <a:gd name="connsiteY179" fmla="*/ 1832140 h 1978172"/>
              <a:gd name="connsiteX180" fmla="*/ 1232341 w 10768629"/>
              <a:gd name="connsiteY180" fmla="*/ 1785942 h 1978172"/>
              <a:gd name="connsiteX181" fmla="*/ 1162595 w 10768629"/>
              <a:gd name="connsiteY181" fmla="*/ 1758337 h 1978172"/>
              <a:gd name="connsiteX182" fmla="*/ 1128523 w 10768629"/>
              <a:gd name="connsiteY182" fmla="*/ 1763621 h 1978172"/>
              <a:gd name="connsiteX183" fmla="*/ 991903 w 10768629"/>
              <a:gd name="connsiteY183" fmla="*/ 1786741 h 1978172"/>
              <a:gd name="connsiteX184" fmla="*/ 883960 w 10768629"/>
              <a:gd name="connsiteY184" fmla="*/ 1822386 h 1978172"/>
              <a:gd name="connsiteX185" fmla="*/ 766531 w 10768629"/>
              <a:gd name="connsiteY185" fmla="*/ 1805053 h 1978172"/>
              <a:gd name="connsiteX186" fmla="*/ 669779 w 10768629"/>
              <a:gd name="connsiteY186" fmla="*/ 1800537 h 1978172"/>
              <a:gd name="connsiteX187" fmla="*/ 523898 w 10768629"/>
              <a:gd name="connsiteY187" fmla="*/ 1811085 h 1978172"/>
              <a:gd name="connsiteX188" fmla="*/ 360251 w 10768629"/>
              <a:gd name="connsiteY188" fmla="*/ 1830735 h 1978172"/>
              <a:gd name="connsiteX189" fmla="*/ 255207 w 10768629"/>
              <a:gd name="connsiteY189" fmla="*/ 1818275 h 1978172"/>
              <a:gd name="connsiteX190" fmla="*/ 101803 w 10768629"/>
              <a:gd name="connsiteY190" fmla="*/ 1870647 h 1978172"/>
              <a:gd name="connsiteX191" fmla="*/ 25397 w 10768629"/>
              <a:gd name="connsiteY191" fmla="*/ 1888443 h 1978172"/>
              <a:gd name="connsiteX192" fmla="*/ 2370 w 10768629"/>
              <a:gd name="connsiteY192" fmla="*/ 1878311 h 1978172"/>
              <a:gd name="connsiteX193" fmla="*/ 0 w 10768629"/>
              <a:gd name="connsiteY193" fmla="*/ 1878785 h 1978172"/>
              <a:gd name="connsiteX194" fmla="*/ 0 w 10768629"/>
              <a:gd name="connsiteY194" fmla="*/ 0 h 1978172"/>
              <a:gd name="connsiteX0" fmla="*/ 0 w 10768629"/>
              <a:gd name="connsiteY0" fmla="*/ 0 h 1978172"/>
              <a:gd name="connsiteX1" fmla="*/ 10768629 w 10768629"/>
              <a:gd name="connsiteY1" fmla="*/ 0 h 1978172"/>
              <a:gd name="connsiteX2" fmla="*/ 10733254 w 10768629"/>
              <a:gd name="connsiteY2" fmla="*/ 31439 h 1978172"/>
              <a:gd name="connsiteX3" fmla="*/ 10727085 w 10768629"/>
              <a:gd name="connsiteY3" fmla="*/ 37910 h 1978172"/>
              <a:gd name="connsiteX4" fmla="*/ 10675953 w 10768629"/>
              <a:gd name="connsiteY4" fmla="*/ 68623 h 1978172"/>
              <a:gd name="connsiteX5" fmla="*/ 10637091 w 10768629"/>
              <a:gd name="connsiteY5" fmla="*/ 90361 h 1978172"/>
              <a:gd name="connsiteX6" fmla="*/ 10610971 w 10768629"/>
              <a:gd name="connsiteY6" fmla="*/ 110764 h 1978172"/>
              <a:gd name="connsiteX7" fmla="*/ 10532872 w 10768629"/>
              <a:gd name="connsiteY7" fmla="*/ 138028 h 1978172"/>
              <a:gd name="connsiteX8" fmla="*/ 10398558 w 10768629"/>
              <a:gd name="connsiteY8" fmla="*/ 172911 h 1978172"/>
              <a:gd name="connsiteX9" fmla="*/ 10371128 w 10768629"/>
              <a:gd name="connsiteY9" fmla="*/ 182609 h 1978172"/>
              <a:gd name="connsiteX10" fmla="*/ 10352178 w 10768629"/>
              <a:gd name="connsiteY10" fmla="*/ 199976 h 1978172"/>
              <a:gd name="connsiteX11" fmla="*/ 10351815 w 10768629"/>
              <a:gd name="connsiteY11" fmla="*/ 211879 h 1978172"/>
              <a:gd name="connsiteX12" fmla="*/ 10337471 w 10768629"/>
              <a:gd name="connsiteY12" fmla="*/ 218661 h 1978172"/>
              <a:gd name="connsiteX13" fmla="*/ 10334625 w 10768629"/>
              <a:gd name="connsiteY13" fmla="*/ 222351 h 1978172"/>
              <a:gd name="connsiteX14" fmla="*/ 10256365 w 10768629"/>
              <a:gd name="connsiteY14" fmla="*/ 235917 h 1978172"/>
              <a:gd name="connsiteX15" fmla="*/ 10201127 w 10768629"/>
              <a:gd name="connsiteY15" fmla="*/ 267448 h 1978172"/>
              <a:gd name="connsiteX16" fmla="*/ 9961218 w 10768629"/>
              <a:gd name="connsiteY16" fmla="*/ 326720 h 1978172"/>
              <a:gd name="connsiteX17" fmla="*/ 9859715 w 10768629"/>
              <a:gd name="connsiteY17" fmla="*/ 355698 h 1978172"/>
              <a:gd name="connsiteX18" fmla="*/ 9679867 w 10768629"/>
              <a:gd name="connsiteY18" fmla="*/ 399081 h 1978172"/>
              <a:gd name="connsiteX19" fmla="*/ 9490654 w 10768629"/>
              <a:gd name="connsiteY19" fmla="*/ 455225 h 1978172"/>
              <a:gd name="connsiteX20" fmla="*/ 9470837 w 10768629"/>
              <a:gd name="connsiteY20" fmla="*/ 452539 h 1978172"/>
              <a:gd name="connsiteX21" fmla="*/ 9469082 w 10768629"/>
              <a:gd name="connsiteY21" fmla="*/ 454891 h 1978172"/>
              <a:gd name="connsiteX22" fmla="*/ 9448038 w 10768629"/>
              <a:gd name="connsiteY22" fmla="*/ 459733 h 1978172"/>
              <a:gd name="connsiteX23" fmla="*/ 9396821 w 10768629"/>
              <a:gd name="connsiteY23" fmla="*/ 455795 h 1978172"/>
              <a:gd name="connsiteX24" fmla="*/ 9392197 w 10768629"/>
              <a:gd name="connsiteY24" fmla="*/ 459796 h 1978172"/>
              <a:gd name="connsiteX25" fmla="*/ 9347994 w 10768629"/>
              <a:gd name="connsiteY25" fmla="*/ 464462 h 1978172"/>
              <a:gd name="connsiteX26" fmla="*/ 9347889 w 10768629"/>
              <a:gd name="connsiteY26" fmla="*/ 466539 h 1978172"/>
              <a:gd name="connsiteX27" fmla="*/ 9337639 w 10768629"/>
              <a:gd name="connsiteY27" fmla="*/ 476654 h 1978172"/>
              <a:gd name="connsiteX28" fmla="*/ 9316893 w 10768629"/>
              <a:gd name="connsiteY28" fmla="*/ 491390 h 1978172"/>
              <a:gd name="connsiteX29" fmla="*/ 9229283 w 10768629"/>
              <a:gd name="connsiteY29" fmla="*/ 555377 h 1978172"/>
              <a:gd name="connsiteX30" fmla="*/ 9220274 w 10768629"/>
              <a:gd name="connsiteY30" fmla="*/ 557502 h 1978172"/>
              <a:gd name="connsiteX31" fmla="*/ 9220202 w 10768629"/>
              <a:gd name="connsiteY31" fmla="*/ 558001 h 1978172"/>
              <a:gd name="connsiteX32" fmla="*/ 9210908 w 10768629"/>
              <a:gd name="connsiteY32" fmla="*/ 561147 h 1978172"/>
              <a:gd name="connsiteX33" fmla="*/ 9186374 w 10768629"/>
              <a:gd name="connsiteY33" fmla="*/ 565502 h 1978172"/>
              <a:gd name="connsiteX34" fmla="*/ 9181058 w 10768629"/>
              <a:gd name="connsiteY34" fmla="*/ 569943 h 1978172"/>
              <a:gd name="connsiteX35" fmla="*/ 9179948 w 10768629"/>
              <a:gd name="connsiteY35" fmla="*/ 576062 h 1978172"/>
              <a:gd name="connsiteX36" fmla="*/ 9149110 w 10768629"/>
              <a:gd name="connsiteY36" fmla="*/ 598906 h 1978172"/>
              <a:gd name="connsiteX37" fmla="*/ 9078556 w 10768629"/>
              <a:gd name="connsiteY37" fmla="*/ 644039 h 1978172"/>
              <a:gd name="connsiteX38" fmla="*/ 8996399 w 10768629"/>
              <a:gd name="connsiteY38" fmla="*/ 690055 h 1978172"/>
              <a:gd name="connsiteX39" fmla="*/ 8803791 w 10768629"/>
              <a:gd name="connsiteY39" fmla="*/ 813860 h 1978172"/>
              <a:gd name="connsiteX40" fmla="*/ 8636202 w 10768629"/>
              <a:gd name="connsiteY40" fmla="*/ 848463 h 1978172"/>
              <a:gd name="connsiteX41" fmla="*/ 8555372 w 10768629"/>
              <a:gd name="connsiteY41" fmla="*/ 883171 h 1978172"/>
              <a:gd name="connsiteX42" fmla="*/ 8507229 w 10768629"/>
              <a:gd name="connsiteY42" fmla="*/ 901665 h 1978172"/>
              <a:gd name="connsiteX43" fmla="*/ 8428473 w 10768629"/>
              <a:gd name="connsiteY43" fmla="*/ 927985 h 1978172"/>
              <a:gd name="connsiteX44" fmla="*/ 8427914 w 10768629"/>
              <a:gd name="connsiteY44" fmla="*/ 933480 h 1978172"/>
              <a:gd name="connsiteX45" fmla="*/ 8420327 w 10768629"/>
              <a:gd name="connsiteY45" fmla="*/ 941984 h 1978172"/>
              <a:gd name="connsiteX46" fmla="*/ 8394729 w 10768629"/>
              <a:gd name="connsiteY46" fmla="*/ 948347 h 1978172"/>
              <a:gd name="connsiteX47" fmla="*/ 8380548 w 10768629"/>
              <a:gd name="connsiteY47" fmla="*/ 987916 h 1978172"/>
              <a:gd name="connsiteX48" fmla="*/ 8375330 w 10768629"/>
              <a:gd name="connsiteY48" fmla="*/ 965444 h 1978172"/>
              <a:gd name="connsiteX49" fmla="*/ 8340796 w 10768629"/>
              <a:gd name="connsiteY49" fmla="*/ 980522 h 1978172"/>
              <a:gd name="connsiteX50" fmla="*/ 8304438 w 10768629"/>
              <a:gd name="connsiteY50" fmla="*/ 996739 h 1978172"/>
              <a:gd name="connsiteX51" fmla="*/ 8280929 w 10768629"/>
              <a:gd name="connsiteY51" fmla="*/ 1023089 h 1978172"/>
              <a:gd name="connsiteX52" fmla="*/ 8275760 w 10768629"/>
              <a:gd name="connsiteY52" fmla="*/ 1027772 h 1978172"/>
              <a:gd name="connsiteX53" fmla="*/ 8275478 w 10768629"/>
              <a:gd name="connsiteY53" fmla="*/ 1027605 h 1978172"/>
              <a:gd name="connsiteX54" fmla="*/ 8269666 w 10768629"/>
              <a:gd name="connsiteY54" fmla="*/ 1032033 h 1978172"/>
              <a:gd name="connsiteX55" fmla="*/ 8203836 w 10768629"/>
              <a:gd name="connsiteY55" fmla="*/ 1037347 h 1978172"/>
              <a:gd name="connsiteX56" fmla="*/ 8122936 w 10768629"/>
              <a:gd name="connsiteY56" fmla="*/ 1063113 h 1978172"/>
              <a:gd name="connsiteX57" fmla="*/ 8043658 w 10768629"/>
              <a:gd name="connsiteY57" fmla="*/ 1092746 h 1978172"/>
              <a:gd name="connsiteX58" fmla="*/ 8015351 w 10768629"/>
              <a:gd name="connsiteY58" fmla="*/ 1105478 h 1978172"/>
              <a:gd name="connsiteX59" fmla="*/ 7963145 w 10768629"/>
              <a:gd name="connsiteY59" fmla="*/ 1119346 h 1978172"/>
              <a:gd name="connsiteX60" fmla="*/ 7938145 w 10768629"/>
              <a:gd name="connsiteY60" fmla="*/ 1120225 h 1978172"/>
              <a:gd name="connsiteX61" fmla="*/ 7937238 w 10768629"/>
              <a:gd name="connsiteY61" fmla="*/ 1121204 h 1978172"/>
              <a:gd name="connsiteX62" fmla="*/ 7934398 w 10768629"/>
              <a:gd name="connsiteY62" fmla="*/ 1118240 h 1978172"/>
              <a:gd name="connsiteX63" fmla="*/ 7918248 w 10768629"/>
              <a:gd name="connsiteY63" fmla="*/ 1124371 h 1978172"/>
              <a:gd name="connsiteX64" fmla="*/ 7914119 w 10768629"/>
              <a:gd name="connsiteY64" fmla="*/ 1127653 h 1978172"/>
              <a:gd name="connsiteX65" fmla="*/ 7907658 w 10768629"/>
              <a:gd name="connsiteY65" fmla="*/ 1130350 h 1978172"/>
              <a:gd name="connsiteX66" fmla="*/ 7907434 w 10768629"/>
              <a:gd name="connsiteY66" fmla="*/ 1130103 h 1978172"/>
              <a:gd name="connsiteX67" fmla="*/ 7901508 w 10768629"/>
              <a:gd name="connsiteY67" fmla="*/ 1133245 h 1978172"/>
              <a:gd name="connsiteX68" fmla="*/ 7873287 w 10768629"/>
              <a:gd name="connsiteY68" fmla="*/ 1152609 h 1978172"/>
              <a:gd name="connsiteX69" fmla="*/ 7834833 w 10768629"/>
              <a:gd name="connsiteY69" fmla="*/ 1153868 h 1978172"/>
              <a:gd name="connsiteX70" fmla="*/ 7828661 w 10768629"/>
              <a:gd name="connsiteY70" fmla="*/ 1139994 h 1978172"/>
              <a:gd name="connsiteX71" fmla="*/ 7823966 w 10768629"/>
              <a:gd name="connsiteY71" fmla="*/ 1143178 h 1978172"/>
              <a:gd name="connsiteX72" fmla="*/ 7815078 w 10768629"/>
              <a:gd name="connsiteY72" fmla="*/ 1151776 h 1978172"/>
              <a:gd name="connsiteX73" fmla="*/ 7812026 w 10768629"/>
              <a:gd name="connsiteY73" fmla="*/ 1151522 h 1978172"/>
              <a:gd name="connsiteX74" fmla="*/ 7782249 w 10768629"/>
              <a:gd name="connsiteY74" fmla="*/ 1160970 h 1978172"/>
              <a:gd name="connsiteX75" fmla="*/ 7773476 w 10768629"/>
              <a:gd name="connsiteY75" fmla="*/ 1157414 h 1978172"/>
              <a:gd name="connsiteX76" fmla="*/ 7769600 w 10768629"/>
              <a:gd name="connsiteY76" fmla="*/ 1157365 h 1978172"/>
              <a:gd name="connsiteX77" fmla="*/ 7752631 w 10768629"/>
              <a:gd name="connsiteY77" fmla="*/ 1172815 h 1978172"/>
              <a:gd name="connsiteX78" fmla="*/ 7743525 w 10768629"/>
              <a:gd name="connsiteY78" fmla="*/ 1179064 h 1978172"/>
              <a:gd name="connsiteX79" fmla="*/ 7685942 w 10768629"/>
              <a:gd name="connsiteY79" fmla="*/ 1233723 h 1978172"/>
              <a:gd name="connsiteX80" fmla="*/ 7586920 w 10768629"/>
              <a:gd name="connsiteY80" fmla="*/ 1261888 h 1978172"/>
              <a:gd name="connsiteX81" fmla="*/ 7486100 w 10768629"/>
              <a:gd name="connsiteY81" fmla="*/ 1292563 h 1978172"/>
              <a:gd name="connsiteX82" fmla="*/ 7407190 w 10768629"/>
              <a:gd name="connsiteY82" fmla="*/ 1314737 h 1978172"/>
              <a:gd name="connsiteX83" fmla="*/ 7240698 w 10768629"/>
              <a:gd name="connsiteY83" fmla="*/ 1438832 h 1978172"/>
              <a:gd name="connsiteX84" fmla="*/ 7197675 w 10768629"/>
              <a:gd name="connsiteY84" fmla="*/ 1447530 h 1978172"/>
              <a:gd name="connsiteX85" fmla="*/ 7164788 w 10768629"/>
              <a:gd name="connsiteY85" fmla="*/ 1480293 h 1978172"/>
              <a:gd name="connsiteX86" fmla="*/ 7147929 w 10768629"/>
              <a:gd name="connsiteY86" fmla="*/ 1477641 h 1978172"/>
              <a:gd name="connsiteX87" fmla="*/ 7144965 w 10768629"/>
              <a:gd name="connsiteY87" fmla="*/ 1476908 h 1978172"/>
              <a:gd name="connsiteX88" fmla="*/ 7134299 w 10768629"/>
              <a:gd name="connsiteY88" fmla="*/ 1479969 h 1978172"/>
              <a:gd name="connsiteX89" fmla="*/ 7129809 w 10768629"/>
              <a:gd name="connsiteY89" fmla="*/ 1473339 h 1978172"/>
              <a:gd name="connsiteX90" fmla="*/ 7112688 w 10768629"/>
              <a:gd name="connsiteY90" fmla="*/ 1472575 h 1978172"/>
              <a:gd name="connsiteX91" fmla="*/ 7093470 w 10768629"/>
              <a:gd name="connsiteY91" fmla="*/ 1480300 h 1978172"/>
              <a:gd name="connsiteX92" fmla="*/ 7025034 w 10768629"/>
              <a:gd name="connsiteY92" fmla="*/ 1506934 h 1978172"/>
              <a:gd name="connsiteX93" fmla="*/ 7014783 w 10768629"/>
              <a:gd name="connsiteY93" fmla="*/ 1515868 h 1978172"/>
              <a:gd name="connsiteX94" fmla="*/ 6979706 w 10768629"/>
              <a:gd name="connsiteY94" fmla="*/ 1523511 h 1978172"/>
              <a:gd name="connsiteX95" fmla="*/ 6977890 w 10768629"/>
              <a:gd name="connsiteY95" fmla="*/ 1525793 h 1978172"/>
              <a:gd name="connsiteX96" fmla="*/ 6944339 w 10768629"/>
              <a:gd name="connsiteY96" fmla="*/ 1536237 h 1978172"/>
              <a:gd name="connsiteX97" fmla="*/ 6886996 w 10768629"/>
              <a:gd name="connsiteY97" fmla="*/ 1563569 h 1978172"/>
              <a:gd name="connsiteX98" fmla="*/ 6874510 w 10768629"/>
              <a:gd name="connsiteY98" fmla="*/ 1558469 h 1978172"/>
              <a:gd name="connsiteX99" fmla="*/ 6871943 w 10768629"/>
              <a:gd name="connsiteY99" fmla="*/ 1554651 h 1978172"/>
              <a:gd name="connsiteX100" fmla="*/ 6856174 w 10768629"/>
              <a:gd name="connsiteY100" fmla="*/ 1562024 h 1978172"/>
              <a:gd name="connsiteX101" fmla="*/ 6842321 w 10768629"/>
              <a:gd name="connsiteY101" fmla="*/ 1560554 h 1978172"/>
              <a:gd name="connsiteX102" fmla="*/ 6832713 w 10768629"/>
              <a:gd name="connsiteY102" fmla="*/ 1569357 h 1978172"/>
              <a:gd name="connsiteX103" fmla="*/ 6816351 w 10768629"/>
              <a:gd name="connsiteY103" fmla="*/ 1571495 h 1978172"/>
              <a:gd name="connsiteX104" fmla="*/ 6795800 w 10768629"/>
              <a:gd name="connsiteY104" fmla="*/ 1572010 h 1978172"/>
              <a:gd name="connsiteX105" fmla="*/ 6777546 w 10768629"/>
              <a:gd name="connsiteY105" fmla="*/ 1568661 h 1978172"/>
              <a:gd name="connsiteX106" fmla="*/ 6751528 w 10768629"/>
              <a:gd name="connsiteY106" fmla="*/ 1574143 h 1978172"/>
              <a:gd name="connsiteX107" fmla="*/ 6691966 w 10768629"/>
              <a:gd name="connsiteY107" fmla="*/ 1582255 h 1978172"/>
              <a:gd name="connsiteX108" fmla="*/ 6646941 w 10768629"/>
              <a:gd name="connsiteY108" fmla="*/ 1588471 h 1978172"/>
              <a:gd name="connsiteX109" fmla="*/ 6568576 w 10768629"/>
              <a:gd name="connsiteY109" fmla="*/ 1606488 h 1978172"/>
              <a:gd name="connsiteX110" fmla="*/ 6554358 w 10768629"/>
              <a:gd name="connsiteY110" fmla="*/ 1621701 h 1978172"/>
              <a:gd name="connsiteX111" fmla="*/ 6516968 w 10768629"/>
              <a:gd name="connsiteY111" fmla="*/ 1617195 h 1978172"/>
              <a:gd name="connsiteX112" fmla="*/ 6506479 w 10768629"/>
              <a:gd name="connsiteY112" fmla="*/ 1602227 h 1978172"/>
              <a:gd name="connsiteX113" fmla="*/ 6458436 w 10768629"/>
              <a:gd name="connsiteY113" fmla="*/ 1607332 h 1978172"/>
              <a:gd name="connsiteX114" fmla="*/ 6414786 w 10768629"/>
              <a:gd name="connsiteY114" fmla="*/ 1628815 h 1978172"/>
              <a:gd name="connsiteX115" fmla="*/ 6357085 w 10768629"/>
              <a:gd name="connsiteY115" fmla="*/ 1640846 h 1978172"/>
              <a:gd name="connsiteX116" fmla="*/ 6322636 w 10768629"/>
              <a:gd name="connsiteY116" fmla="*/ 1648213 h 1978172"/>
              <a:gd name="connsiteX117" fmla="*/ 6226172 w 10768629"/>
              <a:gd name="connsiteY117" fmla="*/ 1654676 h 1978172"/>
              <a:gd name="connsiteX118" fmla="*/ 6221217 w 10768629"/>
              <a:gd name="connsiteY118" fmla="*/ 1654506 h 1978172"/>
              <a:gd name="connsiteX119" fmla="*/ 6204956 w 10768629"/>
              <a:gd name="connsiteY119" fmla="*/ 1664280 h 1978172"/>
              <a:gd name="connsiteX120" fmla="*/ 6204270 w 10768629"/>
              <a:gd name="connsiteY120" fmla="*/ 1666782 h 1978172"/>
              <a:gd name="connsiteX121" fmla="*/ 6143810 w 10768629"/>
              <a:gd name="connsiteY121" fmla="*/ 1661963 h 1978172"/>
              <a:gd name="connsiteX122" fmla="*/ 6136560 w 10768629"/>
              <a:gd name="connsiteY122" fmla="*/ 1665728 h 1978172"/>
              <a:gd name="connsiteX123" fmla="*/ 6096155 w 10768629"/>
              <a:gd name="connsiteY123" fmla="*/ 1656951 h 1978172"/>
              <a:gd name="connsiteX124" fmla="*/ 6075812 w 10768629"/>
              <a:gd name="connsiteY124" fmla="*/ 1655422 h 1978172"/>
              <a:gd name="connsiteX125" fmla="*/ 6039495 w 10768629"/>
              <a:gd name="connsiteY125" fmla="*/ 1649680 h 1978172"/>
              <a:gd name="connsiteX126" fmla="*/ 6036523 w 10768629"/>
              <a:gd name="connsiteY126" fmla="*/ 1652121 h 1978172"/>
              <a:gd name="connsiteX127" fmla="*/ 6029328 w 10768629"/>
              <a:gd name="connsiteY127" fmla="*/ 1649904 h 1978172"/>
              <a:gd name="connsiteX128" fmla="*/ 6024075 w 10768629"/>
              <a:gd name="connsiteY128" fmla="*/ 1652779 h 1978172"/>
              <a:gd name="connsiteX129" fmla="*/ 6018085 w 10768629"/>
              <a:gd name="connsiteY129" fmla="*/ 1652030 h 1978172"/>
              <a:gd name="connsiteX130" fmla="*/ 5955513 w 10768629"/>
              <a:gd name="connsiteY130" fmla="*/ 1663584 h 1978172"/>
              <a:gd name="connsiteX131" fmla="*/ 5941996 w 10768629"/>
              <a:gd name="connsiteY131" fmla="*/ 1661326 h 1978172"/>
              <a:gd name="connsiteX132" fmla="*/ 5931789 w 10768629"/>
              <a:gd name="connsiteY132" fmla="*/ 1669915 h 1978172"/>
              <a:gd name="connsiteX133" fmla="*/ 5888686 w 10768629"/>
              <a:gd name="connsiteY133" fmla="*/ 1672175 h 1978172"/>
              <a:gd name="connsiteX134" fmla="*/ 5873794 w 10768629"/>
              <a:gd name="connsiteY134" fmla="*/ 1665454 h 1978172"/>
              <a:gd name="connsiteX135" fmla="*/ 5860022 w 10768629"/>
              <a:gd name="connsiteY135" fmla="*/ 1660635 h 1978172"/>
              <a:gd name="connsiteX136" fmla="*/ 5858237 w 10768629"/>
              <a:gd name="connsiteY136" fmla="*/ 1660649 h 1978172"/>
              <a:gd name="connsiteX137" fmla="*/ 5840319 w 10768629"/>
              <a:gd name="connsiteY137" fmla="*/ 1660798 h 1978172"/>
              <a:gd name="connsiteX138" fmla="*/ 5806984 w 10768629"/>
              <a:gd name="connsiteY138" fmla="*/ 1661075 h 1978172"/>
              <a:gd name="connsiteX139" fmla="*/ 5742351 w 10768629"/>
              <a:gd name="connsiteY139" fmla="*/ 1667489 h 1978172"/>
              <a:gd name="connsiteX140" fmla="*/ 5521171 w 10768629"/>
              <a:gd name="connsiteY140" fmla="*/ 1671626 h 1978172"/>
              <a:gd name="connsiteX141" fmla="*/ 5457384 w 10768629"/>
              <a:gd name="connsiteY141" fmla="*/ 1683952 h 1978172"/>
              <a:gd name="connsiteX142" fmla="*/ 4950070 w 10768629"/>
              <a:gd name="connsiteY142" fmla="*/ 1748401 h 1978172"/>
              <a:gd name="connsiteX143" fmla="*/ 4872172 w 10768629"/>
              <a:gd name="connsiteY143" fmla="*/ 1757222 h 1978172"/>
              <a:gd name="connsiteX144" fmla="*/ 4809524 w 10768629"/>
              <a:gd name="connsiteY144" fmla="*/ 1761033 h 1978172"/>
              <a:gd name="connsiteX145" fmla="*/ 4759058 w 10768629"/>
              <a:gd name="connsiteY145" fmla="*/ 1766533 h 1978172"/>
              <a:gd name="connsiteX146" fmla="*/ 4719749 w 10768629"/>
              <a:gd name="connsiteY146" fmla="*/ 1771811 h 1978172"/>
              <a:gd name="connsiteX147" fmla="*/ 4568686 w 10768629"/>
              <a:gd name="connsiteY147" fmla="*/ 1786141 h 1978172"/>
              <a:gd name="connsiteX148" fmla="*/ 4418751 w 10768629"/>
              <a:gd name="connsiteY148" fmla="*/ 1796932 h 1978172"/>
              <a:gd name="connsiteX149" fmla="*/ 4378377 w 10768629"/>
              <a:gd name="connsiteY149" fmla="*/ 1815528 h 1978172"/>
              <a:gd name="connsiteX150" fmla="*/ 4320575 w 10768629"/>
              <a:gd name="connsiteY150" fmla="*/ 1832722 h 1978172"/>
              <a:gd name="connsiteX151" fmla="*/ 4220200 w 10768629"/>
              <a:gd name="connsiteY151" fmla="*/ 1873173 h 1978172"/>
              <a:gd name="connsiteX152" fmla="*/ 4105361 w 10768629"/>
              <a:gd name="connsiteY152" fmla="*/ 1894711 h 1978172"/>
              <a:gd name="connsiteX153" fmla="*/ 3973223 w 10768629"/>
              <a:gd name="connsiteY153" fmla="*/ 1881015 h 1978172"/>
              <a:gd name="connsiteX154" fmla="*/ 3900992 w 10768629"/>
              <a:gd name="connsiteY154" fmla="*/ 1880603 h 1978172"/>
              <a:gd name="connsiteX155" fmla="*/ 3662119 w 10768629"/>
              <a:gd name="connsiteY155" fmla="*/ 1889285 h 1978172"/>
              <a:gd name="connsiteX156" fmla="*/ 3496919 w 10768629"/>
              <a:gd name="connsiteY156" fmla="*/ 1873180 h 1978172"/>
              <a:gd name="connsiteX157" fmla="*/ 3449433 w 10768629"/>
              <a:gd name="connsiteY157" fmla="*/ 1889681 h 1978172"/>
              <a:gd name="connsiteX158" fmla="*/ 3369766 w 10768629"/>
              <a:gd name="connsiteY158" fmla="*/ 1916653 h 1978172"/>
              <a:gd name="connsiteX159" fmla="*/ 3269672 w 10768629"/>
              <a:gd name="connsiteY159" fmla="*/ 1938036 h 1978172"/>
              <a:gd name="connsiteX160" fmla="*/ 3224897 w 10768629"/>
              <a:gd name="connsiteY160" fmla="*/ 1943733 h 1978172"/>
              <a:gd name="connsiteX161" fmla="*/ 3161463 w 10768629"/>
              <a:gd name="connsiteY161" fmla="*/ 1946591 h 1978172"/>
              <a:gd name="connsiteX162" fmla="*/ 3112044 w 10768629"/>
              <a:gd name="connsiteY162" fmla="*/ 1935614 h 1978172"/>
              <a:gd name="connsiteX163" fmla="*/ 3069716 w 10768629"/>
              <a:gd name="connsiteY163" fmla="*/ 1930463 h 1978172"/>
              <a:gd name="connsiteX164" fmla="*/ 3005773 w 10768629"/>
              <a:gd name="connsiteY164" fmla="*/ 1915878 h 1978172"/>
              <a:gd name="connsiteX165" fmla="*/ 2897201 w 10768629"/>
              <a:gd name="connsiteY165" fmla="*/ 1926772 h 1978172"/>
              <a:gd name="connsiteX166" fmla="*/ 2783891 w 10768629"/>
              <a:gd name="connsiteY166" fmla="*/ 1931749 h 1978172"/>
              <a:gd name="connsiteX167" fmla="*/ 2712447 w 10768629"/>
              <a:gd name="connsiteY167" fmla="*/ 1933044 h 1978172"/>
              <a:gd name="connsiteX168" fmla="*/ 2560151 w 10768629"/>
              <a:gd name="connsiteY168" fmla="*/ 1963609 h 1978172"/>
              <a:gd name="connsiteX169" fmla="*/ 2367221 w 10768629"/>
              <a:gd name="connsiteY169" fmla="*/ 1971884 h 1978172"/>
              <a:gd name="connsiteX170" fmla="*/ 2272130 w 10768629"/>
              <a:gd name="connsiteY170" fmla="*/ 1961162 h 1978172"/>
              <a:gd name="connsiteX171" fmla="*/ 2189404 w 10768629"/>
              <a:gd name="connsiteY171" fmla="*/ 1978172 h 1978172"/>
              <a:gd name="connsiteX172" fmla="*/ 2077704 w 10768629"/>
              <a:gd name="connsiteY172" fmla="*/ 1965002 h 1978172"/>
              <a:gd name="connsiteX173" fmla="*/ 2033299 w 10768629"/>
              <a:gd name="connsiteY173" fmla="*/ 1969042 h 1978172"/>
              <a:gd name="connsiteX174" fmla="*/ 1967996 w 10768629"/>
              <a:gd name="connsiteY174" fmla="*/ 1953187 h 1978172"/>
              <a:gd name="connsiteX175" fmla="*/ 1855805 w 10768629"/>
              <a:gd name="connsiteY175" fmla="*/ 1926082 h 1978172"/>
              <a:gd name="connsiteX176" fmla="*/ 1790957 w 10768629"/>
              <a:gd name="connsiteY176" fmla="*/ 1919460 h 1978172"/>
              <a:gd name="connsiteX177" fmla="*/ 1613978 w 10768629"/>
              <a:gd name="connsiteY177" fmla="*/ 1891581 h 1978172"/>
              <a:gd name="connsiteX178" fmla="*/ 1436831 w 10768629"/>
              <a:gd name="connsiteY178" fmla="*/ 1856201 h 1978172"/>
              <a:gd name="connsiteX179" fmla="*/ 1357365 w 10768629"/>
              <a:gd name="connsiteY179" fmla="*/ 1832140 h 1978172"/>
              <a:gd name="connsiteX180" fmla="*/ 1232341 w 10768629"/>
              <a:gd name="connsiteY180" fmla="*/ 1785942 h 1978172"/>
              <a:gd name="connsiteX181" fmla="*/ 1162595 w 10768629"/>
              <a:gd name="connsiteY181" fmla="*/ 1758337 h 1978172"/>
              <a:gd name="connsiteX182" fmla="*/ 1128523 w 10768629"/>
              <a:gd name="connsiteY182" fmla="*/ 1763621 h 1978172"/>
              <a:gd name="connsiteX183" fmla="*/ 991903 w 10768629"/>
              <a:gd name="connsiteY183" fmla="*/ 1786741 h 1978172"/>
              <a:gd name="connsiteX184" fmla="*/ 883960 w 10768629"/>
              <a:gd name="connsiteY184" fmla="*/ 1822386 h 1978172"/>
              <a:gd name="connsiteX185" fmla="*/ 766531 w 10768629"/>
              <a:gd name="connsiteY185" fmla="*/ 1805053 h 1978172"/>
              <a:gd name="connsiteX186" fmla="*/ 669779 w 10768629"/>
              <a:gd name="connsiteY186" fmla="*/ 1800537 h 1978172"/>
              <a:gd name="connsiteX187" fmla="*/ 523898 w 10768629"/>
              <a:gd name="connsiteY187" fmla="*/ 1811085 h 1978172"/>
              <a:gd name="connsiteX188" fmla="*/ 360251 w 10768629"/>
              <a:gd name="connsiteY188" fmla="*/ 1830735 h 1978172"/>
              <a:gd name="connsiteX189" fmla="*/ 255207 w 10768629"/>
              <a:gd name="connsiteY189" fmla="*/ 1818275 h 1978172"/>
              <a:gd name="connsiteX190" fmla="*/ 101803 w 10768629"/>
              <a:gd name="connsiteY190" fmla="*/ 1870647 h 1978172"/>
              <a:gd name="connsiteX191" fmla="*/ 25397 w 10768629"/>
              <a:gd name="connsiteY191" fmla="*/ 1888443 h 1978172"/>
              <a:gd name="connsiteX192" fmla="*/ 2370 w 10768629"/>
              <a:gd name="connsiteY192" fmla="*/ 1878311 h 1978172"/>
              <a:gd name="connsiteX193" fmla="*/ 0 w 10768629"/>
              <a:gd name="connsiteY193" fmla="*/ 1878785 h 1978172"/>
              <a:gd name="connsiteX194" fmla="*/ 0 w 10768629"/>
              <a:gd name="connsiteY194" fmla="*/ 0 h 1978172"/>
              <a:gd name="connsiteX0" fmla="*/ 0 w 10768629"/>
              <a:gd name="connsiteY0" fmla="*/ 0 h 1978172"/>
              <a:gd name="connsiteX1" fmla="*/ 10768629 w 10768629"/>
              <a:gd name="connsiteY1" fmla="*/ 0 h 1978172"/>
              <a:gd name="connsiteX2" fmla="*/ 10733254 w 10768629"/>
              <a:gd name="connsiteY2" fmla="*/ 31439 h 1978172"/>
              <a:gd name="connsiteX3" fmla="*/ 10727085 w 10768629"/>
              <a:gd name="connsiteY3" fmla="*/ 37910 h 1978172"/>
              <a:gd name="connsiteX4" fmla="*/ 10675953 w 10768629"/>
              <a:gd name="connsiteY4" fmla="*/ 68623 h 1978172"/>
              <a:gd name="connsiteX5" fmla="*/ 10637091 w 10768629"/>
              <a:gd name="connsiteY5" fmla="*/ 90361 h 1978172"/>
              <a:gd name="connsiteX6" fmla="*/ 10610971 w 10768629"/>
              <a:gd name="connsiteY6" fmla="*/ 110764 h 1978172"/>
              <a:gd name="connsiteX7" fmla="*/ 10532872 w 10768629"/>
              <a:gd name="connsiteY7" fmla="*/ 138028 h 1978172"/>
              <a:gd name="connsiteX8" fmla="*/ 10398558 w 10768629"/>
              <a:gd name="connsiteY8" fmla="*/ 172911 h 1978172"/>
              <a:gd name="connsiteX9" fmla="*/ 10371128 w 10768629"/>
              <a:gd name="connsiteY9" fmla="*/ 182609 h 1978172"/>
              <a:gd name="connsiteX10" fmla="*/ 10352178 w 10768629"/>
              <a:gd name="connsiteY10" fmla="*/ 199976 h 1978172"/>
              <a:gd name="connsiteX11" fmla="*/ 10351815 w 10768629"/>
              <a:gd name="connsiteY11" fmla="*/ 211879 h 1978172"/>
              <a:gd name="connsiteX12" fmla="*/ 10337471 w 10768629"/>
              <a:gd name="connsiteY12" fmla="*/ 218661 h 1978172"/>
              <a:gd name="connsiteX13" fmla="*/ 10334625 w 10768629"/>
              <a:gd name="connsiteY13" fmla="*/ 222351 h 1978172"/>
              <a:gd name="connsiteX14" fmla="*/ 10256365 w 10768629"/>
              <a:gd name="connsiteY14" fmla="*/ 235917 h 1978172"/>
              <a:gd name="connsiteX15" fmla="*/ 10201127 w 10768629"/>
              <a:gd name="connsiteY15" fmla="*/ 267448 h 1978172"/>
              <a:gd name="connsiteX16" fmla="*/ 9961218 w 10768629"/>
              <a:gd name="connsiteY16" fmla="*/ 326720 h 1978172"/>
              <a:gd name="connsiteX17" fmla="*/ 9859715 w 10768629"/>
              <a:gd name="connsiteY17" fmla="*/ 355698 h 1978172"/>
              <a:gd name="connsiteX18" fmla="*/ 9679867 w 10768629"/>
              <a:gd name="connsiteY18" fmla="*/ 399081 h 1978172"/>
              <a:gd name="connsiteX19" fmla="*/ 9490654 w 10768629"/>
              <a:gd name="connsiteY19" fmla="*/ 455225 h 1978172"/>
              <a:gd name="connsiteX20" fmla="*/ 9470837 w 10768629"/>
              <a:gd name="connsiteY20" fmla="*/ 452539 h 1978172"/>
              <a:gd name="connsiteX21" fmla="*/ 9469082 w 10768629"/>
              <a:gd name="connsiteY21" fmla="*/ 454891 h 1978172"/>
              <a:gd name="connsiteX22" fmla="*/ 9448038 w 10768629"/>
              <a:gd name="connsiteY22" fmla="*/ 459733 h 1978172"/>
              <a:gd name="connsiteX23" fmla="*/ 9396821 w 10768629"/>
              <a:gd name="connsiteY23" fmla="*/ 455795 h 1978172"/>
              <a:gd name="connsiteX24" fmla="*/ 9392197 w 10768629"/>
              <a:gd name="connsiteY24" fmla="*/ 459796 h 1978172"/>
              <a:gd name="connsiteX25" fmla="*/ 9347994 w 10768629"/>
              <a:gd name="connsiteY25" fmla="*/ 464462 h 1978172"/>
              <a:gd name="connsiteX26" fmla="*/ 9347889 w 10768629"/>
              <a:gd name="connsiteY26" fmla="*/ 466539 h 1978172"/>
              <a:gd name="connsiteX27" fmla="*/ 9337639 w 10768629"/>
              <a:gd name="connsiteY27" fmla="*/ 476654 h 1978172"/>
              <a:gd name="connsiteX28" fmla="*/ 9316893 w 10768629"/>
              <a:gd name="connsiteY28" fmla="*/ 491390 h 1978172"/>
              <a:gd name="connsiteX29" fmla="*/ 9229283 w 10768629"/>
              <a:gd name="connsiteY29" fmla="*/ 555377 h 1978172"/>
              <a:gd name="connsiteX30" fmla="*/ 9220274 w 10768629"/>
              <a:gd name="connsiteY30" fmla="*/ 557502 h 1978172"/>
              <a:gd name="connsiteX31" fmla="*/ 9220202 w 10768629"/>
              <a:gd name="connsiteY31" fmla="*/ 558001 h 1978172"/>
              <a:gd name="connsiteX32" fmla="*/ 9210908 w 10768629"/>
              <a:gd name="connsiteY32" fmla="*/ 561147 h 1978172"/>
              <a:gd name="connsiteX33" fmla="*/ 9186374 w 10768629"/>
              <a:gd name="connsiteY33" fmla="*/ 565502 h 1978172"/>
              <a:gd name="connsiteX34" fmla="*/ 9181058 w 10768629"/>
              <a:gd name="connsiteY34" fmla="*/ 569943 h 1978172"/>
              <a:gd name="connsiteX35" fmla="*/ 9167549 w 10768629"/>
              <a:gd name="connsiteY35" fmla="*/ 584727 h 1978172"/>
              <a:gd name="connsiteX36" fmla="*/ 9149110 w 10768629"/>
              <a:gd name="connsiteY36" fmla="*/ 598906 h 1978172"/>
              <a:gd name="connsiteX37" fmla="*/ 9078556 w 10768629"/>
              <a:gd name="connsiteY37" fmla="*/ 644039 h 1978172"/>
              <a:gd name="connsiteX38" fmla="*/ 8996399 w 10768629"/>
              <a:gd name="connsiteY38" fmla="*/ 690055 h 1978172"/>
              <a:gd name="connsiteX39" fmla="*/ 8803791 w 10768629"/>
              <a:gd name="connsiteY39" fmla="*/ 813860 h 1978172"/>
              <a:gd name="connsiteX40" fmla="*/ 8636202 w 10768629"/>
              <a:gd name="connsiteY40" fmla="*/ 848463 h 1978172"/>
              <a:gd name="connsiteX41" fmla="*/ 8555372 w 10768629"/>
              <a:gd name="connsiteY41" fmla="*/ 883171 h 1978172"/>
              <a:gd name="connsiteX42" fmla="*/ 8507229 w 10768629"/>
              <a:gd name="connsiteY42" fmla="*/ 901665 h 1978172"/>
              <a:gd name="connsiteX43" fmla="*/ 8428473 w 10768629"/>
              <a:gd name="connsiteY43" fmla="*/ 927985 h 1978172"/>
              <a:gd name="connsiteX44" fmla="*/ 8427914 w 10768629"/>
              <a:gd name="connsiteY44" fmla="*/ 933480 h 1978172"/>
              <a:gd name="connsiteX45" fmla="*/ 8420327 w 10768629"/>
              <a:gd name="connsiteY45" fmla="*/ 941984 h 1978172"/>
              <a:gd name="connsiteX46" fmla="*/ 8394729 w 10768629"/>
              <a:gd name="connsiteY46" fmla="*/ 948347 h 1978172"/>
              <a:gd name="connsiteX47" fmla="*/ 8380548 w 10768629"/>
              <a:gd name="connsiteY47" fmla="*/ 987916 h 1978172"/>
              <a:gd name="connsiteX48" fmla="*/ 8375330 w 10768629"/>
              <a:gd name="connsiteY48" fmla="*/ 965444 h 1978172"/>
              <a:gd name="connsiteX49" fmla="*/ 8340796 w 10768629"/>
              <a:gd name="connsiteY49" fmla="*/ 980522 h 1978172"/>
              <a:gd name="connsiteX50" fmla="*/ 8304438 w 10768629"/>
              <a:gd name="connsiteY50" fmla="*/ 996739 h 1978172"/>
              <a:gd name="connsiteX51" fmla="*/ 8280929 w 10768629"/>
              <a:gd name="connsiteY51" fmla="*/ 1023089 h 1978172"/>
              <a:gd name="connsiteX52" fmla="*/ 8275760 w 10768629"/>
              <a:gd name="connsiteY52" fmla="*/ 1027772 h 1978172"/>
              <a:gd name="connsiteX53" fmla="*/ 8275478 w 10768629"/>
              <a:gd name="connsiteY53" fmla="*/ 1027605 h 1978172"/>
              <a:gd name="connsiteX54" fmla="*/ 8269666 w 10768629"/>
              <a:gd name="connsiteY54" fmla="*/ 1032033 h 1978172"/>
              <a:gd name="connsiteX55" fmla="*/ 8203836 w 10768629"/>
              <a:gd name="connsiteY55" fmla="*/ 1037347 h 1978172"/>
              <a:gd name="connsiteX56" fmla="*/ 8122936 w 10768629"/>
              <a:gd name="connsiteY56" fmla="*/ 1063113 h 1978172"/>
              <a:gd name="connsiteX57" fmla="*/ 8043658 w 10768629"/>
              <a:gd name="connsiteY57" fmla="*/ 1092746 h 1978172"/>
              <a:gd name="connsiteX58" fmla="*/ 8015351 w 10768629"/>
              <a:gd name="connsiteY58" fmla="*/ 1105478 h 1978172"/>
              <a:gd name="connsiteX59" fmla="*/ 7963145 w 10768629"/>
              <a:gd name="connsiteY59" fmla="*/ 1119346 h 1978172"/>
              <a:gd name="connsiteX60" fmla="*/ 7938145 w 10768629"/>
              <a:gd name="connsiteY60" fmla="*/ 1120225 h 1978172"/>
              <a:gd name="connsiteX61" fmla="*/ 7937238 w 10768629"/>
              <a:gd name="connsiteY61" fmla="*/ 1121204 h 1978172"/>
              <a:gd name="connsiteX62" fmla="*/ 7934398 w 10768629"/>
              <a:gd name="connsiteY62" fmla="*/ 1118240 h 1978172"/>
              <a:gd name="connsiteX63" fmla="*/ 7918248 w 10768629"/>
              <a:gd name="connsiteY63" fmla="*/ 1124371 h 1978172"/>
              <a:gd name="connsiteX64" fmla="*/ 7914119 w 10768629"/>
              <a:gd name="connsiteY64" fmla="*/ 1127653 h 1978172"/>
              <a:gd name="connsiteX65" fmla="*/ 7907658 w 10768629"/>
              <a:gd name="connsiteY65" fmla="*/ 1130350 h 1978172"/>
              <a:gd name="connsiteX66" fmla="*/ 7907434 w 10768629"/>
              <a:gd name="connsiteY66" fmla="*/ 1130103 h 1978172"/>
              <a:gd name="connsiteX67" fmla="*/ 7901508 w 10768629"/>
              <a:gd name="connsiteY67" fmla="*/ 1133245 h 1978172"/>
              <a:gd name="connsiteX68" fmla="*/ 7873287 w 10768629"/>
              <a:gd name="connsiteY68" fmla="*/ 1152609 h 1978172"/>
              <a:gd name="connsiteX69" fmla="*/ 7834833 w 10768629"/>
              <a:gd name="connsiteY69" fmla="*/ 1153868 h 1978172"/>
              <a:gd name="connsiteX70" fmla="*/ 7828661 w 10768629"/>
              <a:gd name="connsiteY70" fmla="*/ 1139994 h 1978172"/>
              <a:gd name="connsiteX71" fmla="*/ 7823966 w 10768629"/>
              <a:gd name="connsiteY71" fmla="*/ 1143178 h 1978172"/>
              <a:gd name="connsiteX72" fmla="*/ 7815078 w 10768629"/>
              <a:gd name="connsiteY72" fmla="*/ 1151776 h 1978172"/>
              <a:gd name="connsiteX73" fmla="*/ 7812026 w 10768629"/>
              <a:gd name="connsiteY73" fmla="*/ 1151522 h 1978172"/>
              <a:gd name="connsiteX74" fmla="*/ 7782249 w 10768629"/>
              <a:gd name="connsiteY74" fmla="*/ 1160970 h 1978172"/>
              <a:gd name="connsiteX75" fmla="*/ 7773476 w 10768629"/>
              <a:gd name="connsiteY75" fmla="*/ 1157414 h 1978172"/>
              <a:gd name="connsiteX76" fmla="*/ 7769600 w 10768629"/>
              <a:gd name="connsiteY76" fmla="*/ 1157365 h 1978172"/>
              <a:gd name="connsiteX77" fmla="*/ 7752631 w 10768629"/>
              <a:gd name="connsiteY77" fmla="*/ 1172815 h 1978172"/>
              <a:gd name="connsiteX78" fmla="*/ 7743525 w 10768629"/>
              <a:gd name="connsiteY78" fmla="*/ 1179064 h 1978172"/>
              <a:gd name="connsiteX79" fmla="*/ 7685942 w 10768629"/>
              <a:gd name="connsiteY79" fmla="*/ 1233723 h 1978172"/>
              <a:gd name="connsiteX80" fmla="*/ 7586920 w 10768629"/>
              <a:gd name="connsiteY80" fmla="*/ 1261888 h 1978172"/>
              <a:gd name="connsiteX81" fmla="*/ 7486100 w 10768629"/>
              <a:gd name="connsiteY81" fmla="*/ 1292563 h 1978172"/>
              <a:gd name="connsiteX82" fmla="*/ 7407190 w 10768629"/>
              <a:gd name="connsiteY82" fmla="*/ 1314737 h 1978172"/>
              <a:gd name="connsiteX83" fmla="*/ 7240698 w 10768629"/>
              <a:gd name="connsiteY83" fmla="*/ 1438832 h 1978172"/>
              <a:gd name="connsiteX84" fmla="*/ 7197675 w 10768629"/>
              <a:gd name="connsiteY84" fmla="*/ 1447530 h 1978172"/>
              <a:gd name="connsiteX85" fmla="*/ 7164788 w 10768629"/>
              <a:gd name="connsiteY85" fmla="*/ 1480293 h 1978172"/>
              <a:gd name="connsiteX86" fmla="*/ 7147929 w 10768629"/>
              <a:gd name="connsiteY86" fmla="*/ 1477641 h 1978172"/>
              <a:gd name="connsiteX87" fmla="*/ 7144965 w 10768629"/>
              <a:gd name="connsiteY87" fmla="*/ 1476908 h 1978172"/>
              <a:gd name="connsiteX88" fmla="*/ 7134299 w 10768629"/>
              <a:gd name="connsiteY88" fmla="*/ 1479969 h 1978172"/>
              <a:gd name="connsiteX89" fmla="*/ 7129809 w 10768629"/>
              <a:gd name="connsiteY89" fmla="*/ 1473339 h 1978172"/>
              <a:gd name="connsiteX90" fmla="*/ 7112688 w 10768629"/>
              <a:gd name="connsiteY90" fmla="*/ 1472575 h 1978172"/>
              <a:gd name="connsiteX91" fmla="*/ 7093470 w 10768629"/>
              <a:gd name="connsiteY91" fmla="*/ 1480300 h 1978172"/>
              <a:gd name="connsiteX92" fmla="*/ 7025034 w 10768629"/>
              <a:gd name="connsiteY92" fmla="*/ 1506934 h 1978172"/>
              <a:gd name="connsiteX93" fmla="*/ 7014783 w 10768629"/>
              <a:gd name="connsiteY93" fmla="*/ 1515868 h 1978172"/>
              <a:gd name="connsiteX94" fmla="*/ 6979706 w 10768629"/>
              <a:gd name="connsiteY94" fmla="*/ 1523511 h 1978172"/>
              <a:gd name="connsiteX95" fmla="*/ 6977890 w 10768629"/>
              <a:gd name="connsiteY95" fmla="*/ 1525793 h 1978172"/>
              <a:gd name="connsiteX96" fmla="*/ 6944339 w 10768629"/>
              <a:gd name="connsiteY96" fmla="*/ 1536237 h 1978172"/>
              <a:gd name="connsiteX97" fmla="*/ 6886996 w 10768629"/>
              <a:gd name="connsiteY97" fmla="*/ 1563569 h 1978172"/>
              <a:gd name="connsiteX98" fmla="*/ 6874510 w 10768629"/>
              <a:gd name="connsiteY98" fmla="*/ 1558469 h 1978172"/>
              <a:gd name="connsiteX99" fmla="*/ 6871943 w 10768629"/>
              <a:gd name="connsiteY99" fmla="*/ 1554651 h 1978172"/>
              <a:gd name="connsiteX100" fmla="*/ 6856174 w 10768629"/>
              <a:gd name="connsiteY100" fmla="*/ 1562024 h 1978172"/>
              <a:gd name="connsiteX101" fmla="*/ 6842321 w 10768629"/>
              <a:gd name="connsiteY101" fmla="*/ 1560554 h 1978172"/>
              <a:gd name="connsiteX102" fmla="*/ 6832713 w 10768629"/>
              <a:gd name="connsiteY102" fmla="*/ 1569357 h 1978172"/>
              <a:gd name="connsiteX103" fmla="*/ 6816351 w 10768629"/>
              <a:gd name="connsiteY103" fmla="*/ 1571495 h 1978172"/>
              <a:gd name="connsiteX104" fmla="*/ 6795800 w 10768629"/>
              <a:gd name="connsiteY104" fmla="*/ 1572010 h 1978172"/>
              <a:gd name="connsiteX105" fmla="*/ 6777546 w 10768629"/>
              <a:gd name="connsiteY105" fmla="*/ 1568661 h 1978172"/>
              <a:gd name="connsiteX106" fmla="*/ 6751528 w 10768629"/>
              <a:gd name="connsiteY106" fmla="*/ 1574143 h 1978172"/>
              <a:gd name="connsiteX107" fmla="*/ 6691966 w 10768629"/>
              <a:gd name="connsiteY107" fmla="*/ 1582255 h 1978172"/>
              <a:gd name="connsiteX108" fmla="*/ 6646941 w 10768629"/>
              <a:gd name="connsiteY108" fmla="*/ 1588471 h 1978172"/>
              <a:gd name="connsiteX109" fmla="*/ 6568576 w 10768629"/>
              <a:gd name="connsiteY109" fmla="*/ 1606488 h 1978172"/>
              <a:gd name="connsiteX110" fmla="*/ 6554358 w 10768629"/>
              <a:gd name="connsiteY110" fmla="*/ 1621701 h 1978172"/>
              <a:gd name="connsiteX111" fmla="*/ 6516968 w 10768629"/>
              <a:gd name="connsiteY111" fmla="*/ 1617195 h 1978172"/>
              <a:gd name="connsiteX112" fmla="*/ 6506479 w 10768629"/>
              <a:gd name="connsiteY112" fmla="*/ 1602227 h 1978172"/>
              <a:gd name="connsiteX113" fmla="*/ 6458436 w 10768629"/>
              <a:gd name="connsiteY113" fmla="*/ 1607332 h 1978172"/>
              <a:gd name="connsiteX114" fmla="*/ 6414786 w 10768629"/>
              <a:gd name="connsiteY114" fmla="*/ 1628815 h 1978172"/>
              <a:gd name="connsiteX115" fmla="*/ 6357085 w 10768629"/>
              <a:gd name="connsiteY115" fmla="*/ 1640846 h 1978172"/>
              <a:gd name="connsiteX116" fmla="*/ 6322636 w 10768629"/>
              <a:gd name="connsiteY116" fmla="*/ 1648213 h 1978172"/>
              <a:gd name="connsiteX117" fmla="*/ 6226172 w 10768629"/>
              <a:gd name="connsiteY117" fmla="*/ 1654676 h 1978172"/>
              <a:gd name="connsiteX118" fmla="*/ 6221217 w 10768629"/>
              <a:gd name="connsiteY118" fmla="*/ 1654506 h 1978172"/>
              <a:gd name="connsiteX119" fmla="*/ 6204956 w 10768629"/>
              <a:gd name="connsiteY119" fmla="*/ 1664280 h 1978172"/>
              <a:gd name="connsiteX120" fmla="*/ 6204270 w 10768629"/>
              <a:gd name="connsiteY120" fmla="*/ 1666782 h 1978172"/>
              <a:gd name="connsiteX121" fmla="*/ 6143810 w 10768629"/>
              <a:gd name="connsiteY121" fmla="*/ 1661963 h 1978172"/>
              <a:gd name="connsiteX122" fmla="*/ 6136560 w 10768629"/>
              <a:gd name="connsiteY122" fmla="*/ 1665728 h 1978172"/>
              <a:gd name="connsiteX123" fmla="*/ 6096155 w 10768629"/>
              <a:gd name="connsiteY123" fmla="*/ 1656951 h 1978172"/>
              <a:gd name="connsiteX124" fmla="*/ 6075812 w 10768629"/>
              <a:gd name="connsiteY124" fmla="*/ 1655422 h 1978172"/>
              <a:gd name="connsiteX125" fmla="*/ 6039495 w 10768629"/>
              <a:gd name="connsiteY125" fmla="*/ 1649680 h 1978172"/>
              <a:gd name="connsiteX126" fmla="*/ 6036523 w 10768629"/>
              <a:gd name="connsiteY126" fmla="*/ 1652121 h 1978172"/>
              <a:gd name="connsiteX127" fmla="*/ 6029328 w 10768629"/>
              <a:gd name="connsiteY127" fmla="*/ 1649904 h 1978172"/>
              <a:gd name="connsiteX128" fmla="*/ 6024075 w 10768629"/>
              <a:gd name="connsiteY128" fmla="*/ 1652779 h 1978172"/>
              <a:gd name="connsiteX129" fmla="*/ 6018085 w 10768629"/>
              <a:gd name="connsiteY129" fmla="*/ 1652030 h 1978172"/>
              <a:gd name="connsiteX130" fmla="*/ 5955513 w 10768629"/>
              <a:gd name="connsiteY130" fmla="*/ 1663584 h 1978172"/>
              <a:gd name="connsiteX131" fmla="*/ 5941996 w 10768629"/>
              <a:gd name="connsiteY131" fmla="*/ 1661326 h 1978172"/>
              <a:gd name="connsiteX132" fmla="*/ 5931789 w 10768629"/>
              <a:gd name="connsiteY132" fmla="*/ 1669915 h 1978172"/>
              <a:gd name="connsiteX133" fmla="*/ 5888686 w 10768629"/>
              <a:gd name="connsiteY133" fmla="*/ 1672175 h 1978172"/>
              <a:gd name="connsiteX134" fmla="*/ 5873794 w 10768629"/>
              <a:gd name="connsiteY134" fmla="*/ 1665454 h 1978172"/>
              <a:gd name="connsiteX135" fmla="*/ 5860022 w 10768629"/>
              <a:gd name="connsiteY135" fmla="*/ 1660635 h 1978172"/>
              <a:gd name="connsiteX136" fmla="*/ 5858237 w 10768629"/>
              <a:gd name="connsiteY136" fmla="*/ 1660649 h 1978172"/>
              <a:gd name="connsiteX137" fmla="*/ 5840319 w 10768629"/>
              <a:gd name="connsiteY137" fmla="*/ 1660798 h 1978172"/>
              <a:gd name="connsiteX138" fmla="*/ 5806984 w 10768629"/>
              <a:gd name="connsiteY138" fmla="*/ 1661075 h 1978172"/>
              <a:gd name="connsiteX139" fmla="*/ 5742351 w 10768629"/>
              <a:gd name="connsiteY139" fmla="*/ 1667489 h 1978172"/>
              <a:gd name="connsiteX140" fmla="*/ 5521171 w 10768629"/>
              <a:gd name="connsiteY140" fmla="*/ 1671626 h 1978172"/>
              <a:gd name="connsiteX141" fmla="*/ 5457384 w 10768629"/>
              <a:gd name="connsiteY141" fmla="*/ 1683952 h 1978172"/>
              <a:gd name="connsiteX142" fmla="*/ 4950070 w 10768629"/>
              <a:gd name="connsiteY142" fmla="*/ 1748401 h 1978172"/>
              <a:gd name="connsiteX143" fmla="*/ 4872172 w 10768629"/>
              <a:gd name="connsiteY143" fmla="*/ 1757222 h 1978172"/>
              <a:gd name="connsiteX144" fmla="*/ 4809524 w 10768629"/>
              <a:gd name="connsiteY144" fmla="*/ 1761033 h 1978172"/>
              <a:gd name="connsiteX145" fmla="*/ 4759058 w 10768629"/>
              <a:gd name="connsiteY145" fmla="*/ 1766533 h 1978172"/>
              <a:gd name="connsiteX146" fmla="*/ 4719749 w 10768629"/>
              <a:gd name="connsiteY146" fmla="*/ 1771811 h 1978172"/>
              <a:gd name="connsiteX147" fmla="*/ 4568686 w 10768629"/>
              <a:gd name="connsiteY147" fmla="*/ 1786141 h 1978172"/>
              <a:gd name="connsiteX148" fmla="*/ 4418751 w 10768629"/>
              <a:gd name="connsiteY148" fmla="*/ 1796932 h 1978172"/>
              <a:gd name="connsiteX149" fmla="*/ 4378377 w 10768629"/>
              <a:gd name="connsiteY149" fmla="*/ 1815528 h 1978172"/>
              <a:gd name="connsiteX150" fmla="*/ 4320575 w 10768629"/>
              <a:gd name="connsiteY150" fmla="*/ 1832722 h 1978172"/>
              <a:gd name="connsiteX151" fmla="*/ 4220200 w 10768629"/>
              <a:gd name="connsiteY151" fmla="*/ 1873173 h 1978172"/>
              <a:gd name="connsiteX152" fmla="*/ 4105361 w 10768629"/>
              <a:gd name="connsiteY152" fmla="*/ 1894711 h 1978172"/>
              <a:gd name="connsiteX153" fmla="*/ 3973223 w 10768629"/>
              <a:gd name="connsiteY153" fmla="*/ 1881015 h 1978172"/>
              <a:gd name="connsiteX154" fmla="*/ 3900992 w 10768629"/>
              <a:gd name="connsiteY154" fmla="*/ 1880603 h 1978172"/>
              <a:gd name="connsiteX155" fmla="*/ 3662119 w 10768629"/>
              <a:gd name="connsiteY155" fmla="*/ 1889285 h 1978172"/>
              <a:gd name="connsiteX156" fmla="*/ 3496919 w 10768629"/>
              <a:gd name="connsiteY156" fmla="*/ 1873180 h 1978172"/>
              <a:gd name="connsiteX157" fmla="*/ 3449433 w 10768629"/>
              <a:gd name="connsiteY157" fmla="*/ 1889681 h 1978172"/>
              <a:gd name="connsiteX158" fmla="*/ 3369766 w 10768629"/>
              <a:gd name="connsiteY158" fmla="*/ 1916653 h 1978172"/>
              <a:gd name="connsiteX159" fmla="*/ 3269672 w 10768629"/>
              <a:gd name="connsiteY159" fmla="*/ 1938036 h 1978172"/>
              <a:gd name="connsiteX160" fmla="*/ 3224897 w 10768629"/>
              <a:gd name="connsiteY160" fmla="*/ 1943733 h 1978172"/>
              <a:gd name="connsiteX161" fmla="*/ 3161463 w 10768629"/>
              <a:gd name="connsiteY161" fmla="*/ 1946591 h 1978172"/>
              <a:gd name="connsiteX162" fmla="*/ 3112044 w 10768629"/>
              <a:gd name="connsiteY162" fmla="*/ 1935614 h 1978172"/>
              <a:gd name="connsiteX163" fmla="*/ 3069716 w 10768629"/>
              <a:gd name="connsiteY163" fmla="*/ 1930463 h 1978172"/>
              <a:gd name="connsiteX164" fmla="*/ 3005773 w 10768629"/>
              <a:gd name="connsiteY164" fmla="*/ 1915878 h 1978172"/>
              <a:gd name="connsiteX165" fmla="*/ 2897201 w 10768629"/>
              <a:gd name="connsiteY165" fmla="*/ 1926772 h 1978172"/>
              <a:gd name="connsiteX166" fmla="*/ 2783891 w 10768629"/>
              <a:gd name="connsiteY166" fmla="*/ 1931749 h 1978172"/>
              <a:gd name="connsiteX167" fmla="*/ 2712447 w 10768629"/>
              <a:gd name="connsiteY167" fmla="*/ 1933044 h 1978172"/>
              <a:gd name="connsiteX168" fmla="*/ 2560151 w 10768629"/>
              <a:gd name="connsiteY168" fmla="*/ 1963609 h 1978172"/>
              <a:gd name="connsiteX169" fmla="*/ 2367221 w 10768629"/>
              <a:gd name="connsiteY169" fmla="*/ 1971884 h 1978172"/>
              <a:gd name="connsiteX170" fmla="*/ 2272130 w 10768629"/>
              <a:gd name="connsiteY170" fmla="*/ 1961162 h 1978172"/>
              <a:gd name="connsiteX171" fmla="*/ 2189404 w 10768629"/>
              <a:gd name="connsiteY171" fmla="*/ 1978172 h 1978172"/>
              <a:gd name="connsiteX172" fmla="*/ 2077704 w 10768629"/>
              <a:gd name="connsiteY172" fmla="*/ 1965002 h 1978172"/>
              <a:gd name="connsiteX173" fmla="*/ 2033299 w 10768629"/>
              <a:gd name="connsiteY173" fmla="*/ 1969042 h 1978172"/>
              <a:gd name="connsiteX174" fmla="*/ 1967996 w 10768629"/>
              <a:gd name="connsiteY174" fmla="*/ 1953187 h 1978172"/>
              <a:gd name="connsiteX175" fmla="*/ 1855805 w 10768629"/>
              <a:gd name="connsiteY175" fmla="*/ 1926082 h 1978172"/>
              <a:gd name="connsiteX176" fmla="*/ 1790957 w 10768629"/>
              <a:gd name="connsiteY176" fmla="*/ 1919460 h 1978172"/>
              <a:gd name="connsiteX177" fmla="*/ 1613978 w 10768629"/>
              <a:gd name="connsiteY177" fmla="*/ 1891581 h 1978172"/>
              <a:gd name="connsiteX178" fmla="*/ 1436831 w 10768629"/>
              <a:gd name="connsiteY178" fmla="*/ 1856201 h 1978172"/>
              <a:gd name="connsiteX179" fmla="*/ 1357365 w 10768629"/>
              <a:gd name="connsiteY179" fmla="*/ 1832140 h 1978172"/>
              <a:gd name="connsiteX180" fmla="*/ 1232341 w 10768629"/>
              <a:gd name="connsiteY180" fmla="*/ 1785942 h 1978172"/>
              <a:gd name="connsiteX181" fmla="*/ 1162595 w 10768629"/>
              <a:gd name="connsiteY181" fmla="*/ 1758337 h 1978172"/>
              <a:gd name="connsiteX182" fmla="*/ 1128523 w 10768629"/>
              <a:gd name="connsiteY182" fmla="*/ 1763621 h 1978172"/>
              <a:gd name="connsiteX183" fmla="*/ 991903 w 10768629"/>
              <a:gd name="connsiteY183" fmla="*/ 1786741 h 1978172"/>
              <a:gd name="connsiteX184" fmla="*/ 883960 w 10768629"/>
              <a:gd name="connsiteY184" fmla="*/ 1822386 h 1978172"/>
              <a:gd name="connsiteX185" fmla="*/ 766531 w 10768629"/>
              <a:gd name="connsiteY185" fmla="*/ 1805053 h 1978172"/>
              <a:gd name="connsiteX186" fmla="*/ 669779 w 10768629"/>
              <a:gd name="connsiteY186" fmla="*/ 1800537 h 1978172"/>
              <a:gd name="connsiteX187" fmla="*/ 523898 w 10768629"/>
              <a:gd name="connsiteY187" fmla="*/ 1811085 h 1978172"/>
              <a:gd name="connsiteX188" fmla="*/ 360251 w 10768629"/>
              <a:gd name="connsiteY188" fmla="*/ 1830735 h 1978172"/>
              <a:gd name="connsiteX189" fmla="*/ 255207 w 10768629"/>
              <a:gd name="connsiteY189" fmla="*/ 1818275 h 1978172"/>
              <a:gd name="connsiteX190" fmla="*/ 101803 w 10768629"/>
              <a:gd name="connsiteY190" fmla="*/ 1870647 h 1978172"/>
              <a:gd name="connsiteX191" fmla="*/ 25397 w 10768629"/>
              <a:gd name="connsiteY191" fmla="*/ 1888443 h 1978172"/>
              <a:gd name="connsiteX192" fmla="*/ 2370 w 10768629"/>
              <a:gd name="connsiteY192" fmla="*/ 1878311 h 1978172"/>
              <a:gd name="connsiteX193" fmla="*/ 0 w 10768629"/>
              <a:gd name="connsiteY193" fmla="*/ 1878785 h 1978172"/>
              <a:gd name="connsiteX194" fmla="*/ 0 w 10768629"/>
              <a:gd name="connsiteY194" fmla="*/ 0 h 1978172"/>
              <a:gd name="connsiteX0" fmla="*/ 0 w 10768629"/>
              <a:gd name="connsiteY0" fmla="*/ 0 h 1978172"/>
              <a:gd name="connsiteX1" fmla="*/ 10768629 w 10768629"/>
              <a:gd name="connsiteY1" fmla="*/ 0 h 1978172"/>
              <a:gd name="connsiteX2" fmla="*/ 10733254 w 10768629"/>
              <a:gd name="connsiteY2" fmla="*/ 31439 h 1978172"/>
              <a:gd name="connsiteX3" fmla="*/ 10727085 w 10768629"/>
              <a:gd name="connsiteY3" fmla="*/ 37910 h 1978172"/>
              <a:gd name="connsiteX4" fmla="*/ 10675953 w 10768629"/>
              <a:gd name="connsiteY4" fmla="*/ 68623 h 1978172"/>
              <a:gd name="connsiteX5" fmla="*/ 10637091 w 10768629"/>
              <a:gd name="connsiteY5" fmla="*/ 90361 h 1978172"/>
              <a:gd name="connsiteX6" fmla="*/ 10610971 w 10768629"/>
              <a:gd name="connsiteY6" fmla="*/ 110764 h 1978172"/>
              <a:gd name="connsiteX7" fmla="*/ 10532872 w 10768629"/>
              <a:gd name="connsiteY7" fmla="*/ 138028 h 1978172"/>
              <a:gd name="connsiteX8" fmla="*/ 10398558 w 10768629"/>
              <a:gd name="connsiteY8" fmla="*/ 172911 h 1978172"/>
              <a:gd name="connsiteX9" fmla="*/ 10371128 w 10768629"/>
              <a:gd name="connsiteY9" fmla="*/ 182609 h 1978172"/>
              <a:gd name="connsiteX10" fmla="*/ 10352178 w 10768629"/>
              <a:gd name="connsiteY10" fmla="*/ 199976 h 1978172"/>
              <a:gd name="connsiteX11" fmla="*/ 10351815 w 10768629"/>
              <a:gd name="connsiteY11" fmla="*/ 211879 h 1978172"/>
              <a:gd name="connsiteX12" fmla="*/ 10337471 w 10768629"/>
              <a:gd name="connsiteY12" fmla="*/ 218661 h 1978172"/>
              <a:gd name="connsiteX13" fmla="*/ 10334625 w 10768629"/>
              <a:gd name="connsiteY13" fmla="*/ 222351 h 1978172"/>
              <a:gd name="connsiteX14" fmla="*/ 10256365 w 10768629"/>
              <a:gd name="connsiteY14" fmla="*/ 235917 h 1978172"/>
              <a:gd name="connsiteX15" fmla="*/ 10201127 w 10768629"/>
              <a:gd name="connsiteY15" fmla="*/ 267448 h 1978172"/>
              <a:gd name="connsiteX16" fmla="*/ 9961218 w 10768629"/>
              <a:gd name="connsiteY16" fmla="*/ 326720 h 1978172"/>
              <a:gd name="connsiteX17" fmla="*/ 9859715 w 10768629"/>
              <a:gd name="connsiteY17" fmla="*/ 355698 h 1978172"/>
              <a:gd name="connsiteX18" fmla="*/ 9679867 w 10768629"/>
              <a:gd name="connsiteY18" fmla="*/ 399081 h 1978172"/>
              <a:gd name="connsiteX19" fmla="*/ 9490654 w 10768629"/>
              <a:gd name="connsiteY19" fmla="*/ 455225 h 1978172"/>
              <a:gd name="connsiteX20" fmla="*/ 9470837 w 10768629"/>
              <a:gd name="connsiteY20" fmla="*/ 452539 h 1978172"/>
              <a:gd name="connsiteX21" fmla="*/ 9469082 w 10768629"/>
              <a:gd name="connsiteY21" fmla="*/ 454891 h 1978172"/>
              <a:gd name="connsiteX22" fmla="*/ 9448038 w 10768629"/>
              <a:gd name="connsiteY22" fmla="*/ 459733 h 1978172"/>
              <a:gd name="connsiteX23" fmla="*/ 9396821 w 10768629"/>
              <a:gd name="connsiteY23" fmla="*/ 455795 h 1978172"/>
              <a:gd name="connsiteX24" fmla="*/ 9392197 w 10768629"/>
              <a:gd name="connsiteY24" fmla="*/ 459796 h 1978172"/>
              <a:gd name="connsiteX25" fmla="*/ 9347994 w 10768629"/>
              <a:gd name="connsiteY25" fmla="*/ 464462 h 1978172"/>
              <a:gd name="connsiteX26" fmla="*/ 9347889 w 10768629"/>
              <a:gd name="connsiteY26" fmla="*/ 466539 h 1978172"/>
              <a:gd name="connsiteX27" fmla="*/ 9337639 w 10768629"/>
              <a:gd name="connsiteY27" fmla="*/ 476654 h 1978172"/>
              <a:gd name="connsiteX28" fmla="*/ 9287964 w 10768629"/>
              <a:gd name="connsiteY28" fmla="*/ 513052 h 1978172"/>
              <a:gd name="connsiteX29" fmla="*/ 9229283 w 10768629"/>
              <a:gd name="connsiteY29" fmla="*/ 555377 h 1978172"/>
              <a:gd name="connsiteX30" fmla="*/ 9220274 w 10768629"/>
              <a:gd name="connsiteY30" fmla="*/ 557502 h 1978172"/>
              <a:gd name="connsiteX31" fmla="*/ 9220202 w 10768629"/>
              <a:gd name="connsiteY31" fmla="*/ 558001 h 1978172"/>
              <a:gd name="connsiteX32" fmla="*/ 9210908 w 10768629"/>
              <a:gd name="connsiteY32" fmla="*/ 561147 h 1978172"/>
              <a:gd name="connsiteX33" fmla="*/ 9186374 w 10768629"/>
              <a:gd name="connsiteY33" fmla="*/ 565502 h 1978172"/>
              <a:gd name="connsiteX34" fmla="*/ 9181058 w 10768629"/>
              <a:gd name="connsiteY34" fmla="*/ 569943 h 1978172"/>
              <a:gd name="connsiteX35" fmla="*/ 9167549 w 10768629"/>
              <a:gd name="connsiteY35" fmla="*/ 584727 h 1978172"/>
              <a:gd name="connsiteX36" fmla="*/ 9149110 w 10768629"/>
              <a:gd name="connsiteY36" fmla="*/ 598906 h 1978172"/>
              <a:gd name="connsiteX37" fmla="*/ 9078556 w 10768629"/>
              <a:gd name="connsiteY37" fmla="*/ 644039 h 1978172"/>
              <a:gd name="connsiteX38" fmla="*/ 8996399 w 10768629"/>
              <a:gd name="connsiteY38" fmla="*/ 690055 h 1978172"/>
              <a:gd name="connsiteX39" fmla="*/ 8803791 w 10768629"/>
              <a:gd name="connsiteY39" fmla="*/ 813860 h 1978172"/>
              <a:gd name="connsiteX40" fmla="*/ 8636202 w 10768629"/>
              <a:gd name="connsiteY40" fmla="*/ 848463 h 1978172"/>
              <a:gd name="connsiteX41" fmla="*/ 8555372 w 10768629"/>
              <a:gd name="connsiteY41" fmla="*/ 883171 h 1978172"/>
              <a:gd name="connsiteX42" fmla="*/ 8507229 w 10768629"/>
              <a:gd name="connsiteY42" fmla="*/ 901665 h 1978172"/>
              <a:gd name="connsiteX43" fmla="*/ 8428473 w 10768629"/>
              <a:gd name="connsiteY43" fmla="*/ 927985 h 1978172"/>
              <a:gd name="connsiteX44" fmla="*/ 8427914 w 10768629"/>
              <a:gd name="connsiteY44" fmla="*/ 933480 h 1978172"/>
              <a:gd name="connsiteX45" fmla="*/ 8420327 w 10768629"/>
              <a:gd name="connsiteY45" fmla="*/ 941984 h 1978172"/>
              <a:gd name="connsiteX46" fmla="*/ 8394729 w 10768629"/>
              <a:gd name="connsiteY46" fmla="*/ 948347 h 1978172"/>
              <a:gd name="connsiteX47" fmla="*/ 8380548 w 10768629"/>
              <a:gd name="connsiteY47" fmla="*/ 987916 h 1978172"/>
              <a:gd name="connsiteX48" fmla="*/ 8375330 w 10768629"/>
              <a:gd name="connsiteY48" fmla="*/ 965444 h 1978172"/>
              <a:gd name="connsiteX49" fmla="*/ 8340796 w 10768629"/>
              <a:gd name="connsiteY49" fmla="*/ 980522 h 1978172"/>
              <a:gd name="connsiteX50" fmla="*/ 8304438 w 10768629"/>
              <a:gd name="connsiteY50" fmla="*/ 996739 h 1978172"/>
              <a:gd name="connsiteX51" fmla="*/ 8280929 w 10768629"/>
              <a:gd name="connsiteY51" fmla="*/ 1023089 h 1978172"/>
              <a:gd name="connsiteX52" fmla="*/ 8275760 w 10768629"/>
              <a:gd name="connsiteY52" fmla="*/ 1027772 h 1978172"/>
              <a:gd name="connsiteX53" fmla="*/ 8275478 w 10768629"/>
              <a:gd name="connsiteY53" fmla="*/ 1027605 h 1978172"/>
              <a:gd name="connsiteX54" fmla="*/ 8269666 w 10768629"/>
              <a:gd name="connsiteY54" fmla="*/ 1032033 h 1978172"/>
              <a:gd name="connsiteX55" fmla="*/ 8203836 w 10768629"/>
              <a:gd name="connsiteY55" fmla="*/ 1037347 h 1978172"/>
              <a:gd name="connsiteX56" fmla="*/ 8122936 w 10768629"/>
              <a:gd name="connsiteY56" fmla="*/ 1063113 h 1978172"/>
              <a:gd name="connsiteX57" fmla="*/ 8043658 w 10768629"/>
              <a:gd name="connsiteY57" fmla="*/ 1092746 h 1978172"/>
              <a:gd name="connsiteX58" fmla="*/ 8015351 w 10768629"/>
              <a:gd name="connsiteY58" fmla="*/ 1105478 h 1978172"/>
              <a:gd name="connsiteX59" fmla="*/ 7963145 w 10768629"/>
              <a:gd name="connsiteY59" fmla="*/ 1119346 h 1978172"/>
              <a:gd name="connsiteX60" fmla="*/ 7938145 w 10768629"/>
              <a:gd name="connsiteY60" fmla="*/ 1120225 h 1978172"/>
              <a:gd name="connsiteX61" fmla="*/ 7937238 w 10768629"/>
              <a:gd name="connsiteY61" fmla="*/ 1121204 h 1978172"/>
              <a:gd name="connsiteX62" fmla="*/ 7934398 w 10768629"/>
              <a:gd name="connsiteY62" fmla="*/ 1118240 h 1978172"/>
              <a:gd name="connsiteX63" fmla="*/ 7918248 w 10768629"/>
              <a:gd name="connsiteY63" fmla="*/ 1124371 h 1978172"/>
              <a:gd name="connsiteX64" fmla="*/ 7914119 w 10768629"/>
              <a:gd name="connsiteY64" fmla="*/ 1127653 h 1978172"/>
              <a:gd name="connsiteX65" fmla="*/ 7907658 w 10768629"/>
              <a:gd name="connsiteY65" fmla="*/ 1130350 h 1978172"/>
              <a:gd name="connsiteX66" fmla="*/ 7907434 w 10768629"/>
              <a:gd name="connsiteY66" fmla="*/ 1130103 h 1978172"/>
              <a:gd name="connsiteX67" fmla="*/ 7901508 w 10768629"/>
              <a:gd name="connsiteY67" fmla="*/ 1133245 h 1978172"/>
              <a:gd name="connsiteX68" fmla="*/ 7873287 w 10768629"/>
              <a:gd name="connsiteY68" fmla="*/ 1152609 h 1978172"/>
              <a:gd name="connsiteX69" fmla="*/ 7834833 w 10768629"/>
              <a:gd name="connsiteY69" fmla="*/ 1153868 h 1978172"/>
              <a:gd name="connsiteX70" fmla="*/ 7828661 w 10768629"/>
              <a:gd name="connsiteY70" fmla="*/ 1139994 h 1978172"/>
              <a:gd name="connsiteX71" fmla="*/ 7823966 w 10768629"/>
              <a:gd name="connsiteY71" fmla="*/ 1143178 h 1978172"/>
              <a:gd name="connsiteX72" fmla="*/ 7815078 w 10768629"/>
              <a:gd name="connsiteY72" fmla="*/ 1151776 h 1978172"/>
              <a:gd name="connsiteX73" fmla="*/ 7812026 w 10768629"/>
              <a:gd name="connsiteY73" fmla="*/ 1151522 h 1978172"/>
              <a:gd name="connsiteX74" fmla="*/ 7782249 w 10768629"/>
              <a:gd name="connsiteY74" fmla="*/ 1160970 h 1978172"/>
              <a:gd name="connsiteX75" fmla="*/ 7773476 w 10768629"/>
              <a:gd name="connsiteY75" fmla="*/ 1157414 h 1978172"/>
              <a:gd name="connsiteX76" fmla="*/ 7769600 w 10768629"/>
              <a:gd name="connsiteY76" fmla="*/ 1157365 h 1978172"/>
              <a:gd name="connsiteX77" fmla="*/ 7752631 w 10768629"/>
              <a:gd name="connsiteY77" fmla="*/ 1172815 h 1978172"/>
              <a:gd name="connsiteX78" fmla="*/ 7743525 w 10768629"/>
              <a:gd name="connsiteY78" fmla="*/ 1179064 h 1978172"/>
              <a:gd name="connsiteX79" fmla="*/ 7685942 w 10768629"/>
              <a:gd name="connsiteY79" fmla="*/ 1233723 h 1978172"/>
              <a:gd name="connsiteX80" fmla="*/ 7586920 w 10768629"/>
              <a:gd name="connsiteY80" fmla="*/ 1261888 h 1978172"/>
              <a:gd name="connsiteX81" fmla="*/ 7486100 w 10768629"/>
              <a:gd name="connsiteY81" fmla="*/ 1292563 h 1978172"/>
              <a:gd name="connsiteX82" fmla="*/ 7407190 w 10768629"/>
              <a:gd name="connsiteY82" fmla="*/ 1314737 h 1978172"/>
              <a:gd name="connsiteX83" fmla="*/ 7240698 w 10768629"/>
              <a:gd name="connsiteY83" fmla="*/ 1438832 h 1978172"/>
              <a:gd name="connsiteX84" fmla="*/ 7197675 w 10768629"/>
              <a:gd name="connsiteY84" fmla="*/ 1447530 h 1978172"/>
              <a:gd name="connsiteX85" fmla="*/ 7164788 w 10768629"/>
              <a:gd name="connsiteY85" fmla="*/ 1480293 h 1978172"/>
              <a:gd name="connsiteX86" fmla="*/ 7147929 w 10768629"/>
              <a:gd name="connsiteY86" fmla="*/ 1477641 h 1978172"/>
              <a:gd name="connsiteX87" fmla="*/ 7144965 w 10768629"/>
              <a:gd name="connsiteY87" fmla="*/ 1476908 h 1978172"/>
              <a:gd name="connsiteX88" fmla="*/ 7134299 w 10768629"/>
              <a:gd name="connsiteY88" fmla="*/ 1479969 h 1978172"/>
              <a:gd name="connsiteX89" fmla="*/ 7129809 w 10768629"/>
              <a:gd name="connsiteY89" fmla="*/ 1473339 h 1978172"/>
              <a:gd name="connsiteX90" fmla="*/ 7112688 w 10768629"/>
              <a:gd name="connsiteY90" fmla="*/ 1472575 h 1978172"/>
              <a:gd name="connsiteX91" fmla="*/ 7093470 w 10768629"/>
              <a:gd name="connsiteY91" fmla="*/ 1480300 h 1978172"/>
              <a:gd name="connsiteX92" fmla="*/ 7025034 w 10768629"/>
              <a:gd name="connsiteY92" fmla="*/ 1506934 h 1978172"/>
              <a:gd name="connsiteX93" fmla="*/ 7014783 w 10768629"/>
              <a:gd name="connsiteY93" fmla="*/ 1515868 h 1978172"/>
              <a:gd name="connsiteX94" fmla="*/ 6979706 w 10768629"/>
              <a:gd name="connsiteY94" fmla="*/ 1523511 h 1978172"/>
              <a:gd name="connsiteX95" fmla="*/ 6977890 w 10768629"/>
              <a:gd name="connsiteY95" fmla="*/ 1525793 h 1978172"/>
              <a:gd name="connsiteX96" fmla="*/ 6944339 w 10768629"/>
              <a:gd name="connsiteY96" fmla="*/ 1536237 h 1978172"/>
              <a:gd name="connsiteX97" fmla="*/ 6886996 w 10768629"/>
              <a:gd name="connsiteY97" fmla="*/ 1563569 h 1978172"/>
              <a:gd name="connsiteX98" fmla="*/ 6874510 w 10768629"/>
              <a:gd name="connsiteY98" fmla="*/ 1558469 h 1978172"/>
              <a:gd name="connsiteX99" fmla="*/ 6871943 w 10768629"/>
              <a:gd name="connsiteY99" fmla="*/ 1554651 h 1978172"/>
              <a:gd name="connsiteX100" fmla="*/ 6856174 w 10768629"/>
              <a:gd name="connsiteY100" fmla="*/ 1562024 h 1978172"/>
              <a:gd name="connsiteX101" fmla="*/ 6842321 w 10768629"/>
              <a:gd name="connsiteY101" fmla="*/ 1560554 h 1978172"/>
              <a:gd name="connsiteX102" fmla="*/ 6832713 w 10768629"/>
              <a:gd name="connsiteY102" fmla="*/ 1569357 h 1978172"/>
              <a:gd name="connsiteX103" fmla="*/ 6816351 w 10768629"/>
              <a:gd name="connsiteY103" fmla="*/ 1571495 h 1978172"/>
              <a:gd name="connsiteX104" fmla="*/ 6795800 w 10768629"/>
              <a:gd name="connsiteY104" fmla="*/ 1572010 h 1978172"/>
              <a:gd name="connsiteX105" fmla="*/ 6777546 w 10768629"/>
              <a:gd name="connsiteY105" fmla="*/ 1568661 h 1978172"/>
              <a:gd name="connsiteX106" fmla="*/ 6751528 w 10768629"/>
              <a:gd name="connsiteY106" fmla="*/ 1574143 h 1978172"/>
              <a:gd name="connsiteX107" fmla="*/ 6691966 w 10768629"/>
              <a:gd name="connsiteY107" fmla="*/ 1582255 h 1978172"/>
              <a:gd name="connsiteX108" fmla="*/ 6646941 w 10768629"/>
              <a:gd name="connsiteY108" fmla="*/ 1588471 h 1978172"/>
              <a:gd name="connsiteX109" fmla="*/ 6568576 w 10768629"/>
              <a:gd name="connsiteY109" fmla="*/ 1606488 h 1978172"/>
              <a:gd name="connsiteX110" fmla="*/ 6554358 w 10768629"/>
              <a:gd name="connsiteY110" fmla="*/ 1621701 h 1978172"/>
              <a:gd name="connsiteX111" fmla="*/ 6516968 w 10768629"/>
              <a:gd name="connsiteY111" fmla="*/ 1617195 h 1978172"/>
              <a:gd name="connsiteX112" fmla="*/ 6506479 w 10768629"/>
              <a:gd name="connsiteY112" fmla="*/ 1602227 h 1978172"/>
              <a:gd name="connsiteX113" fmla="*/ 6458436 w 10768629"/>
              <a:gd name="connsiteY113" fmla="*/ 1607332 h 1978172"/>
              <a:gd name="connsiteX114" fmla="*/ 6414786 w 10768629"/>
              <a:gd name="connsiteY114" fmla="*/ 1628815 h 1978172"/>
              <a:gd name="connsiteX115" fmla="*/ 6357085 w 10768629"/>
              <a:gd name="connsiteY115" fmla="*/ 1640846 h 1978172"/>
              <a:gd name="connsiteX116" fmla="*/ 6322636 w 10768629"/>
              <a:gd name="connsiteY116" fmla="*/ 1648213 h 1978172"/>
              <a:gd name="connsiteX117" fmla="*/ 6226172 w 10768629"/>
              <a:gd name="connsiteY117" fmla="*/ 1654676 h 1978172"/>
              <a:gd name="connsiteX118" fmla="*/ 6221217 w 10768629"/>
              <a:gd name="connsiteY118" fmla="*/ 1654506 h 1978172"/>
              <a:gd name="connsiteX119" fmla="*/ 6204956 w 10768629"/>
              <a:gd name="connsiteY119" fmla="*/ 1664280 h 1978172"/>
              <a:gd name="connsiteX120" fmla="*/ 6204270 w 10768629"/>
              <a:gd name="connsiteY120" fmla="*/ 1666782 h 1978172"/>
              <a:gd name="connsiteX121" fmla="*/ 6143810 w 10768629"/>
              <a:gd name="connsiteY121" fmla="*/ 1661963 h 1978172"/>
              <a:gd name="connsiteX122" fmla="*/ 6136560 w 10768629"/>
              <a:gd name="connsiteY122" fmla="*/ 1665728 h 1978172"/>
              <a:gd name="connsiteX123" fmla="*/ 6096155 w 10768629"/>
              <a:gd name="connsiteY123" fmla="*/ 1656951 h 1978172"/>
              <a:gd name="connsiteX124" fmla="*/ 6075812 w 10768629"/>
              <a:gd name="connsiteY124" fmla="*/ 1655422 h 1978172"/>
              <a:gd name="connsiteX125" fmla="*/ 6039495 w 10768629"/>
              <a:gd name="connsiteY125" fmla="*/ 1649680 h 1978172"/>
              <a:gd name="connsiteX126" fmla="*/ 6036523 w 10768629"/>
              <a:gd name="connsiteY126" fmla="*/ 1652121 h 1978172"/>
              <a:gd name="connsiteX127" fmla="*/ 6029328 w 10768629"/>
              <a:gd name="connsiteY127" fmla="*/ 1649904 h 1978172"/>
              <a:gd name="connsiteX128" fmla="*/ 6024075 w 10768629"/>
              <a:gd name="connsiteY128" fmla="*/ 1652779 h 1978172"/>
              <a:gd name="connsiteX129" fmla="*/ 6018085 w 10768629"/>
              <a:gd name="connsiteY129" fmla="*/ 1652030 h 1978172"/>
              <a:gd name="connsiteX130" fmla="*/ 5955513 w 10768629"/>
              <a:gd name="connsiteY130" fmla="*/ 1663584 h 1978172"/>
              <a:gd name="connsiteX131" fmla="*/ 5941996 w 10768629"/>
              <a:gd name="connsiteY131" fmla="*/ 1661326 h 1978172"/>
              <a:gd name="connsiteX132" fmla="*/ 5931789 w 10768629"/>
              <a:gd name="connsiteY132" fmla="*/ 1669915 h 1978172"/>
              <a:gd name="connsiteX133" fmla="*/ 5888686 w 10768629"/>
              <a:gd name="connsiteY133" fmla="*/ 1672175 h 1978172"/>
              <a:gd name="connsiteX134" fmla="*/ 5873794 w 10768629"/>
              <a:gd name="connsiteY134" fmla="*/ 1665454 h 1978172"/>
              <a:gd name="connsiteX135" fmla="*/ 5860022 w 10768629"/>
              <a:gd name="connsiteY135" fmla="*/ 1660635 h 1978172"/>
              <a:gd name="connsiteX136" fmla="*/ 5858237 w 10768629"/>
              <a:gd name="connsiteY136" fmla="*/ 1660649 h 1978172"/>
              <a:gd name="connsiteX137" fmla="*/ 5840319 w 10768629"/>
              <a:gd name="connsiteY137" fmla="*/ 1660798 h 1978172"/>
              <a:gd name="connsiteX138" fmla="*/ 5806984 w 10768629"/>
              <a:gd name="connsiteY138" fmla="*/ 1661075 h 1978172"/>
              <a:gd name="connsiteX139" fmla="*/ 5742351 w 10768629"/>
              <a:gd name="connsiteY139" fmla="*/ 1667489 h 1978172"/>
              <a:gd name="connsiteX140" fmla="*/ 5521171 w 10768629"/>
              <a:gd name="connsiteY140" fmla="*/ 1671626 h 1978172"/>
              <a:gd name="connsiteX141" fmla="*/ 5457384 w 10768629"/>
              <a:gd name="connsiteY141" fmla="*/ 1683952 h 1978172"/>
              <a:gd name="connsiteX142" fmla="*/ 4950070 w 10768629"/>
              <a:gd name="connsiteY142" fmla="*/ 1748401 h 1978172"/>
              <a:gd name="connsiteX143" fmla="*/ 4872172 w 10768629"/>
              <a:gd name="connsiteY143" fmla="*/ 1757222 h 1978172"/>
              <a:gd name="connsiteX144" fmla="*/ 4809524 w 10768629"/>
              <a:gd name="connsiteY144" fmla="*/ 1761033 h 1978172"/>
              <a:gd name="connsiteX145" fmla="*/ 4759058 w 10768629"/>
              <a:gd name="connsiteY145" fmla="*/ 1766533 h 1978172"/>
              <a:gd name="connsiteX146" fmla="*/ 4719749 w 10768629"/>
              <a:gd name="connsiteY146" fmla="*/ 1771811 h 1978172"/>
              <a:gd name="connsiteX147" fmla="*/ 4568686 w 10768629"/>
              <a:gd name="connsiteY147" fmla="*/ 1786141 h 1978172"/>
              <a:gd name="connsiteX148" fmla="*/ 4418751 w 10768629"/>
              <a:gd name="connsiteY148" fmla="*/ 1796932 h 1978172"/>
              <a:gd name="connsiteX149" fmla="*/ 4378377 w 10768629"/>
              <a:gd name="connsiteY149" fmla="*/ 1815528 h 1978172"/>
              <a:gd name="connsiteX150" fmla="*/ 4320575 w 10768629"/>
              <a:gd name="connsiteY150" fmla="*/ 1832722 h 1978172"/>
              <a:gd name="connsiteX151" fmla="*/ 4220200 w 10768629"/>
              <a:gd name="connsiteY151" fmla="*/ 1873173 h 1978172"/>
              <a:gd name="connsiteX152" fmla="*/ 4105361 w 10768629"/>
              <a:gd name="connsiteY152" fmla="*/ 1894711 h 1978172"/>
              <a:gd name="connsiteX153" fmla="*/ 3973223 w 10768629"/>
              <a:gd name="connsiteY153" fmla="*/ 1881015 h 1978172"/>
              <a:gd name="connsiteX154" fmla="*/ 3900992 w 10768629"/>
              <a:gd name="connsiteY154" fmla="*/ 1880603 h 1978172"/>
              <a:gd name="connsiteX155" fmla="*/ 3662119 w 10768629"/>
              <a:gd name="connsiteY155" fmla="*/ 1889285 h 1978172"/>
              <a:gd name="connsiteX156" fmla="*/ 3496919 w 10768629"/>
              <a:gd name="connsiteY156" fmla="*/ 1873180 h 1978172"/>
              <a:gd name="connsiteX157" fmla="*/ 3449433 w 10768629"/>
              <a:gd name="connsiteY157" fmla="*/ 1889681 h 1978172"/>
              <a:gd name="connsiteX158" fmla="*/ 3369766 w 10768629"/>
              <a:gd name="connsiteY158" fmla="*/ 1916653 h 1978172"/>
              <a:gd name="connsiteX159" fmla="*/ 3269672 w 10768629"/>
              <a:gd name="connsiteY159" fmla="*/ 1938036 h 1978172"/>
              <a:gd name="connsiteX160" fmla="*/ 3224897 w 10768629"/>
              <a:gd name="connsiteY160" fmla="*/ 1943733 h 1978172"/>
              <a:gd name="connsiteX161" fmla="*/ 3161463 w 10768629"/>
              <a:gd name="connsiteY161" fmla="*/ 1946591 h 1978172"/>
              <a:gd name="connsiteX162" fmla="*/ 3112044 w 10768629"/>
              <a:gd name="connsiteY162" fmla="*/ 1935614 h 1978172"/>
              <a:gd name="connsiteX163" fmla="*/ 3069716 w 10768629"/>
              <a:gd name="connsiteY163" fmla="*/ 1930463 h 1978172"/>
              <a:gd name="connsiteX164" fmla="*/ 3005773 w 10768629"/>
              <a:gd name="connsiteY164" fmla="*/ 1915878 h 1978172"/>
              <a:gd name="connsiteX165" fmla="*/ 2897201 w 10768629"/>
              <a:gd name="connsiteY165" fmla="*/ 1926772 h 1978172"/>
              <a:gd name="connsiteX166" fmla="*/ 2783891 w 10768629"/>
              <a:gd name="connsiteY166" fmla="*/ 1931749 h 1978172"/>
              <a:gd name="connsiteX167" fmla="*/ 2712447 w 10768629"/>
              <a:gd name="connsiteY167" fmla="*/ 1933044 h 1978172"/>
              <a:gd name="connsiteX168" fmla="*/ 2560151 w 10768629"/>
              <a:gd name="connsiteY168" fmla="*/ 1963609 h 1978172"/>
              <a:gd name="connsiteX169" fmla="*/ 2367221 w 10768629"/>
              <a:gd name="connsiteY169" fmla="*/ 1971884 h 1978172"/>
              <a:gd name="connsiteX170" fmla="*/ 2272130 w 10768629"/>
              <a:gd name="connsiteY170" fmla="*/ 1961162 h 1978172"/>
              <a:gd name="connsiteX171" fmla="*/ 2189404 w 10768629"/>
              <a:gd name="connsiteY171" fmla="*/ 1978172 h 1978172"/>
              <a:gd name="connsiteX172" fmla="*/ 2077704 w 10768629"/>
              <a:gd name="connsiteY172" fmla="*/ 1965002 h 1978172"/>
              <a:gd name="connsiteX173" fmla="*/ 2033299 w 10768629"/>
              <a:gd name="connsiteY173" fmla="*/ 1969042 h 1978172"/>
              <a:gd name="connsiteX174" fmla="*/ 1967996 w 10768629"/>
              <a:gd name="connsiteY174" fmla="*/ 1953187 h 1978172"/>
              <a:gd name="connsiteX175" fmla="*/ 1855805 w 10768629"/>
              <a:gd name="connsiteY175" fmla="*/ 1926082 h 1978172"/>
              <a:gd name="connsiteX176" fmla="*/ 1790957 w 10768629"/>
              <a:gd name="connsiteY176" fmla="*/ 1919460 h 1978172"/>
              <a:gd name="connsiteX177" fmla="*/ 1613978 w 10768629"/>
              <a:gd name="connsiteY177" fmla="*/ 1891581 h 1978172"/>
              <a:gd name="connsiteX178" fmla="*/ 1436831 w 10768629"/>
              <a:gd name="connsiteY178" fmla="*/ 1856201 h 1978172"/>
              <a:gd name="connsiteX179" fmla="*/ 1357365 w 10768629"/>
              <a:gd name="connsiteY179" fmla="*/ 1832140 h 1978172"/>
              <a:gd name="connsiteX180" fmla="*/ 1232341 w 10768629"/>
              <a:gd name="connsiteY180" fmla="*/ 1785942 h 1978172"/>
              <a:gd name="connsiteX181" fmla="*/ 1162595 w 10768629"/>
              <a:gd name="connsiteY181" fmla="*/ 1758337 h 1978172"/>
              <a:gd name="connsiteX182" fmla="*/ 1128523 w 10768629"/>
              <a:gd name="connsiteY182" fmla="*/ 1763621 h 1978172"/>
              <a:gd name="connsiteX183" fmla="*/ 991903 w 10768629"/>
              <a:gd name="connsiteY183" fmla="*/ 1786741 h 1978172"/>
              <a:gd name="connsiteX184" fmla="*/ 883960 w 10768629"/>
              <a:gd name="connsiteY184" fmla="*/ 1822386 h 1978172"/>
              <a:gd name="connsiteX185" fmla="*/ 766531 w 10768629"/>
              <a:gd name="connsiteY185" fmla="*/ 1805053 h 1978172"/>
              <a:gd name="connsiteX186" fmla="*/ 669779 w 10768629"/>
              <a:gd name="connsiteY186" fmla="*/ 1800537 h 1978172"/>
              <a:gd name="connsiteX187" fmla="*/ 523898 w 10768629"/>
              <a:gd name="connsiteY187" fmla="*/ 1811085 h 1978172"/>
              <a:gd name="connsiteX188" fmla="*/ 360251 w 10768629"/>
              <a:gd name="connsiteY188" fmla="*/ 1830735 h 1978172"/>
              <a:gd name="connsiteX189" fmla="*/ 255207 w 10768629"/>
              <a:gd name="connsiteY189" fmla="*/ 1818275 h 1978172"/>
              <a:gd name="connsiteX190" fmla="*/ 101803 w 10768629"/>
              <a:gd name="connsiteY190" fmla="*/ 1870647 h 1978172"/>
              <a:gd name="connsiteX191" fmla="*/ 25397 w 10768629"/>
              <a:gd name="connsiteY191" fmla="*/ 1888443 h 1978172"/>
              <a:gd name="connsiteX192" fmla="*/ 2370 w 10768629"/>
              <a:gd name="connsiteY192" fmla="*/ 1878311 h 1978172"/>
              <a:gd name="connsiteX193" fmla="*/ 0 w 10768629"/>
              <a:gd name="connsiteY193" fmla="*/ 1878785 h 1978172"/>
              <a:gd name="connsiteX194" fmla="*/ 0 w 10768629"/>
              <a:gd name="connsiteY194" fmla="*/ 0 h 1978172"/>
              <a:gd name="connsiteX0" fmla="*/ 0 w 10768629"/>
              <a:gd name="connsiteY0" fmla="*/ 0 h 1978172"/>
              <a:gd name="connsiteX1" fmla="*/ 10768629 w 10768629"/>
              <a:gd name="connsiteY1" fmla="*/ 0 h 1978172"/>
              <a:gd name="connsiteX2" fmla="*/ 10733254 w 10768629"/>
              <a:gd name="connsiteY2" fmla="*/ 31439 h 1978172"/>
              <a:gd name="connsiteX3" fmla="*/ 10727085 w 10768629"/>
              <a:gd name="connsiteY3" fmla="*/ 37910 h 1978172"/>
              <a:gd name="connsiteX4" fmla="*/ 10675953 w 10768629"/>
              <a:gd name="connsiteY4" fmla="*/ 68623 h 1978172"/>
              <a:gd name="connsiteX5" fmla="*/ 10637091 w 10768629"/>
              <a:gd name="connsiteY5" fmla="*/ 90361 h 1978172"/>
              <a:gd name="connsiteX6" fmla="*/ 10610971 w 10768629"/>
              <a:gd name="connsiteY6" fmla="*/ 110764 h 1978172"/>
              <a:gd name="connsiteX7" fmla="*/ 10532872 w 10768629"/>
              <a:gd name="connsiteY7" fmla="*/ 138028 h 1978172"/>
              <a:gd name="connsiteX8" fmla="*/ 10398558 w 10768629"/>
              <a:gd name="connsiteY8" fmla="*/ 172911 h 1978172"/>
              <a:gd name="connsiteX9" fmla="*/ 10371128 w 10768629"/>
              <a:gd name="connsiteY9" fmla="*/ 182609 h 1978172"/>
              <a:gd name="connsiteX10" fmla="*/ 10352178 w 10768629"/>
              <a:gd name="connsiteY10" fmla="*/ 199976 h 1978172"/>
              <a:gd name="connsiteX11" fmla="*/ 10351815 w 10768629"/>
              <a:gd name="connsiteY11" fmla="*/ 211879 h 1978172"/>
              <a:gd name="connsiteX12" fmla="*/ 10337471 w 10768629"/>
              <a:gd name="connsiteY12" fmla="*/ 218661 h 1978172"/>
              <a:gd name="connsiteX13" fmla="*/ 10334625 w 10768629"/>
              <a:gd name="connsiteY13" fmla="*/ 222351 h 1978172"/>
              <a:gd name="connsiteX14" fmla="*/ 10256365 w 10768629"/>
              <a:gd name="connsiteY14" fmla="*/ 235917 h 1978172"/>
              <a:gd name="connsiteX15" fmla="*/ 10201127 w 10768629"/>
              <a:gd name="connsiteY15" fmla="*/ 267448 h 1978172"/>
              <a:gd name="connsiteX16" fmla="*/ 9961218 w 10768629"/>
              <a:gd name="connsiteY16" fmla="*/ 326720 h 1978172"/>
              <a:gd name="connsiteX17" fmla="*/ 9859715 w 10768629"/>
              <a:gd name="connsiteY17" fmla="*/ 355698 h 1978172"/>
              <a:gd name="connsiteX18" fmla="*/ 9679867 w 10768629"/>
              <a:gd name="connsiteY18" fmla="*/ 399081 h 1978172"/>
              <a:gd name="connsiteX19" fmla="*/ 9490654 w 10768629"/>
              <a:gd name="connsiteY19" fmla="*/ 455225 h 1978172"/>
              <a:gd name="connsiteX20" fmla="*/ 9470837 w 10768629"/>
              <a:gd name="connsiteY20" fmla="*/ 452539 h 1978172"/>
              <a:gd name="connsiteX21" fmla="*/ 9469082 w 10768629"/>
              <a:gd name="connsiteY21" fmla="*/ 454891 h 1978172"/>
              <a:gd name="connsiteX22" fmla="*/ 9448038 w 10768629"/>
              <a:gd name="connsiteY22" fmla="*/ 459733 h 1978172"/>
              <a:gd name="connsiteX23" fmla="*/ 9396821 w 10768629"/>
              <a:gd name="connsiteY23" fmla="*/ 455795 h 1978172"/>
              <a:gd name="connsiteX24" fmla="*/ 9392197 w 10768629"/>
              <a:gd name="connsiteY24" fmla="*/ 459796 h 1978172"/>
              <a:gd name="connsiteX25" fmla="*/ 9347994 w 10768629"/>
              <a:gd name="connsiteY25" fmla="*/ 464462 h 1978172"/>
              <a:gd name="connsiteX26" fmla="*/ 9347889 w 10768629"/>
              <a:gd name="connsiteY26" fmla="*/ 466539 h 1978172"/>
              <a:gd name="connsiteX27" fmla="*/ 9337639 w 10768629"/>
              <a:gd name="connsiteY27" fmla="*/ 476654 h 1978172"/>
              <a:gd name="connsiteX28" fmla="*/ 9287964 w 10768629"/>
              <a:gd name="connsiteY28" fmla="*/ 513052 h 1978172"/>
              <a:gd name="connsiteX29" fmla="*/ 9229283 w 10768629"/>
              <a:gd name="connsiteY29" fmla="*/ 555377 h 1978172"/>
              <a:gd name="connsiteX30" fmla="*/ 9220274 w 10768629"/>
              <a:gd name="connsiteY30" fmla="*/ 557502 h 1978172"/>
              <a:gd name="connsiteX31" fmla="*/ 9220202 w 10768629"/>
              <a:gd name="connsiteY31" fmla="*/ 558001 h 1978172"/>
              <a:gd name="connsiteX32" fmla="*/ 9210908 w 10768629"/>
              <a:gd name="connsiteY32" fmla="*/ 561147 h 1978172"/>
              <a:gd name="connsiteX33" fmla="*/ 9186374 w 10768629"/>
              <a:gd name="connsiteY33" fmla="*/ 565502 h 1978172"/>
              <a:gd name="connsiteX34" fmla="*/ 9181058 w 10768629"/>
              <a:gd name="connsiteY34" fmla="*/ 569943 h 1978172"/>
              <a:gd name="connsiteX35" fmla="*/ 9167549 w 10768629"/>
              <a:gd name="connsiteY35" fmla="*/ 584727 h 1978172"/>
              <a:gd name="connsiteX36" fmla="*/ 9149110 w 10768629"/>
              <a:gd name="connsiteY36" fmla="*/ 598906 h 1978172"/>
              <a:gd name="connsiteX37" fmla="*/ 9078556 w 10768629"/>
              <a:gd name="connsiteY37" fmla="*/ 644039 h 1978172"/>
              <a:gd name="connsiteX38" fmla="*/ 8996399 w 10768629"/>
              <a:gd name="connsiteY38" fmla="*/ 690055 h 1978172"/>
              <a:gd name="connsiteX39" fmla="*/ 8803791 w 10768629"/>
              <a:gd name="connsiteY39" fmla="*/ 813860 h 1978172"/>
              <a:gd name="connsiteX40" fmla="*/ 8636202 w 10768629"/>
              <a:gd name="connsiteY40" fmla="*/ 848463 h 1978172"/>
              <a:gd name="connsiteX41" fmla="*/ 8555372 w 10768629"/>
              <a:gd name="connsiteY41" fmla="*/ 883171 h 1978172"/>
              <a:gd name="connsiteX42" fmla="*/ 8507229 w 10768629"/>
              <a:gd name="connsiteY42" fmla="*/ 901665 h 1978172"/>
              <a:gd name="connsiteX43" fmla="*/ 8428473 w 10768629"/>
              <a:gd name="connsiteY43" fmla="*/ 927985 h 1978172"/>
              <a:gd name="connsiteX44" fmla="*/ 8427914 w 10768629"/>
              <a:gd name="connsiteY44" fmla="*/ 933480 h 1978172"/>
              <a:gd name="connsiteX45" fmla="*/ 8420327 w 10768629"/>
              <a:gd name="connsiteY45" fmla="*/ 941984 h 1978172"/>
              <a:gd name="connsiteX46" fmla="*/ 8394729 w 10768629"/>
              <a:gd name="connsiteY46" fmla="*/ 948347 h 1978172"/>
              <a:gd name="connsiteX47" fmla="*/ 8380548 w 10768629"/>
              <a:gd name="connsiteY47" fmla="*/ 987916 h 1978172"/>
              <a:gd name="connsiteX48" fmla="*/ 8375330 w 10768629"/>
              <a:gd name="connsiteY48" fmla="*/ 965444 h 1978172"/>
              <a:gd name="connsiteX49" fmla="*/ 8340796 w 10768629"/>
              <a:gd name="connsiteY49" fmla="*/ 980522 h 1978172"/>
              <a:gd name="connsiteX50" fmla="*/ 8304438 w 10768629"/>
              <a:gd name="connsiteY50" fmla="*/ 996739 h 1978172"/>
              <a:gd name="connsiteX51" fmla="*/ 8280929 w 10768629"/>
              <a:gd name="connsiteY51" fmla="*/ 1023089 h 1978172"/>
              <a:gd name="connsiteX52" fmla="*/ 8275760 w 10768629"/>
              <a:gd name="connsiteY52" fmla="*/ 1027772 h 1978172"/>
              <a:gd name="connsiteX53" fmla="*/ 8275478 w 10768629"/>
              <a:gd name="connsiteY53" fmla="*/ 1027605 h 1978172"/>
              <a:gd name="connsiteX54" fmla="*/ 8249003 w 10768629"/>
              <a:gd name="connsiteY54" fmla="*/ 1032033 h 1978172"/>
              <a:gd name="connsiteX55" fmla="*/ 8203836 w 10768629"/>
              <a:gd name="connsiteY55" fmla="*/ 1037347 h 1978172"/>
              <a:gd name="connsiteX56" fmla="*/ 8122936 w 10768629"/>
              <a:gd name="connsiteY56" fmla="*/ 1063113 h 1978172"/>
              <a:gd name="connsiteX57" fmla="*/ 8043658 w 10768629"/>
              <a:gd name="connsiteY57" fmla="*/ 1092746 h 1978172"/>
              <a:gd name="connsiteX58" fmla="*/ 8015351 w 10768629"/>
              <a:gd name="connsiteY58" fmla="*/ 1105478 h 1978172"/>
              <a:gd name="connsiteX59" fmla="*/ 7963145 w 10768629"/>
              <a:gd name="connsiteY59" fmla="*/ 1119346 h 1978172"/>
              <a:gd name="connsiteX60" fmla="*/ 7938145 w 10768629"/>
              <a:gd name="connsiteY60" fmla="*/ 1120225 h 1978172"/>
              <a:gd name="connsiteX61" fmla="*/ 7937238 w 10768629"/>
              <a:gd name="connsiteY61" fmla="*/ 1121204 h 1978172"/>
              <a:gd name="connsiteX62" fmla="*/ 7934398 w 10768629"/>
              <a:gd name="connsiteY62" fmla="*/ 1118240 h 1978172"/>
              <a:gd name="connsiteX63" fmla="*/ 7918248 w 10768629"/>
              <a:gd name="connsiteY63" fmla="*/ 1124371 h 1978172"/>
              <a:gd name="connsiteX64" fmla="*/ 7914119 w 10768629"/>
              <a:gd name="connsiteY64" fmla="*/ 1127653 h 1978172"/>
              <a:gd name="connsiteX65" fmla="*/ 7907658 w 10768629"/>
              <a:gd name="connsiteY65" fmla="*/ 1130350 h 1978172"/>
              <a:gd name="connsiteX66" fmla="*/ 7907434 w 10768629"/>
              <a:gd name="connsiteY66" fmla="*/ 1130103 h 1978172"/>
              <a:gd name="connsiteX67" fmla="*/ 7901508 w 10768629"/>
              <a:gd name="connsiteY67" fmla="*/ 1133245 h 1978172"/>
              <a:gd name="connsiteX68" fmla="*/ 7873287 w 10768629"/>
              <a:gd name="connsiteY68" fmla="*/ 1152609 h 1978172"/>
              <a:gd name="connsiteX69" fmla="*/ 7834833 w 10768629"/>
              <a:gd name="connsiteY69" fmla="*/ 1153868 h 1978172"/>
              <a:gd name="connsiteX70" fmla="*/ 7828661 w 10768629"/>
              <a:gd name="connsiteY70" fmla="*/ 1139994 h 1978172"/>
              <a:gd name="connsiteX71" fmla="*/ 7823966 w 10768629"/>
              <a:gd name="connsiteY71" fmla="*/ 1143178 h 1978172"/>
              <a:gd name="connsiteX72" fmla="*/ 7815078 w 10768629"/>
              <a:gd name="connsiteY72" fmla="*/ 1151776 h 1978172"/>
              <a:gd name="connsiteX73" fmla="*/ 7812026 w 10768629"/>
              <a:gd name="connsiteY73" fmla="*/ 1151522 h 1978172"/>
              <a:gd name="connsiteX74" fmla="*/ 7782249 w 10768629"/>
              <a:gd name="connsiteY74" fmla="*/ 1160970 h 1978172"/>
              <a:gd name="connsiteX75" fmla="*/ 7773476 w 10768629"/>
              <a:gd name="connsiteY75" fmla="*/ 1157414 h 1978172"/>
              <a:gd name="connsiteX76" fmla="*/ 7769600 w 10768629"/>
              <a:gd name="connsiteY76" fmla="*/ 1157365 h 1978172"/>
              <a:gd name="connsiteX77" fmla="*/ 7752631 w 10768629"/>
              <a:gd name="connsiteY77" fmla="*/ 1172815 h 1978172"/>
              <a:gd name="connsiteX78" fmla="*/ 7743525 w 10768629"/>
              <a:gd name="connsiteY78" fmla="*/ 1179064 h 1978172"/>
              <a:gd name="connsiteX79" fmla="*/ 7685942 w 10768629"/>
              <a:gd name="connsiteY79" fmla="*/ 1233723 h 1978172"/>
              <a:gd name="connsiteX80" fmla="*/ 7586920 w 10768629"/>
              <a:gd name="connsiteY80" fmla="*/ 1261888 h 1978172"/>
              <a:gd name="connsiteX81" fmla="*/ 7486100 w 10768629"/>
              <a:gd name="connsiteY81" fmla="*/ 1292563 h 1978172"/>
              <a:gd name="connsiteX82" fmla="*/ 7407190 w 10768629"/>
              <a:gd name="connsiteY82" fmla="*/ 1314737 h 1978172"/>
              <a:gd name="connsiteX83" fmla="*/ 7240698 w 10768629"/>
              <a:gd name="connsiteY83" fmla="*/ 1438832 h 1978172"/>
              <a:gd name="connsiteX84" fmla="*/ 7197675 w 10768629"/>
              <a:gd name="connsiteY84" fmla="*/ 1447530 h 1978172"/>
              <a:gd name="connsiteX85" fmla="*/ 7164788 w 10768629"/>
              <a:gd name="connsiteY85" fmla="*/ 1480293 h 1978172"/>
              <a:gd name="connsiteX86" fmla="*/ 7147929 w 10768629"/>
              <a:gd name="connsiteY86" fmla="*/ 1477641 h 1978172"/>
              <a:gd name="connsiteX87" fmla="*/ 7144965 w 10768629"/>
              <a:gd name="connsiteY87" fmla="*/ 1476908 h 1978172"/>
              <a:gd name="connsiteX88" fmla="*/ 7134299 w 10768629"/>
              <a:gd name="connsiteY88" fmla="*/ 1479969 h 1978172"/>
              <a:gd name="connsiteX89" fmla="*/ 7129809 w 10768629"/>
              <a:gd name="connsiteY89" fmla="*/ 1473339 h 1978172"/>
              <a:gd name="connsiteX90" fmla="*/ 7112688 w 10768629"/>
              <a:gd name="connsiteY90" fmla="*/ 1472575 h 1978172"/>
              <a:gd name="connsiteX91" fmla="*/ 7093470 w 10768629"/>
              <a:gd name="connsiteY91" fmla="*/ 1480300 h 1978172"/>
              <a:gd name="connsiteX92" fmla="*/ 7025034 w 10768629"/>
              <a:gd name="connsiteY92" fmla="*/ 1506934 h 1978172"/>
              <a:gd name="connsiteX93" fmla="*/ 7014783 w 10768629"/>
              <a:gd name="connsiteY93" fmla="*/ 1515868 h 1978172"/>
              <a:gd name="connsiteX94" fmla="*/ 6979706 w 10768629"/>
              <a:gd name="connsiteY94" fmla="*/ 1523511 h 1978172"/>
              <a:gd name="connsiteX95" fmla="*/ 6977890 w 10768629"/>
              <a:gd name="connsiteY95" fmla="*/ 1525793 h 1978172"/>
              <a:gd name="connsiteX96" fmla="*/ 6944339 w 10768629"/>
              <a:gd name="connsiteY96" fmla="*/ 1536237 h 1978172"/>
              <a:gd name="connsiteX97" fmla="*/ 6886996 w 10768629"/>
              <a:gd name="connsiteY97" fmla="*/ 1563569 h 1978172"/>
              <a:gd name="connsiteX98" fmla="*/ 6874510 w 10768629"/>
              <a:gd name="connsiteY98" fmla="*/ 1558469 h 1978172"/>
              <a:gd name="connsiteX99" fmla="*/ 6871943 w 10768629"/>
              <a:gd name="connsiteY99" fmla="*/ 1554651 h 1978172"/>
              <a:gd name="connsiteX100" fmla="*/ 6856174 w 10768629"/>
              <a:gd name="connsiteY100" fmla="*/ 1562024 h 1978172"/>
              <a:gd name="connsiteX101" fmla="*/ 6842321 w 10768629"/>
              <a:gd name="connsiteY101" fmla="*/ 1560554 h 1978172"/>
              <a:gd name="connsiteX102" fmla="*/ 6832713 w 10768629"/>
              <a:gd name="connsiteY102" fmla="*/ 1569357 h 1978172"/>
              <a:gd name="connsiteX103" fmla="*/ 6816351 w 10768629"/>
              <a:gd name="connsiteY103" fmla="*/ 1571495 h 1978172"/>
              <a:gd name="connsiteX104" fmla="*/ 6795800 w 10768629"/>
              <a:gd name="connsiteY104" fmla="*/ 1572010 h 1978172"/>
              <a:gd name="connsiteX105" fmla="*/ 6777546 w 10768629"/>
              <a:gd name="connsiteY105" fmla="*/ 1568661 h 1978172"/>
              <a:gd name="connsiteX106" fmla="*/ 6751528 w 10768629"/>
              <a:gd name="connsiteY106" fmla="*/ 1574143 h 1978172"/>
              <a:gd name="connsiteX107" fmla="*/ 6691966 w 10768629"/>
              <a:gd name="connsiteY107" fmla="*/ 1582255 h 1978172"/>
              <a:gd name="connsiteX108" fmla="*/ 6646941 w 10768629"/>
              <a:gd name="connsiteY108" fmla="*/ 1588471 h 1978172"/>
              <a:gd name="connsiteX109" fmla="*/ 6568576 w 10768629"/>
              <a:gd name="connsiteY109" fmla="*/ 1606488 h 1978172"/>
              <a:gd name="connsiteX110" fmla="*/ 6554358 w 10768629"/>
              <a:gd name="connsiteY110" fmla="*/ 1621701 h 1978172"/>
              <a:gd name="connsiteX111" fmla="*/ 6516968 w 10768629"/>
              <a:gd name="connsiteY111" fmla="*/ 1617195 h 1978172"/>
              <a:gd name="connsiteX112" fmla="*/ 6506479 w 10768629"/>
              <a:gd name="connsiteY112" fmla="*/ 1602227 h 1978172"/>
              <a:gd name="connsiteX113" fmla="*/ 6458436 w 10768629"/>
              <a:gd name="connsiteY113" fmla="*/ 1607332 h 1978172"/>
              <a:gd name="connsiteX114" fmla="*/ 6414786 w 10768629"/>
              <a:gd name="connsiteY114" fmla="*/ 1628815 h 1978172"/>
              <a:gd name="connsiteX115" fmla="*/ 6357085 w 10768629"/>
              <a:gd name="connsiteY115" fmla="*/ 1640846 h 1978172"/>
              <a:gd name="connsiteX116" fmla="*/ 6322636 w 10768629"/>
              <a:gd name="connsiteY116" fmla="*/ 1648213 h 1978172"/>
              <a:gd name="connsiteX117" fmla="*/ 6226172 w 10768629"/>
              <a:gd name="connsiteY117" fmla="*/ 1654676 h 1978172"/>
              <a:gd name="connsiteX118" fmla="*/ 6221217 w 10768629"/>
              <a:gd name="connsiteY118" fmla="*/ 1654506 h 1978172"/>
              <a:gd name="connsiteX119" fmla="*/ 6204956 w 10768629"/>
              <a:gd name="connsiteY119" fmla="*/ 1664280 h 1978172"/>
              <a:gd name="connsiteX120" fmla="*/ 6204270 w 10768629"/>
              <a:gd name="connsiteY120" fmla="*/ 1666782 h 1978172"/>
              <a:gd name="connsiteX121" fmla="*/ 6143810 w 10768629"/>
              <a:gd name="connsiteY121" fmla="*/ 1661963 h 1978172"/>
              <a:gd name="connsiteX122" fmla="*/ 6136560 w 10768629"/>
              <a:gd name="connsiteY122" fmla="*/ 1665728 h 1978172"/>
              <a:gd name="connsiteX123" fmla="*/ 6096155 w 10768629"/>
              <a:gd name="connsiteY123" fmla="*/ 1656951 h 1978172"/>
              <a:gd name="connsiteX124" fmla="*/ 6075812 w 10768629"/>
              <a:gd name="connsiteY124" fmla="*/ 1655422 h 1978172"/>
              <a:gd name="connsiteX125" fmla="*/ 6039495 w 10768629"/>
              <a:gd name="connsiteY125" fmla="*/ 1649680 h 1978172"/>
              <a:gd name="connsiteX126" fmla="*/ 6036523 w 10768629"/>
              <a:gd name="connsiteY126" fmla="*/ 1652121 h 1978172"/>
              <a:gd name="connsiteX127" fmla="*/ 6029328 w 10768629"/>
              <a:gd name="connsiteY127" fmla="*/ 1649904 h 1978172"/>
              <a:gd name="connsiteX128" fmla="*/ 6024075 w 10768629"/>
              <a:gd name="connsiteY128" fmla="*/ 1652779 h 1978172"/>
              <a:gd name="connsiteX129" fmla="*/ 6018085 w 10768629"/>
              <a:gd name="connsiteY129" fmla="*/ 1652030 h 1978172"/>
              <a:gd name="connsiteX130" fmla="*/ 5955513 w 10768629"/>
              <a:gd name="connsiteY130" fmla="*/ 1663584 h 1978172"/>
              <a:gd name="connsiteX131" fmla="*/ 5941996 w 10768629"/>
              <a:gd name="connsiteY131" fmla="*/ 1661326 h 1978172"/>
              <a:gd name="connsiteX132" fmla="*/ 5931789 w 10768629"/>
              <a:gd name="connsiteY132" fmla="*/ 1669915 h 1978172"/>
              <a:gd name="connsiteX133" fmla="*/ 5888686 w 10768629"/>
              <a:gd name="connsiteY133" fmla="*/ 1672175 h 1978172"/>
              <a:gd name="connsiteX134" fmla="*/ 5873794 w 10768629"/>
              <a:gd name="connsiteY134" fmla="*/ 1665454 h 1978172"/>
              <a:gd name="connsiteX135" fmla="*/ 5860022 w 10768629"/>
              <a:gd name="connsiteY135" fmla="*/ 1660635 h 1978172"/>
              <a:gd name="connsiteX136" fmla="*/ 5858237 w 10768629"/>
              <a:gd name="connsiteY136" fmla="*/ 1660649 h 1978172"/>
              <a:gd name="connsiteX137" fmla="*/ 5840319 w 10768629"/>
              <a:gd name="connsiteY137" fmla="*/ 1660798 h 1978172"/>
              <a:gd name="connsiteX138" fmla="*/ 5806984 w 10768629"/>
              <a:gd name="connsiteY138" fmla="*/ 1661075 h 1978172"/>
              <a:gd name="connsiteX139" fmla="*/ 5742351 w 10768629"/>
              <a:gd name="connsiteY139" fmla="*/ 1667489 h 1978172"/>
              <a:gd name="connsiteX140" fmla="*/ 5521171 w 10768629"/>
              <a:gd name="connsiteY140" fmla="*/ 1671626 h 1978172"/>
              <a:gd name="connsiteX141" fmla="*/ 5457384 w 10768629"/>
              <a:gd name="connsiteY141" fmla="*/ 1683952 h 1978172"/>
              <a:gd name="connsiteX142" fmla="*/ 4950070 w 10768629"/>
              <a:gd name="connsiteY142" fmla="*/ 1748401 h 1978172"/>
              <a:gd name="connsiteX143" fmla="*/ 4872172 w 10768629"/>
              <a:gd name="connsiteY143" fmla="*/ 1757222 h 1978172"/>
              <a:gd name="connsiteX144" fmla="*/ 4809524 w 10768629"/>
              <a:gd name="connsiteY144" fmla="*/ 1761033 h 1978172"/>
              <a:gd name="connsiteX145" fmla="*/ 4759058 w 10768629"/>
              <a:gd name="connsiteY145" fmla="*/ 1766533 h 1978172"/>
              <a:gd name="connsiteX146" fmla="*/ 4719749 w 10768629"/>
              <a:gd name="connsiteY146" fmla="*/ 1771811 h 1978172"/>
              <a:gd name="connsiteX147" fmla="*/ 4568686 w 10768629"/>
              <a:gd name="connsiteY147" fmla="*/ 1786141 h 1978172"/>
              <a:gd name="connsiteX148" fmla="*/ 4418751 w 10768629"/>
              <a:gd name="connsiteY148" fmla="*/ 1796932 h 1978172"/>
              <a:gd name="connsiteX149" fmla="*/ 4378377 w 10768629"/>
              <a:gd name="connsiteY149" fmla="*/ 1815528 h 1978172"/>
              <a:gd name="connsiteX150" fmla="*/ 4320575 w 10768629"/>
              <a:gd name="connsiteY150" fmla="*/ 1832722 h 1978172"/>
              <a:gd name="connsiteX151" fmla="*/ 4220200 w 10768629"/>
              <a:gd name="connsiteY151" fmla="*/ 1873173 h 1978172"/>
              <a:gd name="connsiteX152" fmla="*/ 4105361 w 10768629"/>
              <a:gd name="connsiteY152" fmla="*/ 1894711 h 1978172"/>
              <a:gd name="connsiteX153" fmla="*/ 3973223 w 10768629"/>
              <a:gd name="connsiteY153" fmla="*/ 1881015 h 1978172"/>
              <a:gd name="connsiteX154" fmla="*/ 3900992 w 10768629"/>
              <a:gd name="connsiteY154" fmla="*/ 1880603 h 1978172"/>
              <a:gd name="connsiteX155" fmla="*/ 3662119 w 10768629"/>
              <a:gd name="connsiteY155" fmla="*/ 1889285 h 1978172"/>
              <a:gd name="connsiteX156" fmla="*/ 3496919 w 10768629"/>
              <a:gd name="connsiteY156" fmla="*/ 1873180 h 1978172"/>
              <a:gd name="connsiteX157" fmla="*/ 3449433 w 10768629"/>
              <a:gd name="connsiteY157" fmla="*/ 1889681 h 1978172"/>
              <a:gd name="connsiteX158" fmla="*/ 3369766 w 10768629"/>
              <a:gd name="connsiteY158" fmla="*/ 1916653 h 1978172"/>
              <a:gd name="connsiteX159" fmla="*/ 3269672 w 10768629"/>
              <a:gd name="connsiteY159" fmla="*/ 1938036 h 1978172"/>
              <a:gd name="connsiteX160" fmla="*/ 3224897 w 10768629"/>
              <a:gd name="connsiteY160" fmla="*/ 1943733 h 1978172"/>
              <a:gd name="connsiteX161" fmla="*/ 3161463 w 10768629"/>
              <a:gd name="connsiteY161" fmla="*/ 1946591 h 1978172"/>
              <a:gd name="connsiteX162" fmla="*/ 3112044 w 10768629"/>
              <a:gd name="connsiteY162" fmla="*/ 1935614 h 1978172"/>
              <a:gd name="connsiteX163" fmla="*/ 3069716 w 10768629"/>
              <a:gd name="connsiteY163" fmla="*/ 1930463 h 1978172"/>
              <a:gd name="connsiteX164" fmla="*/ 3005773 w 10768629"/>
              <a:gd name="connsiteY164" fmla="*/ 1915878 h 1978172"/>
              <a:gd name="connsiteX165" fmla="*/ 2897201 w 10768629"/>
              <a:gd name="connsiteY165" fmla="*/ 1926772 h 1978172"/>
              <a:gd name="connsiteX166" fmla="*/ 2783891 w 10768629"/>
              <a:gd name="connsiteY166" fmla="*/ 1931749 h 1978172"/>
              <a:gd name="connsiteX167" fmla="*/ 2712447 w 10768629"/>
              <a:gd name="connsiteY167" fmla="*/ 1933044 h 1978172"/>
              <a:gd name="connsiteX168" fmla="*/ 2560151 w 10768629"/>
              <a:gd name="connsiteY168" fmla="*/ 1963609 h 1978172"/>
              <a:gd name="connsiteX169" fmla="*/ 2367221 w 10768629"/>
              <a:gd name="connsiteY169" fmla="*/ 1971884 h 1978172"/>
              <a:gd name="connsiteX170" fmla="*/ 2272130 w 10768629"/>
              <a:gd name="connsiteY170" fmla="*/ 1961162 h 1978172"/>
              <a:gd name="connsiteX171" fmla="*/ 2189404 w 10768629"/>
              <a:gd name="connsiteY171" fmla="*/ 1978172 h 1978172"/>
              <a:gd name="connsiteX172" fmla="*/ 2077704 w 10768629"/>
              <a:gd name="connsiteY172" fmla="*/ 1965002 h 1978172"/>
              <a:gd name="connsiteX173" fmla="*/ 2033299 w 10768629"/>
              <a:gd name="connsiteY173" fmla="*/ 1969042 h 1978172"/>
              <a:gd name="connsiteX174" fmla="*/ 1967996 w 10768629"/>
              <a:gd name="connsiteY174" fmla="*/ 1953187 h 1978172"/>
              <a:gd name="connsiteX175" fmla="*/ 1855805 w 10768629"/>
              <a:gd name="connsiteY175" fmla="*/ 1926082 h 1978172"/>
              <a:gd name="connsiteX176" fmla="*/ 1790957 w 10768629"/>
              <a:gd name="connsiteY176" fmla="*/ 1919460 h 1978172"/>
              <a:gd name="connsiteX177" fmla="*/ 1613978 w 10768629"/>
              <a:gd name="connsiteY177" fmla="*/ 1891581 h 1978172"/>
              <a:gd name="connsiteX178" fmla="*/ 1436831 w 10768629"/>
              <a:gd name="connsiteY178" fmla="*/ 1856201 h 1978172"/>
              <a:gd name="connsiteX179" fmla="*/ 1357365 w 10768629"/>
              <a:gd name="connsiteY179" fmla="*/ 1832140 h 1978172"/>
              <a:gd name="connsiteX180" fmla="*/ 1232341 w 10768629"/>
              <a:gd name="connsiteY180" fmla="*/ 1785942 h 1978172"/>
              <a:gd name="connsiteX181" fmla="*/ 1162595 w 10768629"/>
              <a:gd name="connsiteY181" fmla="*/ 1758337 h 1978172"/>
              <a:gd name="connsiteX182" fmla="*/ 1128523 w 10768629"/>
              <a:gd name="connsiteY182" fmla="*/ 1763621 h 1978172"/>
              <a:gd name="connsiteX183" fmla="*/ 991903 w 10768629"/>
              <a:gd name="connsiteY183" fmla="*/ 1786741 h 1978172"/>
              <a:gd name="connsiteX184" fmla="*/ 883960 w 10768629"/>
              <a:gd name="connsiteY184" fmla="*/ 1822386 h 1978172"/>
              <a:gd name="connsiteX185" fmla="*/ 766531 w 10768629"/>
              <a:gd name="connsiteY185" fmla="*/ 1805053 h 1978172"/>
              <a:gd name="connsiteX186" fmla="*/ 669779 w 10768629"/>
              <a:gd name="connsiteY186" fmla="*/ 1800537 h 1978172"/>
              <a:gd name="connsiteX187" fmla="*/ 523898 w 10768629"/>
              <a:gd name="connsiteY187" fmla="*/ 1811085 h 1978172"/>
              <a:gd name="connsiteX188" fmla="*/ 360251 w 10768629"/>
              <a:gd name="connsiteY188" fmla="*/ 1830735 h 1978172"/>
              <a:gd name="connsiteX189" fmla="*/ 255207 w 10768629"/>
              <a:gd name="connsiteY189" fmla="*/ 1818275 h 1978172"/>
              <a:gd name="connsiteX190" fmla="*/ 101803 w 10768629"/>
              <a:gd name="connsiteY190" fmla="*/ 1870647 h 1978172"/>
              <a:gd name="connsiteX191" fmla="*/ 25397 w 10768629"/>
              <a:gd name="connsiteY191" fmla="*/ 1888443 h 1978172"/>
              <a:gd name="connsiteX192" fmla="*/ 2370 w 10768629"/>
              <a:gd name="connsiteY192" fmla="*/ 1878311 h 1978172"/>
              <a:gd name="connsiteX193" fmla="*/ 0 w 10768629"/>
              <a:gd name="connsiteY193" fmla="*/ 1878785 h 1978172"/>
              <a:gd name="connsiteX194" fmla="*/ 0 w 10768629"/>
              <a:gd name="connsiteY194" fmla="*/ 0 h 1978172"/>
              <a:gd name="connsiteX0" fmla="*/ 0 w 10768629"/>
              <a:gd name="connsiteY0" fmla="*/ 0 h 1978172"/>
              <a:gd name="connsiteX1" fmla="*/ 10768629 w 10768629"/>
              <a:gd name="connsiteY1" fmla="*/ 0 h 1978172"/>
              <a:gd name="connsiteX2" fmla="*/ 10733254 w 10768629"/>
              <a:gd name="connsiteY2" fmla="*/ 31439 h 1978172"/>
              <a:gd name="connsiteX3" fmla="*/ 10727085 w 10768629"/>
              <a:gd name="connsiteY3" fmla="*/ 37910 h 1978172"/>
              <a:gd name="connsiteX4" fmla="*/ 10675953 w 10768629"/>
              <a:gd name="connsiteY4" fmla="*/ 68623 h 1978172"/>
              <a:gd name="connsiteX5" fmla="*/ 10637091 w 10768629"/>
              <a:gd name="connsiteY5" fmla="*/ 90361 h 1978172"/>
              <a:gd name="connsiteX6" fmla="*/ 10610971 w 10768629"/>
              <a:gd name="connsiteY6" fmla="*/ 110764 h 1978172"/>
              <a:gd name="connsiteX7" fmla="*/ 10532872 w 10768629"/>
              <a:gd name="connsiteY7" fmla="*/ 138028 h 1978172"/>
              <a:gd name="connsiteX8" fmla="*/ 10398558 w 10768629"/>
              <a:gd name="connsiteY8" fmla="*/ 172911 h 1978172"/>
              <a:gd name="connsiteX9" fmla="*/ 10371128 w 10768629"/>
              <a:gd name="connsiteY9" fmla="*/ 182609 h 1978172"/>
              <a:gd name="connsiteX10" fmla="*/ 10352178 w 10768629"/>
              <a:gd name="connsiteY10" fmla="*/ 199976 h 1978172"/>
              <a:gd name="connsiteX11" fmla="*/ 10351815 w 10768629"/>
              <a:gd name="connsiteY11" fmla="*/ 211879 h 1978172"/>
              <a:gd name="connsiteX12" fmla="*/ 10337471 w 10768629"/>
              <a:gd name="connsiteY12" fmla="*/ 218661 h 1978172"/>
              <a:gd name="connsiteX13" fmla="*/ 10334625 w 10768629"/>
              <a:gd name="connsiteY13" fmla="*/ 222351 h 1978172"/>
              <a:gd name="connsiteX14" fmla="*/ 10256365 w 10768629"/>
              <a:gd name="connsiteY14" fmla="*/ 235917 h 1978172"/>
              <a:gd name="connsiteX15" fmla="*/ 10201127 w 10768629"/>
              <a:gd name="connsiteY15" fmla="*/ 267448 h 1978172"/>
              <a:gd name="connsiteX16" fmla="*/ 9961218 w 10768629"/>
              <a:gd name="connsiteY16" fmla="*/ 326720 h 1978172"/>
              <a:gd name="connsiteX17" fmla="*/ 9859715 w 10768629"/>
              <a:gd name="connsiteY17" fmla="*/ 355698 h 1978172"/>
              <a:gd name="connsiteX18" fmla="*/ 9679867 w 10768629"/>
              <a:gd name="connsiteY18" fmla="*/ 399081 h 1978172"/>
              <a:gd name="connsiteX19" fmla="*/ 9490654 w 10768629"/>
              <a:gd name="connsiteY19" fmla="*/ 455225 h 1978172"/>
              <a:gd name="connsiteX20" fmla="*/ 9470837 w 10768629"/>
              <a:gd name="connsiteY20" fmla="*/ 452539 h 1978172"/>
              <a:gd name="connsiteX21" fmla="*/ 9469082 w 10768629"/>
              <a:gd name="connsiteY21" fmla="*/ 454891 h 1978172"/>
              <a:gd name="connsiteX22" fmla="*/ 9448038 w 10768629"/>
              <a:gd name="connsiteY22" fmla="*/ 459733 h 1978172"/>
              <a:gd name="connsiteX23" fmla="*/ 9396821 w 10768629"/>
              <a:gd name="connsiteY23" fmla="*/ 455795 h 1978172"/>
              <a:gd name="connsiteX24" fmla="*/ 9392197 w 10768629"/>
              <a:gd name="connsiteY24" fmla="*/ 459796 h 1978172"/>
              <a:gd name="connsiteX25" fmla="*/ 9347994 w 10768629"/>
              <a:gd name="connsiteY25" fmla="*/ 464462 h 1978172"/>
              <a:gd name="connsiteX26" fmla="*/ 9347889 w 10768629"/>
              <a:gd name="connsiteY26" fmla="*/ 466539 h 1978172"/>
              <a:gd name="connsiteX27" fmla="*/ 9337639 w 10768629"/>
              <a:gd name="connsiteY27" fmla="*/ 476654 h 1978172"/>
              <a:gd name="connsiteX28" fmla="*/ 9287964 w 10768629"/>
              <a:gd name="connsiteY28" fmla="*/ 513052 h 1978172"/>
              <a:gd name="connsiteX29" fmla="*/ 9229283 w 10768629"/>
              <a:gd name="connsiteY29" fmla="*/ 555377 h 1978172"/>
              <a:gd name="connsiteX30" fmla="*/ 9220274 w 10768629"/>
              <a:gd name="connsiteY30" fmla="*/ 557502 h 1978172"/>
              <a:gd name="connsiteX31" fmla="*/ 9220202 w 10768629"/>
              <a:gd name="connsiteY31" fmla="*/ 558001 h 1978172"/>
              <a:gd name="connsiteX32" fmla="*/ 9210908 w 10768629"/>
              <a:gd name="connsiteY32" fmla="*/ 561147 h 1978172"/>
              <a:gd name="connsiteX33" fmla="*/ 9186374 w 10768629"/>
              <a:gd name="connsiteY33" fmla="*/ 565502 h 1978172"/>
              <a:gd name="connsiteX34" fmla="*/ 9181058 w 10768629"/>
              <a:gd name="connsiteY34" fmla="*/ 569943 h 1978172"/>
              <a:gd name="connsiteX35" fmla="*/ 9167549 w 10768629"/>
              <a:gd name="connsiteY35" fmla="*/ 584727 h 1978172"/>
              <a:gd name="connsiteX36" fmla="*/ 9149110 w 10768629"/>
              <a:gd name="connsiteY36" fmla="*/ 598906 h 1978172"/>
              <a:gd name="connsiteX37" fmla="*/ 9078556 w 10768629"/>
              <a:gd name="connsiteY37" fmla="*/ 644039 h 1978172"/>
              <a:gd name="connsiteX38" fmla="*/ 8996399 w 10768629"/>
              <a:gd name="connsiteY38" fmla="*/ 690055 h 1978172"/>
              <a:gd name="connsiteX39" fmla="*/ 8803791 w 10768629"/>
              <a:gd name="connsiteY39" fmla="*/ 813860 h 1978172"/>
              <a:gd name="connsiteX40" fmla="*/ 8636202 w 10768629"/>
              <a:gd name="connsiteY40" fmla="*/ 848463 h 1978172"/>
              <a:gd name="connsiteX41" fmla="*/ 8555372 w 10768629"/>
              <a:gd name="connsiteY41" fmla="*/ 883171 h 1978172"/>
              <a:gd name="connsiteX42" fmla="*/ 8507229 w 10768629"/>
              <a:gd name="connsiteY42" fmla="*/ 901665 h 1978172"/>
              <a:gd name="connsiteX43" fmla="*/ 8428473 w 10768629"/>
              <a:gd name="connsiteY43" fmla="*/ 927985 h 1978172"/>
              <a:gd name="connsiteX44" fmla="*/ 8427914 w 10768629"/>
              <a:gd name="connsiteY44" fmla="*/ 933480 h 1978172"/>
              <a:gd name="connsiteX45" fmla="*/ 8420327 w 10768629"/>
              <a:gd name="connsiteY45" fmla="*/ 941984 h 1978172"/>
              <a:gd name="connsiteX46" fmla="*/ 8394729 w 10768629"/>
              <a:gd name="connsiteY46" fmla="*/ 948347 h 1978172"/>
              <a:gd name="connsiteX47" fmla="*/ 8380548 w 10768629"/>
              <a:gd name="connsiteY47" fmla="*/ 987916 h 1978172"/>
              <a:gd name="connsiteX48" fmla="*/ 8375330 w 10768629"/>
              <a:gd name="connsiteY48" fmla="*/ 965444 h 1978172"/>
              <a:gd name="connsiteX49" fmla="*/ 8340796 w 10768629"/>
              <a:gd name="connsiteY49" fmla="*/ 980522 h 1978172"/>
              <a:gd name="connsiteX50" fmla="*/ 8304438 w 10768629"/>
              <a:gd name="connsiteY50" fmla="*/ 996739 h 1978172"/>
              <a:gd name="connsiteX51" fmla="*/ 8280929 w 10768629"/>
              <a:gd name="connsiteY51" fmla="*/ 1023089 h 1978172"/>
              <a:gd name="connsiteX52" fmla="*/ 8275760 w 10768629"/>
              <a:gd name="connsiteY52" fmla="*/ 1027772 h 1978172"/>
              <a:gd name="connsiteX53" fmla="*/ 8275478 w 10768629"/>
              <a:gd name="connsiteY53" fmla="*/ 1027605 h 1978172"/>
              <a:gd name="connsiteX54" fmla="*/ 8249003 w 10768629"/>
              <a:gd name="connsiteY54" fmla="*/ 1032033 h 1978172"/>
              <a:gd name="connsiteX55" fmla="*/ 8203836 w 10768629"/>
              <a:gd name="connsiteY55" fmla="*/ 1037347 h 1978172"/>
              <a:gd name="connsiteX56" fmla="*/ 8122936 w 10768629"/>
              <a:gd name="connsiteY56" fmla="*/ 1063113 h 1978172"/>
              <a:gd name="connsiteX57" fmla="*/ 8043658 w 10768629"/>
              <a:gd name="connsiteY57" fmla="*/ 1092746 h 1978172"/>
              <a:gd name="connsiteX58" fmla="*/ 8015351 w 10768629"/>
              <a:gd name="connsiteY58" fmla="*/ 1105478 h 1978172"/>
              <a:gd name="connsiteX59" fmla="*/ 7963145 w 10768629"/>
              <a:gd name="connsiteY59" fmla="*/ 1119346 h 1978172"/>
              <a:gd name="connsiteX60" fmla="*/ 7938145 w 10768629"/>
              <a:gd name="connsiteY60" fmla="*/ 1120225 h 1978172"/>
              <a:gd name="connsiteX61" fmla="*/ 7937238 w 10768629"/>
              <a:gd name="connsiteY61" fmla="*/ 1121204 h 1978172"/>
              <a:gd name="connsiteX62" fmla="*/ 7934398 w 10768629"/>
              <a:gd name="connsiteY62" fmla="*/ 1118240 h 1978172"/>
              <a:gd name="connsiteX63" fmla="*/ 7918248 w 10768629"/>
              <a:gd name="connsiteY63" fmla="*/ 1124371 h 1978172"/>
              <a:gd name="connsiteX64" fmla="*/ 7914119 w 10768629"/>
              <a:gd name="connsiteY64" fmla="*/ 1127653 h 1978172"/>
              <a:gd name="connsiteX65" fmla="*/ 7907658 w 10768629"/>
              <a:gd name="connsiteY65" fmla="*/ 1130350 h 1978172"/>
              <a:gd name="connsiteX66" fmla="*/ 7907434 w 10768629"/>
              <a:gd name="connsiteY66" fmla="*/ 1130103 h 1978172"/>
              <a:gd name="connsiteX67" fmla="*/ 7901508 w 10768629"/>
              <a:gd name="connsiteY67" fmla="*/ 1133245 h 1978172"/>
              <a:gd name="connsiteX68" fmla="*/ 7873287 w 10768629"/>
              <a:gd name="connsiteY68" fmla="*/ 1152609 h 1978172"/>
              <a:gd name="connsiteX69" fmla="*/ 7834833 w 10768629"/>
              <a:gd name="connsiteY69" fmla="*/ 1153868 h 1978172"/>
              <a:gd name="connsiteX70" fmla="*/ 7828661 w 10768629"/>
              <a:gd name="connsiteY70" fmla="*/ 1139994 h 1978172"/>
              <a:gd name="connsiteX71" fmla="*/ 7823966 w 10768629"/>
              <a:gd name="connsiteY71" fmla="*/ 1143178 h 1978172"/>
              <a:gd name="connsiteX72" fmla="*/ 7815078 w 10768629"/>
              <a:gd name="connsiteY72" fmla="*/ 1151776 h 1978172"/>
              <a:gd name="connsiteX73" fmla="*/ 7812026 w 10768629"/>
              <a:gd name="connsiteY73" fmla="*/ 1151522 h 1978172"/>
              <a:gd name="connsiteX74" fmla="*/ 7782249 w 10768629"/>
              <a:gd name="connsiteY74" fmla="*/ 1160970 h 1978172"/>
              <a:gd name="connsiteX75" fmla="*/ 7773476 w 10768629"/>
              <a:gd name="connsiteY75" fmla="*/ 1157414 h 1978172"/>
              <a:gd name="connsiteX76" fmla="*/ 7769600 w 10768629"/>
              <a:gd name="connsiteY76" fmla="*/ 1157365 h 1978172"/>
              <a:gd name="connsiteX77" fmla="*/ 7752631 w 10768629"/>
              <a:gd name="connsiteY77" fmla="*/ 1172815 h 1978172"/>
              <a:gd name="connsiteX78" fmla="*/ 7739392 w 10768629"/>
              <a:gd name="connsiteY78" fmla="*/ 1192062 h 1978172"/>
              <a:gd name="connsiteX79" fmla="*/ 7685942 w 10768629"/>
              <a:gd name="connsiteY79" fmla="*/ 1233723 h 1978172"/>
              <a:gd name="connsiteX80" fmla="*/ 7586920 w 10768629"/>
              <a:gd name="connsiteY80" fmla="*/ 1261888 h 1978172"/>
              <a:gd name="connsiteX81" fmla="*/ 7486100 w 10768629"/>
              <a:gd name="connsiteY81" fmla="*/ 1292563 h 1978172"/>
              <a:gd name="connsiteX82" fmla="*/ 7407190 w 10768629"/>
              <a:gd name="connsiteY82" fmla="*/ 1314737 h 1978172"/>
              <a:gd name="connsiteX83" fmla="*/ 7240698 w 10768629"/>
              <a:gd name="connsiteY83" fmla="*/ 1438832 h 1978172"/>
              <a:gd name="connsiteX84" fmla="*/ 7197675 w 10768629"/>
              <a:gd name="connsiteY84" fmla="*/ 1447530 h 1978172"/>
              <a:gd name="connsiteX85" fmla="*/ 7164788 w 10768629"/>
              <a:gd name="connsiteY85" fmla="*/ 1480293 h 1978172"/>
              <a:gd name="connsiteX86" fmla="*/ 7147929 w 10768629"/>
              <a:gd name="connsiteY86" fmla="*/ 1477641 h 1978172"/>
              <a:gd name="connsiteX87" fmla="*/ 7144965 w 10768629"/>
              <a:gd name="connsiteY87" fmla="*/ 1476908 h 1978172"/>
              <a:gd name="connsiteX88" fmla="*/ 7134299 w 10768629"/>
              <a:gd name="connsiteY88" fmla="*/ 1479969 h 1978172"/>
              <a:gd name="connsiteX89" fmla="*/ 7129809 w 10768629"/>
              <a:gd name="connsiteY89" fmla="*/ 1473339 h 1978172"/>
              <a:gd name="connsiteX90" fmla="*/ 7112688 w 10768629"/>
              <a:gd name="connsiteY90" fmla="*/ 1472575 h 1978172"/>
              <a:gd name="connsiteX91" fmla="*/ 7093470 w 10768629"/>
              <a:gd name="connsiteY91" fmla="*/ 1480300 h 1978172"/>
              <a:gd name="connsiteX92" fmla="*/ 7025034 w 10768629"/>
              <a:gd name="connsiteY92" fmla="*/ 1506934 h 1978172"/>
              <a:gd name="connsiteX93" fmla="*/ 7014783 w 10768629"/>
              <a:gd name="connsiteY93" fmla="*/ 1515868 h 1978172"/>
              <a:gd name="connsiteX94" fmla="*/ 6979706 w 10768629"/>
              <a:gd name="connsiteY94" fmla="*/ 1523511 h 1978172"/>
              <a:gd name="connsiteX95" fmla="*/ 6977890 w 10768629"/>
              <a:gd name="connsiteY95" fmla="*/ 1525793 h 1978172"/>
              <a:gd name="connsiteX96" fmla="*/ 6944339 w 10768629"/>
              <a:gd name="connsiteY96" fmla="*/ 1536237 h 1978172"/>
              <a:gd name="connsiteX97" fmla="*/ 6886996 w 10768629"/>
              <a:gd name="connsiteY97" fmla="*/ 1563569 h 1978172"/>
              <a:gd name="connsiteX98" fmla="*/ 6874510 w 10768629"/>
              <a:gd name="connsiteY98" fmla="*/ 1558469 h 1978172"/>
              <a:gd name="connsiteX99" fmla="*/ 6871943 w 10768629"/>
              <a:gd name="connsiteY99" fmla="*/ 1554651 h 1978172"/>
              <a:gd name="connsiteX100" fmla="*/ 6856174 w 10768629"/>
              <a:gd name="connsiteY100" fmla="*/ 1562024 h 1978172"/>
              <a:gd name="connsiteX101" fmla="*/ 6842321 w 10768629"/>
              <a:gd name="connsiteY101" fmla="*/ 1560554 h 1978172"/>
              <a:gd name="connsiteX102" fmla="*/ 6832713 w 10768629"/>
              <a:gd name="connsiteY102" fmla="*/ 1569357 h 1978172"/>
              <a:gd name="connsiteX103" fmla="*/ 6816351 w 10768629"/>
              <a:gd name="connsiteY103" fmla="*/ 1571495 h 1978172"/>
              <a:gd name="connsiteX104" fmla="*/ 6795800 w 10768629"/>
              <a:gd name="connsiteY104" fmla="*/ 1572010 h 1978172"/>
              <a:gd name="connsiteX105" fmla="*/ 6777546 w 10768629"/>
              <a:gd name="connsiteY105" fmla="*/ 1568661 h 1978172"/>
              <a:gd name="connsiteX106" fmla="*/ 6751528 w 10768629"/>
              <a:gd name="connsiteY106" fmla="*/ 1574143 h 1978172"/>
              <a:gd name="connsiteX107" fmla="*/ 6691966 w 10768629"/>
              <a:gd name="connsiteY107" fmla="*/ 1582255 h 1978172"/>
              <a:gd name="connsiteX108" fmla="*/ 6646941 w 10768629"/>
              <a:gd name="connsiteY108" fmla="*/ 1588471 h 1978172"/>
              <a:gd name="connsiteX109" fmla="*/ 6568576 w 10768629"/>
              <a:gd name="connsiteY109" fmla="*/ 1606488 h 1978172"/>
              <a:gd name="connsiteX110" fmla="*/ 6554358 w 10768629"/>
              <a:gd name="connsiteY110" fmla="*/ 1621701 h 1978172"/>
              <a:gd name="connsiteX111" fmla="*/ 6516968 w 10768629"/>
              <a:gd name="connsiteY111" fmla="*/ 1617195 h 1978172"/>
              <a:gd name="connsiteX112" fmla="*/ 6506479 w 10768629"/>
              <a:gd name="connsiteY112" fmla="*/ 1602227 h 1978172"/>
              <a:gd name="connsiteX113" fmla="*/ 6458436 w 10768629"/>
              <a:gd name="connsiteY113" fmla="*/ 1607332 h 1978172"/>
              <a:gd name="connsiteX114" fmla="*/ 6414786 w 10768629"/>
              <a:gd name="connsiteY114" fmla="*/ 1628815 h 1978172"/>
              <a:gd name="connsiteX115" fmla="*/ 6357085 w 10768629"/>
              <a:gd name="connsiteY115" fmla="*/ 1640846 h 1978172"/>
              <a:gd name="connsiteX116" fmla="*/ 6322636 w 10768629"/>
              <a:gd name="connsiteY116" fmla="*/ 1648213 h 1978172"/>
              <a:gd name="connsiteX117" fmla="*/ 6226172 w 10768629"/>
              <a:gd name="connsiteY117" fmla="*/ 1654676 h 1978172"/>
              <a:gd name="connsiteX118" fmla="*/ 6221217 w 10768629"/>
              <a:gd name="connsiteY118" fmla="*/ 1654506 h 1978172"/>
              <a:gd name="connsiteX119" fmla="*/ 6204956 w 10768629"/>
              <a:gd name="connsiteY119" fmla="*/ 1664280 h 1978172"/>
              <a:gd name="connsiteX120" fmla="*/ 6204270 w 10768629"/>
              <a:gd name="connsiteY120" fmla="*/ 1666782 h 1978172"/>
              <a:gd name="connsiteX121" fmla="*/ 6143810 w 10768629"/>
              <a:gd name="connsiteY121" fmla="*/ 1661963 h 1978172"/>
              <a:gd name="connsiteX122" fmla="*/ 6136560 w 10768629"/>
              <a:gd name="connsiteY122" fmla="*/ 1665728 h 1978172"/>
              <a:gd name="connsiteX123" fmla="*/ 6096155 w 10768629"/>
              <a:gd name="connsiteY123" fmla="*/ 1656951 h 1978172"/>
              <a:gd name="connsiteX124" fmla="*/ 6075812 w 10768629"/>
              <a:gd name="connsiteY124" fmla="*/ 1655422 h 1978172"/>
              <a:gd name="connsiteX125" fmla="*/ 6039495 w 10768629"/>
              <a:gd name="connsiteY125" fmla="*/ 1649680 h 1978172"/>
              <a:gd name="connsiteX126" fmla="*/ 6036523 w 10768629"/>
              <a:gd name="connsiteY126" fmla="*/ 1652121 h 1978172"/>
              <a:gd name="connsiteX127" fmla="*/ 6029328 w 10768629"/>
              <a:gd name="connsiteY127" fmla="*/ 1649904 h 1978172"/>
              <a:gd name="connsiteX128" fmla="*/ 6024075 w 10768629"/>
              <a:gd name="connsiteY128" fmla="*/ 1652779 h 1978172"/>
              <a:gd name="connsiteX129" fmla="*/ 6018085 w 10768629"/>
              <a:gd name="connsiteY129" fmla="*/ 1652030 h 1978172"/>
              <a:gd name="connsiteX130" fmla="*/ 5955513 w 10768629"/>
              <a:gd name="connsiteY130" fmla="*/ 1663584 h 1978172"/>
              <a:gd name="connsiteX131" fmla="*/ 5941996 w 10768629"/>
              <a:gd name="connsiteY131" fmla="*/ 1661326 h 1978172"/>
              <a:gd name="connsiteX132" fmla="*/ 5931789 w 10768629"/>
              <a:gd name="connsiteY132" fmla="*/ 1669915 h 1978172"/>
              <a:gd name="connsiteX133" fmla="*/ 5888686 w 10768629"/>
              <a:gd name="connsiteY133" fmla="*/ 1672175 h 1978172"/>
              <a:gd name="connsiteX134" fmla="*/ 5873794 w 10768629"/>
              <a:gd name="connsiteY134" fmla="*/ 1665454 h 1978172"/>
              <a:gd name="connsiteX135" fmla="*/ 5860022 w 10768629"/>
              <a:gd name="connsiteY135" fmla="*/ 1660635 h 1978172"/>
              <a:gd name="connsiteX136" fmla="*/ 5858237 w 10768629"/>
              <a:gd name="connsiteY136" fmla="*/ 1660649 h 1978172"/>
              <a:gd name="connsiteX137" fmla="*/ 5840319 w 10768629"/>
              <a:gd name="connsiteY137" fmla="*/ 1660798 h 1978172"/>
              <a:gd name="connsiteX138" fmla="*/ 5806984 w 10768629"/>
              <a:gd name="connsiteY138" fmla="*/ 1661075 h 1978172"/>
              <a:gd name="connsiteX139" fmla="*/ 5742351 w 10768629"/>
              <a:gd name="connsiteY139" fmla="*/ 1667489 h 1978172"/>
              <a:gd name="connsiteX140" fmla="*/ 5521171 w 10768629"/>
              <a:gd name="connsiteY140" fmla="*/ 1671626 h 1978172"/>
              <a:gd name="connsiteX141" fmla="*/ 5457384 w 10768629"/>
              <a:gd name="connsiteY141" fmla="*/ 1683952 h 1978172"/>
              <a:gd name="connsiteX142" fmla="*/ 4950070 w 10768629"/>
              <a:gd name="connsiteY142" fmla="*/ 1748401 h 1978172"/>
              <a:gd name="connsiteX143" fmla="*/ 4872172 w 10768629"/>
              <a:gd name="connsiteY143" fmla="*/ 1757222 h 1978172"/>
              <a:gd name="connsiteX144" fmla="*/ 4809524 w 10768629"/>
              <a:gd name="connsiteY144" fmla="*/ 1761033 h 1978172"/>
              <a:gd name="connsiteX145" fmla="*/ 4759058 w 10768629"/>
              <a:gd name="connsiteY145" fmla="*/ 1766533 h 1978172"/>
              <a:gd name="connsiteX146" fmla="*/ 4719749 w 10768629"/>
              <a:gd name="connsiteY146" fmla="*/ 1771811 h 1978172"/>
              <a:gd name="connsiteX147" fmla="*/ 4568686 w 10768629"/>
              <a:gd name="connsiteY147" fmla="*/ 1786141 h 1978172"/>
              <a:gd name="connsiteX148" fmla="*/ 4418751 w 10768629"/>
              <a:gd name="connsiteY148" fmla="*/ 1796932 h 1978172"/>
              <a:gd name="connsiteX149" fmla="*/ 4378377 w 10768629"/>
              <a:gd name="connsiteY149" fmla="*/ 1815528 h 1978172"/>
              <a:gd name="connsiteX150" fmla="*/ 4320575 w 10768629"/>
              <a:gd name="connsiteY150" fmla="*/ 1832722 h 1978172"/>
              <a:gd name="connsiteX151" fmla="*/ 4220200 w 10768629"/>
              <a:gd name="connsiteY151" fmla="*/ 1873173 h 1978172"/>
              <a:gd name="connsiteX152" fmla="*/ 4105361 w 10768629"/>
              <a:gd name="connsiteY152" fmla="*/ 1894711 h 1978172"/>
              <a:gd name="connsiteX153" fmla="*/ 3973223 w 10768629"/>
              <a:gd name="connsiteY153" fmla="*/ 1881015 h 1978172"/>
              <a:gd name="connsiteX154" fmla="*/ 3900992 w 10768629"/>
              <a:gd name="connsiteY154" fmla="*/ 1880603 h 1978172"/>
              <a:gd name="connsiteX155" fmla="*/ 3662119 w 10768629"/>
              <a:gd name="connsiteY155" fmla="*/ 1889285 h 1978172"/>
              <a:gd name="connsiteX156" fmla="*/ 3496919 w 10768629"/>
              <a:gd name="connsiteY156" fmla="*/ 1873180 h 1978172"/>
              <a:gd name="connsiteX157" fmla="*/ 3449433 w 10768629"/>
              <a:gd name="connsiteY157" fmla="*/ 1889681 h 1978172"/>
              <a:gd name="connsiteX158" fmla="*/ 3369766 w 10768629"/>
              <a:gd name="connsiteY158" fmla="*/ 1916653 h 1978172"/>
              <a:gd name="connsiteX159" fmla="*/ 3269672 w 10768629"/>
              <a:gd name="connsiteY159" fmla="*/ 1938036 h 1978172"/>
              <a:gd name="connsiteX160" fmla="*/ 3224897 w 10768629"/>
              <a:gd name="connsiteY160" fmla="*/ 1943733 h 1978172"/>
              <a:gd name="connsiteX161" fmla="*/ 3161463 w 10768629"/>
              <a:gd name="connsiteY161" fmla="*/ 1946591 h 1978172"/>
              <a:gd name="connsiteX162" fmla="*/ 3112044 w 10768629"/>
              <a:gd name="connsiteY162" fmla="*/ 1935614 h 1978172"/>
              <a:gd name="connsiteX163" fmla="*/ 3069716 w 10768629"/>
              <a:gd name="connsiteY163" fmla="*/ 1930463 h 1978172"/>
              <a:gd name="connsiteX164" fmla="*/ 3005773 w 10768629"/>
              <a:gd name="connsiteY164" fmla="*/ 1915878 h 1978172"/>
              <a:gd name="connsiteX165" fmla="*/ 2897201 w 10768629"/>
              <a:gd name="connsiteY165" fmla="*/ 1926772 h 1978172"/>
              <a:gd name="connsiteX166" fmla="*/ 2783891 w 10768629"/>
              <a:gd name="connsiteY166" fmla="*/ 1931749 h 1978172"/>
              <a:gd name="connsiteX167" fmla="*/ 2712447 w 10768629"/>
              <a:gd name="connsiteY167" fmla="*/ 1933044 h 1978172"/>
              <a:gd name="connsiteX168" fmla="*/ 2560151 w 10768629"/>
              <a:gd name="connsiteY168" fmla="*/ 1963609 h 1978172"/>
              <a:gd name="connsiteX169" fmla="*/ 2367221 w 10768629"/>
              <a:gd name="connsiteY169" fmla="*/ 1971884 h 1978172"/>
              <a:gd name="connsiteX170" fmla="*/ 2272130 w 10768629"/>
              <a:gd name="connsiteY170" fmla="*/ 1961162 h 1978172"/>
              <a:gd name="connsiteX171" fmla="*/ 2189404 w 10768629"/>
              <a:gd name="connsiteY171" fmla="*/ 1978172 h 1978172"/>
              <a:gd name="connsiteX172" fmla="*/ 2077704 w 10768629"/>
              <a:gd name="connsiteY172" fmla="*/ 1965002 h 1978172"/>
              <a:gd name="connsiteX173" fmla="*/ 2033299 w 10768629"/>
              <a:gd name="connsiteY173" fmla="*/ 1969042 h 1978172"/>
              <a:gd name="connsiteX174" fmla="*/ 1967996 w 10768629"/>
              <a:gd name="connsiteY174" fmla="*/ 1953187 h 1978172"/>
              <a:gd name="connsiteX175" fmla="*/ 1855805 w 10768629"/>
              <a:gd name="connsiteY175" fmla="*/ 1926082 h 1978172"/>
              <a:gd name="connsiteX176" fmla="*/ 1790957 w 10768629"/>
              <a:gd name="connsiteY176" fmla="*/ 1919460 h 1978172"/>
              <a:gd name="connsiteX177" fmla="*/ 1613978 w 10768629"/>
              <a:gd name="connsiteY177" fmla="*/ 1891581 h 1978172"/>
              <a:gd name="connsiteX178" fmla="*/ 1436831 w 10768629"/>
              <a:gd name="connsiteY178" fmla="*/ 1856201 h 1978172"/>
              <a:gd name="connsiteX179" fmla="*/ 1357365 w 10768629"/>
              <a:gd name="connsiteY179" fmla="*/ 1832140 h 1978172"/>
              <a:gd name="connsiteX180" fmla="*/ 1232341 w 10768629"/>
              <a:gd name="connsiteY180" fmla="*/ 1785942 h 1978172"/>
              <a:gd name="connsiteX181" fmla="*/ 1162595 w 10768629"/>
              <a:gd name="connsiteY181" fmla="*/ 1758337 h 1978172"/>
              <a:gd name="connsiteX182" fmla="*/ 1128523 w 10768629"/>
              <a:gd name="connsiteY182" fmla="*/ 1763621 h 1978172"/>
              <a:gd name="connsiteX183" fmla="*/ 991903 w 10768629"/>
              <a:gd name="connsiteY183" fmla="*/ 1786741 h 1978172"/>
              <a:gd name="connsiteX184" fmla="*/ 883960 w 10768629"/>
              <a:gd name="connsiteY184" fmla="*/ 1822386 h 1978172"/>
              <a:gd name="connsiteX185" fmla="*/ 766531 w 10768629"/>
              <a:gd name="connsiteY185" fmla="*/ 1805053 h 1978172"/>
              <a:gd name="connsiteX186" fmla="*/ 669779 w 10768629"/>
              <a:gd name="connsiteY186" fmla="*/ 1800537 h 1978172"/>
              <a:gd name="connsiteX187" fmla="*/ 523898 w 10768629"/>
              <a:gd name="connsiteY187" fmla="*/ 1811085 h 1978172"/>
              <a:gd name="connsiteX188" fmla="*/ 360251 w 10768629"/>
              <a:gd name="connsiteY188" fmla="*/ 1830735 h 1978172"/>
              <a:gd name="connsiteX189" fmla="*/ 255207 w 10768629"/>
              <a:gd name="connsiteY189" fmla="*/ 1818275 h 1978172"/>
              <a:gd name="connsiteX190" fmla="*/ 101803 w 10768629"/>
              <a:gd name="connsiteY190" fmla="*/ 1870647 h 1978172"/>
              <a:gd name="connsiteX191" fmla="*/ 25397 w 10768629"/>
              <a:gd name="connsiteY191" fmla="*/ 1888443 h 1978172"/>
              <a:gd name="connsiteX192" fmla="*/ 2370 w 10768629"/>
              <a:gd name="connsiteY192" fmla="*/ 1878311 h 1978172"/>
              <a:gd name="connsiteX193" fmla="*/ 0 w 10768629"/>
              <a:gd name="connsiteY193" fmla="*/ 1878785 h 1978172"/>
              <a:gd name="connsiteX194" fmla="*/ 0 w 10768629"/>
              <a:gd name="connsiteY194" fmla="*/ 0 h 1978172"/>
              <a:gd name="connsiteX0" fmla="*/ 0 w 10768629"/>
              <a:gd name="connsiteY0" fmla="*/ 0 h 1978172"/>
              <a:gd name="connsiteX1" fmla="*/ 10768629 w 10768629"/>
              <a:gd name="connsiteY1" fmla="*/ 0 h 1978172"/>
              <a:gd name="connsiteX2" fmla="*/ 10733254 w 10768629"/>
              <a:gd name="connsiteY2" fmla="*/ 31439 h 1978172"/>
              <a:gd name="connsiteX3" fmla="*/ 10727085 w 10768629"/>
              <a:gd name="connsiteY3" fmla="*/ 37910 h 1978172"/>
              <a:gd name="connsiteX4" fmla="*/ 10675953 w 10768629"/>
              <a:gd name="connsiteY4" fmla="*/ 68623 h 1978172"/>
              <a:gd name="connsiteX5" fmla="*/ 10637091 w 10768629"/>
              <a:gd name="connsiteY5" fmla="*/ 90361 h 1978172"/>
              <a:gd name="connsiteX6" fmla="*/ 10610971 w 10768629"/>
              <a:gd name="connsiteY6" fmla="*/ 110764 h 1978172"/>
              <a:gd name="connsiteX7" fmla="*/ 10532872 w 10768629"/>
              <a:gd name="connsiteY7" fmla="*/ 138028 h 1978172"/>
              <a:gd name="connsiteX8" fmla="*/ 10398558 w 10768629"/>
              <a:gd name="connsiteY8" fmla="*/ 172911 h 1978172"/>
              <a:gd name="connsiteX9" fmla="*/ 10371128 w 10768629"/>
              <a:gd name="connsiteY9" fmla="*/ 182609 h 1978172"/>
              <a:gd name="connsiteX10" fmla="*/ 10352178 w 10768629"/>
              <a:gd name="connsiteY10" fmla="*/ 199976 h 1978172"/>
              <a:gd name="connsiteX11" fmla="*/ 10351815 w 10768629"/>
              <a:gd name="connsiteY11" fmla="*/ 211879 h 1978172"/>
              <a:gd name="connsiteX12" fmla="*/ 10337471 w 10768629"/>
              <a:gd name="connsiteY12" fmla="*/ 218661 h 1978172"/>
              <a:gd name="connsiteX13" fmla="*/ 10334625 w 10768629"/>
              <a:gd name="connsiteY13" fmla="*/ 222351 h 1978172"/>
              <a:gd name="connsiteX14" fmla="*/ 10256365 w 10768629"/>
              <a:gd name="connsiteY14" fmla="*/ 235917 h 1978172"/>
              <a:gd name="connsiteX15" fmla="*/ 10201127 w 10768629"/>
              <a:gd name="connsiteY15" fmla="*/ 267448 h 1978172"/>
              <a:gd name="connsiteX16" fmla="*/ 9961218 w 10768629"/>
              <a:gd name="connsiteY16" fmla="*/ 326720 h 1978172"/>
              <a:gd name="connsiteX17" fmla="*/ 9859715 w 10768629"/>
              <a:gd name="connsiteY17" fmla="*/ 355698 h 1978172"/>
              <a:gd name="connsiteX18" fmla="*/ 9679867 w 10768629"/>
              <a:gd name="connsiteY18" fmla="*/ 399081 h 1978172"/>
              <a:gd name="connsiteX19" fmla="*/ 9490654 w 10768629"/>
              <a:gd name="connsiteY19" fmla="*/ 455225 h 1978172"/>
              <a:gd name="connsiteX20" fmla="*/ 9470837 w 10768629"/>
              <a:gd name="connsiteY20" fmla="*/ 452539 h 1978172"/>
              <a:gd name="connsiteX21" fmla="*/ 9469082 w 10768629"/>
              <a:gd name="connsiteY21" fmla="*/ 454891 h 1978172"/>
              <a:gd name="connsiteX22" fmla="*/ 9448038 w 10768629"/>
              <a:gd name="connsiteY22" fmla="*/ 459733 h 1978172"/>
              <a:gd name="connsiteX23" fmla="*/ 9396821 w 10768629"/>
              <a:gd name="connsiteY23" fmla="*/ 455795 h 1978172"/>
              <a:gd name="connsiteX24" fmla="*/ 9392197 w 10768629"/>
              <a:gd name="connsiteY24" fmla="*/ 459796 h 1978172"/>
              <a:gd name="connsiteX25" fmla="*/ 9347994 w 10768629"/>
              <a:gd name="connsiteY25" fmla="*/ 464462 h 1978172"/>
              <a:gd name="connsiteX26" fmla="*/ 9347889 w 10768629"/>
              <a:gd name="connsiteY26" fmla="*/ 466539 h 1978172"/>
              <a:gd name="connsiteX27" fmla="*/ 9337639 w 10768629"/>
              <a:gd name="connsiteY27" fmla="*/ 476654 h 1978172"/>
              <a:gd name="connsiteX28" fmla="*/ 9287964 w 10768629"/>
              <a:gd name="connsiteY28" fmla="*/ 513052 h 1978172"/>
              <a:gd name="connsiteX29" fmla="*/ 9229283 w 10768629"/>
              <a:gd name="connsiteY29" fmla="*/ 555377 h 1978172"/>
              <a:gd name="connsiteX30" fmla="*/ 9220274 w 10768629"/>
              <a:gd name="connsiteY30" fmla="*/ 557502 h 1978172"/>
              <a:gd name="connsiteX31" fmla="*/ 9220202 w 10768629"/>
              <a:gd name="connsiteY31" fmla="*/ 558001 h 1978172"/>
              <a:gd name="connsiteX32" fmla="*/ 9210908 w 10768629"/>
              <a:gd name="connsiteY32" fmla="*/ 561147 h 1978172"/>
              <a:gd name="connsiteX33" fmla="*/ 9186374 w 10768629"/>
              <a:gd name="connsiteY33" fmla="*/ 565502 h 1978172"/>
              <a:gd name="connsiteX34" fmla="*/ 9181058 w 10768629"/>
              <a:gd name="connsiteY34" fmla="*/ 569943 h 1978172"/>
              <a:gd name="connsiteX35" fmla="*/ 9167549 w 10768629"/>
              <a:gd name="connsiteY35" fmla="*/ 584727 h 1978172"/>
              <a:gd name="connsiteX36" fmla="*/ 9149110 w 10768629"/>
              <a:gd name="connsiteY36" fmla="*/ 598906 h 1978172"/>
              <a:gd name="connsiteX37" fmla="*/ 9078556 w 10768629"/>
              <a:gd name="connsiteY37" fmla="*/ 644039 h 1978172"/>
              <a:gd name="connsiteX38" fmla="*/ 8996399 w 10768629"/>
              <a:gd name="connsiteY38" fmla="*/ 690055 h 1978172"/>
              <a:gd name="connsiteX39" fmla="*/ 8803791 w 10768629"/>
              <a:gd name="connsiteY39" fmla="*/ 813860 h 1978172"/>
              <a:gd name="connsiteX40" fmla="*/ 8636202 w 10768629"/>
              <a:gd name="connsiteY40" fmla="*/ 848463 h 1978172"/>
              <a:gd name="connsiteX41" fmla="*/ 8555372 w 10768629"/>
              <a:gd name="connsiteY41" fmla="*/ 883171 h 1978172"/>
              <a:gd name="connsiteX42" fmla="*/ 8507229 w 10768629"/>
              <a:gd name="connsiteY42" fmla="*/ 901665 h 1978172"/>
              <a:gd name="connsiteX43" fmla="*/ 8428473 w 10768629"/>
              <a:gd name="connsiteY43" fmla="*/ 927985 h 1978172"/>
              <a:gd name="connsiteX44" fmla="*/ 8427914 w 10768629"/>
              <a:gd name="connsiteY44" fmla="*/ 933480 h 1978172"/>
              <a:gd name="connsiteX45" fmla="*/ 8420327 w 10768629"/>
              <a:gd name="connsiteY45" fmla="*/ 941984 h 1978172"/>
              <a:gd name="connsiteX46" fmla="*/ 8394729 w 10768629"/>
              <a:gd name="connsiteY46" fmla="*/ 948347 h 1978172"/>
              <a:gd name="connsiteX47" fmla="*/ 8380548 w 10768629"/>
              <a:gd name="connsiteY47" fmla="*/ 987916 h 1978172"/>
              <a:gd name="connsiteX48" fmla="*/ 8375330 w 10768629"/>
              <a:gd name="connsiteY48" fmla="*/ 965444 h 1978172"/>
              <a:gd name="connsiteX49" fmla="*/ 8340796 w 10768629"/>
              <a:gd name="connsiteY49" fmla="*/ 980522 h 1978172"/>
              <a:gd name="connsiteX50" fmla="*/ 8304438 w 10768629"/>
              <a:gd name="connsiteY50" fmla="*/ 996739 h 1978172"/>
              <a:gd name="connsiteX51" fmla="*/ 8280929 w 10768629"/>
              <a:gd name="connsiteY51" fmla="*/ 1023089 h 1978172"/>
              <a:gd name="connsiteX52" fmla="*/ 8275760 w 10768629"/>
              <a:gd name="connsiteY52" fmla="*/ 1027772 h 1978172"/>
              <a:gd name="connsiteX53" fmla="*/ 8275478 w 10768629"/>
              <a:gd name="connsiteY53" fmla="*/ 1027605 h 1978172"/>
              <a:gd name="connsiteX54" fmla="*/ 8249003 w 10768629"/>
              <a:gd name="connsiteY54" fmla="*/ 1032033 h 1978172"/>
              <a:gd name="connsiteX55" fmla="*/ 8203836 w 10768629"/>
              <a:gd name="connsiteY55" fmla="*/ 1037347 h 1978172"/>
              <a:gd name="connsiteX56" fmla="*/ 8122936 w 10768629"/>
              <a:gd name="connsiteY56" fmla="*/ 1063113 h 1978172"/>
              <a:gd name="connsiteX57" fmla="*/ 8043658 w 10768629"/>
              <a:gd name="connsiteY57" fmla="*/ 1092746 h 1978172"/>
              <a:gd name="connsiteX58" fmla="*/ 8015351 w 10768629"/>
              <a:gd name="connsiteY58" fmla="*/ 1105478 h 1978172"/>
              <a:gd name="connsiteX59" fmla="*/ 7963145 w 10768629"/>
              <a:gd name="connsiteY59" fmla="*/ 1119346 h 1978172"/>
              <a:gd name="connsiteX60" fmla="*/ 7938145 w 10768629"/>
              <a:gd name="connsiteY60" fmla="*/ 1120225 h 1978172"/>
              <a:gd name="connsiteX61" fmla="*/ 7937238 w 10768629"/>
              <a:gd name="connsiteY61" fmla="*/ 1121204 h 1978172"/>
              <a:gd name="connsiteX62" fmla="*/ 7934398 w 10768629"/>
              <a:gd name="connsiteY62" fmla="*/ 1118240 h 1978172"/>
              <a:gd name="connsiteX63" fmla="*/ 7918248 w 10768629"/>
              <a:gd name="connsiteY63" fmla="*/ 1124371 h 1978172"/>
              <a:gd name="connsiteX64" fmla="*/ 7914119 w 10768629"/>
              <a:gd name="connsiteY64" fmla="*/ 1127653 h 1978172"/>
              <a:gd name="connsiteX65" fmla="*/ 7907658 w 10768629"/>
              <a:gd name="connsiteY65" fmla="*/ 1130350 h 1978172"/>
              <a:gd name="connsiteX66" fmla="*/ 7907434 w 10768629"/>
              <a:gd name="connsiteY66" fmla="*/ 1130103 h 1978172"/>
              <a:gd name="connsiteX67" fmla="*/ 7901508 w 10768629"/>
              <a:gd name="connsiteY67" fmla="*/ 1133245 h 1978172"/>
              <a:gd name="connsiteX68" fmla="*/ 7873287 w 10768629"/>
              <a:gd name="connsiteY68" fmla="*/ 1152609 h 1978172"/>
              <a:gd name="connsiteX69" fmla="*/ 7834833 w 10768629"/>
              <a:gd name="connsiteY69" fmla="*/ 1153868 h 1978172"/>
              <a:gd name="connsiteX70" fmla="*/ 7828661 w 10768629"/>
              <a:gd name="connsiteY70" fmla="*/ 1139994 h 1978172"/>
              <a:gd name="connsiteX71" fmla="*/ 7823966 w 10768629"/>
              <a:gd name="connsiteY71" fmla="*/ 1143178 h 1978172"/>
              <a:gd name="connsiteX72" fmla="*/ 7815078 w 10768629"/>
              <a:gd name="connsiteY72" fmla="*/ 1151776 h 1978172"/>
              <a:gd name="connsiteX73" fmla="*/ 7812026 w 10768629"/>
              <a:gd name="connsiteY73" fmla="*/ 1151522 h 1978172"/>
              <a:gd name="connsiteX74" fmla="*/ 7782249 w 10768629"/>
              <a:gd name="connsiteY74" fmla="*/ 1160970 h 1978172"/>
              <a:gd name="connsiteX75" fmla="*/ 7773476 w 10768629"/>
              <a:gd name="connsiteY75" fmla="*/ 1157414 h 1978172"/>
              <a:gd name="connsiteX76" fmla="*/ 7769600 w 10768629"/>
              <a:gd name="connsiteY76" fmla="*/ 1157365 h 1978172"/>
              <a:gd name="connsiteX77" fmla="*/ 7752631 w 10768629"/>
              <a:gd name="connsiteY77" fmla="*/ 1172815 h 1978172"/>
              <a:gd name="connsiteX78" fmla="*/ 7739392 w 10768629"/>
              <a:gd name="connsiteY78" fmla="*/ 1192062 h 1978172"/>
              <a:gd name="connsiteX79" fmla="*/ 7677677 w 10768629"/>
              <a:gd name="connsiteY79" fmla="*/ 1216394 h 1978172"/>
              <a:gd name="connsiteX80" fmla="*/ 7586920 w 10768629"/>
              <a:gd name="connsiteY80" fmla="*/ 1261888 h 1978172"/>
              <a:gd name="connsiteX81" fmla="*/ 7486100 w 10768629"/>
              <a:gd name="connsiteY81" fmla="*/ 1292563 h 1978172"/>
              <a:gd name="connsiteX82" fmla="*/ 7407190 w 10768629"/>
              <a:gd name="connsiteY82" fmla="*/ 1314737 h 1978172"/>
              <a:gd name="connsiteX83" fmla="*/ 7240698 w 10768629"/>
              <a:gd name="connsiteY83" fmla="*/ 1438832 h 1978172"/>
              <a:gd name="connsiteX84" fmla="*/ 7197675 w 10768629"/>
              <a:gd name="connsiteY84" fmla="*/ 1447530 h 1978172"/>
              <a:gd name="connsiteX85" fmla="*/ 7164788 w 10768629"/>
              <a:gd name="connsiteY85" fmla="*/ 1480293 h 1978172"/>
              <a:gd name="connsiteX86" fmla="*/ 7147929 w 10768629"/>
              <a:gd name="connsiteY86" fmla="*/ 1477641 h 1978172"/>
              <a:gd name="connsiteX87" fmla="*/ 7144965 w 10768629"/>
              <a:gd name="connsiteY87" fmla="*/ 1476908 h 1978172"/>
              <a:gd name="connsiteX88" fmla="*/ 7134299 w 10768629"/>
              <a:gd name="connsiteY88" fmla="*/ 1479969 h 1978172"/>
              <a:gd name="connsiteX89" fmla="*/ 7129809 w 10768629"/>
              <a:gd name="connsiteY89" fmla="*/ 1473339 h 1978172"/>
              <a:gd name="connsiteX90" fmla="*/ 7112688 w 10768629"/>
              <a:gd name="connsiteY90" fmla="*/ 1472575 h 1978172"/>
              <a:gd name="connsiteX91" fmla="*/ 7093470 w 10768629"/>
              <a:gd name="connsiteY91" fmla="*/ 1480300 h 1978172"/>
              <a:gd name="connsiteX92" fmla="*/ 7025034 w 10768629"/>
              <a:gd name="connsiteY92" fmla="*/ 1506934 h 1978172"/>
              <a:gd name="connsiteX93" fmla="*/ 7014783 w 10768629"/>
              <a:gd name="connsiteY93" fmla="*/ 1515868 h 1978172"/>
              <a:gd name="connsiteX94" fmla="*/ 6979706 w 10768629"/>
              <a:gd name="connsiteY94" fmla="*/ 1523511 h 1978172"/>
              <a:gd name="connsiteX95" fmla="*/ 6977890 w 10768629"/>
              <a:gd name="connsiteY95" fmla="*/ 1525793 h 1978172"/>
              <a:gd name="connsiteX96" fmla="*/ 6944339 w 10768629"/>
              <a:gd name="connsiteY96" fmla="*/ 1536237 h 1978172"/>
              <a:gd name="connsiteX97" fmla="*/ 6886996 w 10768629"/>
              <a:gd name="connsiteY97" fmla="*/ 1563569 h 1978172"/>
              <a:gd name="connsiteX98" fmla="*/ 6874510 w 10768629"/>
              <a:gd name="connsiteY98" fmla="*/ 1558469 h 1978172"/>
              <a:gd name="connsiteX99" fmla="*/ 6871943 w 10768629"/>
              <a:gd name="connsiteY99" fmla="*/ 1554651 h 1978172"/>
              <a:gd name="connsiteX100" fmla="*/ 6856174 w 10768629"/>
              <a:gd name="connsiteY100" fmla="*/ 1562024 h 1978172"/>
              <a:gd name="connsiteX101" fmla="*/ 6842321 w 10768629"/>
              <a:gd name="connsiteY101" fmla="*/ 1560554 h 1978172"/>
              <a:gd name="connsiteX102" fmla="*/ 6832713 w 10768629"/>
              <a:gd name="connsiteY102" fmla="*/ 1569357 h 1978172"/>
              <a:gd name="connsiteX103" fmla="*/ 6816351 w 10768629"/>
              <a:gd name="connsiteY103" fmla="*/ 1571495 h 1978172"/>
              <a:gd name="connsiteX104" fmla="*/ 6795800 w 10768629"/>
              <a:gd name="connsiteY104" fmla="*/ 1572010 h 1978172"/>
              <a:gd name="connsiteX105" fmla="*/ 6777546 w 10768629"/>
              <a:gd name="connsiteY105" fmla="*/ 1568661 h 1978172"/>
              <a:gd name="connsiteX106" fmla="*/ 6751528 w 10768629"/>
              <a:gd name="connsiteY106" fmla="*/ 1574143 h 1978172"/>
              <a:gd name="connsiteX107" fmla="*/ 6691966 w 10768629"/>
              <a:gd name="connsiteY107" fmla="*/ 1582255 h 1978172"/>
              <a:gd name="connsiteX108" fmla="*/ 6646941 w 10768629"/>
              <a:gd name="connsiteY108" fmla="*/ 1588471 h 1978172"/>
              <a:gd name="connsiteX109" fmla="*/ 6568576 w 10768629"/>
              <a:gd name="connsiteY109" fmla="*/ 1606488 h 1978172"/>
              <a:gd name="connsiteX110" fmla="*/ 6554358 w 10768629"/>
              <a:gd name="connsiteY110" fmla="*/ 1621701 h 1978172"/>
              <a:gd name="connsiteX111" fmla="*/ 6516968 w 10768629"/>
              <a:gd name="connsiteY111" fmla="*/ 1617195 h 1978172"/>
              <a:gd name="connsiteX112" fmla="*/ 6506479 w 10768629"/>
              <a:gd name="connsiteY112" fmla="*/ 1602227 h 1978172"/>
              <a:gd name="connsiteX113" fmla="*/ 6458436 w 10768629"/>
              <a:gd name="connsiteY113" fmla="*/ 1607332 h 1978172"/>
              <a:gd name="connsiteX114" fmla="*/ 6414786 w 10768629"/>
              <a:gd name="connsiteY114" fmla="*/ 1628815 h 1978172"/>
              <a:gd name="connsiteX115" fmla="*/ 6357085 w 10768629"/>
              <a:gd name="connsiteY115" fmla="*/ 1640846 h 1978172"/>
              <a:gd name="connsiteX116" fmla="*/ 6322636 w 10768629"/>
              <a:gd name="connsiteY116" fmla="*/ 1648213 h 1978172"/>
              <a:gd name="connsiteX117" fmla="*/ 6226172 w 10768629"/>
              <a:gd name="connsiteY117" fmla="*/ 1654676 h 1978172"/>
              <a:gd name="connsiteX118" fmla="*/ 6221217 w 10768629"/>
              <a:gd name="connsiteY118" fmla="*/ 1654506 h 1978172"/>
              <a:gd name="connsiteX119" fmla="*/ 6204956 w 10768629"/>
              <a:gd name="connsiteY119" fmla="*/ 1664280 h 1978172"/>
              <a:gd name="connsiteX120" fmla="*/ 6204270 w 10768629"/>
              <a:gd name="connsiteY120" fmla="*/ 1666782 h 1978172"/>
              <a:gd name="connsiteX121" fmla="*/ 6143810 w 10768629"/>
              <a:gd name="connsiteY121" fmla="*/ 1661963 h 1978172"/>
              <a:gd name="connsiteX122" fmla="*/ 6136560 w 10768629"/>
              <a:gd name="connsiteY122" fmla="*/ 1665728 h 1978172"/>
              <a:gd name="connsiteX123" fmla="*/ 6096155 w 10768629"/>
              <a:gd name="connsiteY123" fmla="*/ 1656951 h 1978172"/>
              <a:gd name="connsiteX124" fmla="*/ 6075812 w 10768629"/>
              <a:gd name="connsiteY124" fmla="*/ 1655422 h 1978172"/>
              <a:gd name="connsiteX125" fmla="*/ 6039495 w 10768629"/>
              <a:gd name="connsiteY125" fmla="*/ 1649680 h 1978172"/>
              <a:gd name="connsiteX126" fmla="*/ 6036523 w 10768629"/>
              <a:gd name="connsiteY126" fmla="*/ 1652121 h 1978172"/>
              <a:gd name="connsiteX127" fmla="*/ 6029328 w 10768629"/>
              <a:gd name="connsiteY127" fmla="*/ 1649904 h 1978172"/>
              <a:gd name="connsiteX128" fmla="*/ 6024075 w 10768629"/>
              <a:gd name="connsiteY128" fmla="*/ 1652779 h 1978172"/>
              <a:gd name="connsiteX129" fmla="*/ 6018085 w 10768629"/>
              <a:gd name="connsiteY129" fmla="*/ 1652030 h 1978172"/>
              <a:gd name="connsiteX130" fmla="*/ 5955513 w 10768629"/>
              <a:gd name="connsiteY130" fmla="*/ 1663584 h 1978172"/>
              <a:gd name="connsiteX131" fmla="*/ 5941996 w 10768629"/>
              <a:gd name="connsiteY131" fmla="*/ 1661326 h 1978172"/>
              <a:gd name="connsiteX132" fmla="*/ 5931789 w 10768629"/>
              <a:gd name="connsiteY132" fmla="*/ 1669915 h 1978172"/>
              <a:gd name="connsiteX133" fmla="*/ 5888686 w 10768629"/>
              <a:gd name="connsiteY133" fmla="*/ 1672175 h 1978172"/>
              <a:gd name="connsiteX134" fmla="*/ 5873794 w 10768629"/>
              <a:gd name="connsiteY134" fmla="*/ 1665454 h 1978172"/>
              <a:gd name="connsiteX135" fmla="*/ 5860022 w 10768629"/>
              <a:gd name="connsiteY135" fmla="*/ 1660635 h 1978172"/>
              <a:gd name="connsiteX136" fmla="*/ 5858237 w 10768629"/>
              <a:gd name="connsiteY136" fmla="*/ 1660649 h 1978172"/>
              <a:gd name="connsiteX137" fmla="*/ 5840319 w 10768629"/>
              <a:gd name="connsiteY137" fmla="*/ 1660798 h 1978172"/>
              <a:gd name="connsiteX138" fmla="*/ 5806984 w 10768629"/>
              <a:gd name="connsiteY138" fmla="*/ 1661075 h 1978172"/>
              <a:gd name="connsiteX139" fmla="*/ 5742351 w 10768629"/>
              <a:gd name="connsiteY139" fmla="*/ 1667489 h 1978172"/>
              <a:gd name="connsiteX140" fmla="*/ 5521171 w 10768629"/>
              <a:gd name="connsiteY140" fmla="*/ 1671626 h 1978172"/>
              <a:gd name="connsiteX141" fmla="*/ 5457384 w 10768629"/>
              <a:gd name="connsiteY141" fmla="*/ 1683952 h 1978172"/>
              <a:gd name="connsiteX142" fmla="*/ 4950070 w 10768629"/>
              <a:gd name="connsiteY142" fmla="*/ 1748401 h 1978172"/>
              <a:gd name="connsiteX143" fmla="*/ 4872172 w 10768629"/>
              <a:gd name="connsiteY143" fmla="*/ 1757222 h 1978172"/>
              <a:gd name="connsiteX144" fmla="*/ 4809524 w 10768629"/>
              <a:gd name="connsiteY144" fmla="*/ 1761033 h 1978172"/>
              <a:gd name="connsiteX145" fmla="*/ 4759058 w 10768629"/>
              <a:gd name="connsiteY145" fmla="*/ 1766533 h 1978172"/>
              <a:gd name="connsiteX146" fmla="*/ 4719749 w 10768629"/>
              <a:gd name="connsiteY146" fmla="*/ 1771811 h 1978172"/>
              <a:gd name="connsiteX147" fmla="*/ 4568686 w 10768629"/>
              <a:gd name="connsiteY147" fmla="*/ 1786141 h 1978172"/>
              <a:gd name="connsiteX148" fmla="*/ 4418751 w 10768629"/>
              <a:gd name="connsiteY148" fmla="*/ 1796932 h 1978172"/>
              <a:gd name="connsiteX149" fmla="*/ 4378377 w 10768629"/>
              <a:gd name="connsiteY149" fmla="*/ 1815528 h 1978172"/>
              <a:gd name="connsiteX150" fmla="*/ 4320575 w 10768629"/>
              <a:gd name="connsiteY150" fmla="*/ 1832722 h 1978172"/>
              <a:gd name="connsiteX151" fmla="*/ 4220200 w 10768629"/>
              <a:gd name="connsiteY151" fmla="*/ 1873173 h 1978172"/>
              <a:gd name="connsiteX152" fmla="*/ 4105361 w 10768629"/>
              <a:gd name="connsiteY152" fmla="*/ 1894711 h 1978172"/>
              <a:gd name="connsiteX153" fmla="*/ 3973223 w 10768629"/>
              <a:gd name="connsiteY153" fmla="*/ 1881015 h 1978172"/>
              <a:gd name="connsiteX154" fmla="*/ 3900992 w 10768629"/>
              <a:gd name="connsiteY154" fmla="*/ 1880603 h 1978172"/>
              <a:gd name="connsiteX155" fmla="*/ 3662119 w 10768629"/>
              <a:gd name="connsiteY155" fmla="*/ 1889285 h 1978172"/>
              <a:gd name="connsiteX156" fmla="*/ 3496919 w 10768629"/>
              <a:gd name="connsiteY156" fmla="*/ 1873180 h 1978172"/>
              <a:gd name="connsiteX157" fmla="*/ 3449433 w 10768629"/>
              <a:gd name="connsiteY157" fmla="*/ 1889681 h 1978172"/>
              <a:gd name="connsiteX158" fmla="*/ 3369766 w 10768629"/>
              <a:gd name="connsiteY158" fmla="*/ 1916653 h 1978172"/>
              <a:gd name="connsiteX159" fmla="*/ 3269672 w 10768629"/>
              <a:gd name="connsiteY159" fmla="*/ 1938036 h 1978172"/>
              <a:gd name="connsiteX160" fmla="*/ 3224897 w 10768629"/>
              <a:gd name="connsiteY160" fmla="*/ 1943733 h 1978172"/>
              <a:gd name="connsiteX161" fmla="*/ 3161463 w 10768629"/>
              <a:gd name="connsiteY161" fmla="*/ 1946591 h 1978172"/>
              <a:gd name="connsiteX162" fmla="*/ 3112044 w 10768629"/>
              <a:gd name="connsiteY162" fmla="*/ 1935614 h 1978172"/>
              <a:gd name="connsiteX163" fmla="*/ 3069716 w 10768629"/>
              <a:gd name="connsiteY163" fmla="*/ 1930463 h 1978172"/>
              <a:gd name="connsiteX164" fmla="*/ 3005773 w 10768629"/>
              <a:gd name="connsiteY164" fmla="*/ 1915878 h 1978172"/>
              <a:gd name="connsiteX165" fmla="*/ 2897201 w 10768629"/>
              <a:gd name="connsiteY165" fmla="*/ 1926772 h 1978172"/>
              <a:gd name="connsiteX166" fmla="*/ 2783891 w 10768629"/>
              <a:gd name="connsiteY166" fmla="*/ 1931749 h 1978172"/>
              <a:gd name="connsiteX167" fmla="*/ 2712447 w 10768629"/>
              <a:gd name="connsiteY167" fmla="*/ 1933044 h 1978172"/>
              <a:gd name="connsiteX168" fmla="*/ 2560151 w 10768629"/>
              <a:gd name="connsiteY168" fmla="*/ 1963609 h 1978172"/>
              <a:gd name="connsiteX169" fmla="*/ 2367221 w 10768629"/>
              <a:gd name="connsiteY169" fmla="*/ 1971884 h 1978172"/>
              <a:gd name="connsiteX170" fmla="*/ 2272130 w 10768629"/>
              <a:gd name="connsiteY170" fmla="*/ 1961162 h 1978172"/>
              <a:gd name="connsiteX171" fmla="*/ 2189404 w 10768629"/>
              <a:gd name="connsiteY171" fmla="*/ 1978172 h 1978172"/>
              <a:gd name="connsiteX172" fmla="*/ 2077704 w 10768629"/>
              <a:gd name="connsiteY172" fmla="*/ 1965002 h 1978172"/>
              <a:gd name="connsiteX173" fmla="*/ 2033299 w 10768629"/>
              <a:gd name="connsiteY173" fmla="*/ 1969042 h 1978172"/>
              <a:gd name="connsiteX174" fmla="*/ 1967996 w 10768629"/>
              <a:gd name="connsiteY174" fmla="*/ 1953187 h 1978172"/>
              <a:gd name="connsiteX175" fmla="*/ 1855805 w 10768629"/>
              <a:gd name="connsiteY175" fmla="*/ 1926082 h 1978172"/>
              <a:gd name="connsiteX176" fmla="*/ 1790957 w 10768629"/>
              <a:gd name="connsiteY176" fmla="*/ 1919460 h 1978172"/>
              <a:gd name="connsiteX177" fmla="*/ 1613978 w 10768629"/>
              <a:gd name="connsiteY177" fmla="*/ 1891581 h 1978172"/>
              <a:gd name="connsiteX178" fmla="*/ 1436831 w 10768629"/>
              <a:gd name="connsiteY178" fmla="*/ 1856201 h 1978172"/>
              <a:gd name="connsiteX179" fmla="*/ 1357365 w 10768629"/>
              <a:gd name="connsiteY179" fmla="*/ 1832140 h 1978172"/>
              <a:gd name="connsiteX180" fmla="*/ 1232341 w 10768629"/>
              <a:gd name="connsiteY180" fmla="*/ 1785942 h 1978172"/>
              <a:gd name="connsiteX181" fmla="*/ 1162595 w 10768629"/>
              <a:gd name="connsiteY181" fmla="*/ 1758337 h 1978172"/>
              <a:gd name="connsiteX182" fmla="*/ 1128523 w 10768629"/>
              <a:gd name="connsiteY182" fmla="*/ 1763621 h 1978172"/>
              <a:gd name="connsiteX183" fmla="*/ 991903 w 10768629"/>
              <a:gd name="connsiteY183" fmla="*/ 1786741 h 1978172"/>
              <a:gd name="connsiteX184" fmla="*/ 883960 w 10768629"/>
              <a:gd name="connsiteY184" fmla="*/ 1822386 h 1978172"/>
              <a:gd name="connsiteX185" fmla="*/ 766531 w 10768629"/>
              <a:gd name="connsiteY185" fmla="*/ 1805053 h 1978172"/>
              <a:gd name="connsiteX186" fmla="*/ 669779 w 10768629"/>
              <a:gd name="connsiteY186" fmla="*/ 1800537 h 1978172"/>
              <a:gd name="connsiteX187" fmla="*/ 523898 w 10768629"/>
              <a:gd name="connsiteY187" fmla="*/ 1811085 h 1978172"/>
              <a:gd name="connsiteX188" fmla="*/ 360251 w 10768629"/>
              <a:gd name="connsiteY188" fmla="*/ 1830735 h 1978172"/>
              <a:gd name="connsiteX189" fmla="*/ 255207 w 10768629"/>
              <a:gd name="connsiteY189" fmla="*/ 1818275 h 1978172"/>
              <a:gd name="connsiteX190" fmla="*/ 101803 w 10768629"/>
              <a:gd name="connsiteY190" fmla="*/ 1870647 h 1978172"/>
              <a:gd name="connsiteX191" fmla="*/ 25397 w 10768629"/>
              <a:gd name="connsiteY191" fmla="*/ 1888443 h 1978172"/>
              <a:gd name="connsiteX192" fmla="*/ 2370 w 10768629"/>
              <a:gd name="connsiteY192" fmla="*/ 1878311 h 1978172"/>
              <a:gd name="connsiteX193" fmla="*/ 0 w 10768629"/>
              <a:gd name="connsiteY193" fmla="*/ 1878785 h 1978172"/>
              <a:gd name="connsiteX194" fmla="*/ 0 w 10768629"/>
              <a:gd name="connsiteY194" fmla="*/ 0 h 1978172"/>
              <a:gd name="connsiteX0" fmla="*/ 0 w 10768629"/>
              <a:gd name="connsiteY0" fmla="*/ 0 h 1978172"/>
              <a:gd name="connsiteX1" fmla="*/ 10768629 w 10768629"/>
              <a:gd name="connsiteY1" fmla="*/ 0 h 1978172"/>
              <a:gd name="connsiteX2" fmla="*/ 10733254 w 10768629"/>
              <a:gd name="connsiteY2" fmla="*/ 31439 h 1978172"/>
              <a:gd name="connsiteX3" fmla="*/ 10727085 w 10768629"/>
              <a:gd name="connsiteY3" fmla="*/ 37910 h 1978172"/>
              <a:gd name="connsiteX4" fmla="*/ 10675953 w 10768629"/>
              <a:gd name="connsiteY4" fmla="*/ 68623 h 1978172"/>
              <a:gd name="connsiteX5" fmla="*/ 10637091 w 10768629"/>
              <a:gd name="connsiteY5" fmla="*/ 90361 h 1978172"/>
              <a:gd name="connsiteX6" fmla="*/ 10610971 w 10768629"/>
              <a:gd name="connsiteY6" fmla="*/ 110764 h 1978172"/>
              <a:gd name="connsiteX7" fmla="*/ 10532872 w 10768629"/>
              <a:gd name="connsiteY7" fmla="*/ 138028 h 1978172"/>
              <a:gd name="connsiteX8" fmla="*/ 10398558 w 10768629"/>
              <a:gd name="connsiteY8" fmla="*/ 172911 h 1978172"/>
              <a:gd name="connsiteX9" fmla="*/ 10371128 w 10768629"/>
              <a:gd name="connsiteY9" fmla="*/ 182609 h 1978172"/>
              <a:gd name="connsiteX10" fmla="*/ 10352178 w 10768629"/>
              <a:gd name="connsiteY10" fmla="*/ 199976 h 1978172"/>
              <a:gd name="connsiteX11" fmla="*/ 10351815 w 10768629"/>
              <a:gd name="connsiteY11" fmla="*/ 211879 h 1978172"/>
              <a:gd name="connsiteX12" fmla="*/ 10337471 w 10768629"/>
              <a:gd name="connsiteY12" fmla="*/ 218661 h 1978172"/>
              <a:gd name="connsiteX13" fmla="*/ 10334625 w 10768629"/>
              <a:gd name="connsiteY13" fmla="*/ 222351 h 1978172"/>
              <a:gd name="connsiteX14" fmla="*/ 10256365 w 10768629"/>
              <a:gd name="connsiteY14" fmla="*/ 235917 h 1978172"/>
              <a:gd name="connsiteX15" fmla="*/ 10201127 w 10768629"/>
              <a:gd name="connsiteY15" fmla="*/ 267448 h 1978172"/>
              <a:gd name="connsiteX16" fmla="*/ 9961218 w 10768629"/>
              <a:gd name="connsiteY16" fmla="*/ 326720 h 1978172"/>
              <a:gd name="connsiteX17" fmla="*/ 9859715 w 10768629"/>
              <a:gd name="connsiteY17" fmla="*/ 355698 h 1978172"/>
              <a:gd name="connsiteX18" fmla="*/ 9679867 w 10768629"/>
              <a:gd name="connsiteY18" fmla="*/ 399081 h 1978172"/>
              <a:gd name="connsiteX19" fmla="*/ 9490654 w 10768629"/>
              <a:gd name="connsiteY19" fmla="*/ 455225 h 1978172"/>
              <a:gd name="connsiteX20" fmla="*/ 9470837 w 10768629"/>
              <a:gd name="connsiteY20" fmla="*/ 452539 h 1978172"/>
              <a:gd name="connsiteX21" fmla="*/ 9469082 w 10768629"/>
              <a:gd name="connsiteY21" fmla="*/ 454891 h 1978172"/>
              <a:gd name="connsiteX22" fmla="*/ 9448038 w 10768629"/>
              <a:gd name="connsiteY22" fmla="*/ 459733 h 1978172"/>
              <a:gd name="connsiteX23" fmla="*/ 9396821 w 10768629"/>
              <a:gd name="connsiteY23" fmla="*/ 455795 h 1978172"/>
              <a:gd name="connsiteX24" fmla="*/ 9392197 w 10768629"/>
              <a:gd name="connsiteY24" fmla="*/ 459796 h 1978172"/>
              <a:gd name="connsiteX25" fmla="*/ 9347994 w 10768629"/>
              <a:gd name="connsiteY25" fmla="*/ 464462 h 1978172"/>
              <a:gd name="connsiteX26" fmla="*/ 9347889 w 10768629"/>
              <a:gd name="connsiteY26" fmla="*/ 466539 h 1978172"/>
              <a:gd name="connsiteX27" fmla="*/ 9337639 w 10768629"/>
              <a:gd name="connsiteY27" fmla="*/ 476654 h 1978172"/>
              <a:gd name="connsiteX28" fmla="*/ 9287964 w 10768629"/>
              <a:gd name="connsiteY28" fmla="*/ 513052 h 1978172"/>
              <a:gd name="connsiteX29" fmla="*/ 9229283 w 10768629"/>
              <a:gd name="connsiteY29" fmla="*/ 555377 h 1978172"/>
              <a:gd name="connsiteX30" fmla="*/ 9220274 w 10768629"/>
              <a:gd name="connsiteY30" fmla="*/ 557502 h 1978172"/>
              <a:gd name="connsiteX31" fmla="*/ 9220202 w 10768629"/>
              <a:gd name="connsiteY31" fmla="*/ 558001 h 1978172"/>
              <a:gd name="connsiteX32" fmla="*/ 9210908 w 10768629"/>
              <a:gd name="connsiteY32" fmla="*/ 561147 h 1978172"/>
              <a:gd name="connsiteX33" fmla="*/ 9186374 w 10768629"/>
              <a:gd name="connsiteY33" fmla="*/ 565502 h 1978172"/>
              <a:gd name="connsiteX34" fmla="*/ 9181058 w 10768629"/>
              <a:gd name="connsiteY34" fmla="*/ 569943 h 1978172"/>
              <a:gd name="connsiteX35" fmla="*/ 9167549 w 10768629"/>
              <a:gd name="connsiteY35" fmla="*/ 584727 h 1978172"/>
              <a:gd name="connsiteX36" fmla="*/ 9149110 w 10768629"/>
              <a:gd name="connsiteY36" fmla="*/ 598906 h 1978172"/>
              <a:gd name="connsiteX37" fmla="*/ 9078556 w 10768629"/>
              <a:gd name="connsiteY37" fmla="*/ 644039 h 1978172"/>
              <a:gd name="connsiteX38" fmla="*/ 8996399 w 10768629"/>
              <a:gd name="connsiteY38" fmla="*/ 690055 h 1978172"/>
              <a:gd name="connsiteX39" fmla="*/ 8803791 w 10768629"/>
              <a:gd name="connsiteY39" fmla="*/ 813860 h 1978172"/>
              <a:gd name="connsiteX40" fmla="*/ 8636202 w 10768629"/>
              <a:gd name="connsiteY40" fmla="*/ 848463 h 1978172"/>
              <a:gd name="connsiteX41" fmla="*/ 8555372 w 10768629"/>
              <a:gd name="connsiteY41" fmla="*/ 883171 h 1978172"/>
              <a:gd name="connsiteX42" fmla="*/ 8507229 w 10768629"/>
              <a:gd name="connsiteY42" fmla="*/ 901665 h 1978172"/>
              <a:gd name="connsiteX43" fmla="*/ 8428473 w 10768629"/>
              <a:gd name="connsiteY43" fmla="*/ 927985 h 1978172"/>
              <a:gd name="connsiteX44" fmla="*/ 8427914 w 10768629"/>
              <a:gd name="connsiteY44" fmla="*/ 933480 h 1978172"/>
              <a:gd name="connsiteX45" fmla="*/ 8420327 w 10768629"/>
              <a:gd name="connsiteY45" fmla="*/ 941984 h 1978172"/>
              <a:gd name="connsiteX46" fmla="*/ 8394729 w 10768629"/>
              <a:gd name="connsiteY46" fmla="*/ 948347 h 1978172"/>
              <a:gd name="connsiteX47" fmla="*/ 8380548 w 10768629"/>
              <a:gd name="connsiteY47" fmla="*/ 987916 h 1978172"/>
              <a:gd name="connsiteX48" fmla="*/ 8375330 w 10768629"/>
              <a:gd name="connsiteY48" fmla="*/ 965444 h 1978172"/>
              <a:gd name="connsiteX49" fmla="*/ 8340796 w 10768629"/>
              <a:gd name="connsiteY49" fmla="*/ 980522 h 1978172"/>
              <a:gd name="connsiteX50" fmla="*/ 8304438 w 10768629"/>
              <a:gd name="connsiteY50" fmla="*/ 996739 h 1978172"/>
              <a:gd name="connsiteX51" fmla="*/ 8280929 w 10768629"/>
              <a:gd name="connsiteY51" fmla="*/ 1023089 h 1978172"/>
              <a:gd name="connsiteX52" fmla="*/ 8275760 w 10768629"/>
              <a:gd name="connsiteY52" fmla="*/ 1027772 h 1978172"/>
              <a:gd name="connsiteX53" fmla="*/ 8275478 w 10768629"/>
              <a:gd name="connsiteY53" fmla="*/ 1027605 h 1978172"/>
              <a:gd name="connsiteX54" fmla="*/ 8249003 w 10768629"/>
              <a:gd name="connsiteY54" fmla="*/ 1032033 h 1978172"/>
              <a:gd name="connsiteX55" fmla="*/ 8203836 w 10768629"/>
              <a:gd name="connsiteY55" fmla="*/ 1037347 h 1978172"/>
              <a:gd name="connsiteX56" fmla="*/ 8122936 w 10768629"/>
              <a:gd name="connsiteY56" fmla="*/ 1063113 h 1978172"/>
              <a:gd name="connsiteX57" fmla="*/ 8043658 w 10768629"/>
              <a:gd name="connsiteY57" fmla="*/ 1092746 h 1978172"/>
              <a:gd name="connsiteX58" fmla="*/ 8015351 w 10768629"/>
              <a:gd name="connsiteY58" fmla="*/ 1105478 h 1978172"/>
              <a:gd name="connsiteX59" fmla="*/ 7963145 w 10768629"/>
              <a:gd name="connsiteY59" fmla="*/ 1119346 h 1978172"/>
              <a:gd name="connsiteX60" fmla="*/ 7938145 w 10768629"/>
              <a:gd name="connsiteY60" fmla="*/ 1120225 h 1978172"/>
              <a:gd name="connsiteX61" fmla="*/ 7937238 w 10768629"/>
              <a:gd name="connsiteY61" fmla="*/ 1121204 h 1978172"/>
              <a:gd name="connsiteX62" fmla="*/ 7934398 w 10768629"/>
              <a:gd name="connsiteY62" fmla="*/ 1118240 h 1978172"/>
              <a:gd name="connsiteX63" fmla="*/ 7918248 w 10768629"/>
              <a:gd name="connsiteY63" fmla="*/ 1124371 h 1978172"/>
              <a:gd name="connsiteX64" fmla="*/ 7914119 w 10768629"/>
              <a:gd name="connsiteY64" fmla="*/ 1127653 h 1978172"/>
              <a:gd name="connsiteX65" fmla="*/ 7907658 w 10768629"/>
              <a:gd name="connsiteY65" fmla="*/ 1130350 h 1978172"/>
              <a:gd name="connsiteX66" fmla="*/ 7907434 w 10768629"/>
              <a:gd name="connsiteY66" fmla="*/ 1130103 h 1978172"/>
              <a:gd name="connsiteX67" fmla="*/ 7901508 w 10768629"/>
              <a:gd name="connsiteY67" fmla="*/ 1133245 h 1978172"/>
              <a:gd name="connsiteX68" fmla="*/ 7873287 w 10768629"/>
              <a:gd name="connsiteY68" fmla="*/ 1152609 h 1978172"/>
              <a:gd name="connsiteX69" fmla="*/ 7834833 w 10768629"/>
              <a:gd name="connsiteY69" fmla="*/ 1153868 h 1978172"/>
              <a:gd name="connsiteX70" fmla="*/ 7828661 w 10768629"/>
              <a:gd name="connsiteY70" fmla="*/ 1139994 h 1978172"/>
              <a:gd name="connsiteX71" fmla="*/ 7823966 w 10768629"/>
              <a:gd name="connsiteY71" fmla="*/ 1143178 h 1978172"/>
              <a:gd name="connsiteX72" fmla="*/ 7815078 w 10768629"/>
              <a:gd name="connsiteY72" fmla="*/ 1151776 h 1978172"/>
              <a:gd name="connsiteX73" fmla="*/ 7812026 w 10768629"/>
              <a:gd name="connsiteY73" fmla="*/ 1151522 h 1978172"/>
              <a:gd name="connsiteX74" fmla="*/ 7782249 w 10768629"/>
              <a:gd name="connsiteY74" fmla="*/ 1160970 h 1978172"/>
              <a:gd name="connsiteX75" fmla="*/ 7773476 w 10768629"/>
              <a:gd name="connsiteY75" fmla="*/ 1157414 h 1978172"/>
              <a:gd name="connsiteX76" fmla="*/ 7769600 w 10768629"/>
              <a:gd name="connsiteY76" fmla="*/ 1157365 h 1978172"/>
              <a:gd name="connsiteX77" fmla="*/ 7752631 w 10768629"/>
              <a:gd name="connsiteY77" fmla="*/ 1172815 h 1978172"/>
              <a:gd name="connsiteX78" fmla="*/ 7739392 w 10768629"/>
              <a:gd name="connsiteY78" fmla="*/ 1192062 h 1978172"/>
              <a:gd name="connsiteX79" fmla="*/ 7677677 w 10768629"/>
              <a:gd name="connsiteY79" fmla="*/ 1216394 h 1978172"/>
              <a:gd name="connsiteX80" fmla="*/ 7586920 w 10768629"/>
              <a:gd name="connsiteY80" fmla="*/ 1261888 h 1978172"/>
              <a:gd name="connsiteX81" fmla="*/ 7486100 w 10768629"/>
              <a:gd name="connsiteY81" fmla="*/ 1292563 h 1978172"/>
              <a:gd name="connsiteX82" fmla="*/ 7411323 w 10768629"/>
              <a:gd name="connsiteY82" fmla="*/ 1340732 h 1978172"/>
              <a:gd name="connsiteX83" fmla="*/ 7240698 w 10768629"/>
              <a:gd name="connsiteY83" fmla="*/ 1438832 h 1978172"/>
              <a:gd name="connsiteX84" fmla="*/ 7197675 w 10768629"/>
              <a:gd name="connsiteY84" fmla="*/ 1447530 h 1978172"/>
              <a:gd name="connsiteX85" fmla="*/ 7164788 w 10768629"/>
              <a:gd name="connsiteY85" fmla="*/ 1480293 h 1978172"/>
              <a:gd name="connsiteX86" fmla="*/ 7147929 w 10768629"/>
              <a:gd name="connsiteY86" fmla="*/ 1477641 h 1978172"/>
              <a:gd name="connsiteX87" fmla="*/ 7144965 w 10768629"/>
              <a:gd name="connsiteY87" fmla="*/ 1476908 h 1978172"/>
              <a:gd name="connsiteX88" fmla="*/ 7134299 w 10768629"/>
              <a:gd name="connsiteY88" fmla="*/ 1479969 h 1978172"/>
              <a:gd name="connsiteX89" fmla="*/ 7129809 w 10768629"/>
              <a:gd name="connsiteY89" fmla="*/ 1473339 h 1978172"/>
              <a:gd name="connsiteX90" fmla="*/ 7112688 w 10768629"/>
              <a:gd name="connsiteY90" fmla="*/ 1472575 h 1978172"/>
              <a:gd name="connsiteX91" fmla="*/ 7093470 w 10768629"/>
              <a:gd name="connsiteY91" fmla="*/ 1480300 h 1978172"/>
              <a:gd name="connsiteX92" fmla="*/ 7025034 w 10768629"/>
              <a:gd name="connsiteY92" fmla="*/ 1506934 h 1978172"/>
              <a:gd name="connsiteX93" fmla="*/ 7014783 w 10768629"/>
              <a:gd name="connsiteY93" fmla="*/ 1515868 h 1978172"/>
              <a:gd name="connsiteX94" fmla="*/ 6979706 w 10768629"/>
              <a:gd name="connsiteY94" fmla="*/ 1523511 h 1978172"/>
              <a:gd name="connsiteX95" fmla="*/ 6977890 w 10768629"/>
              <a:gd name="connsiteY95" fmla="*/ 1525793 h 1978172"/>
              <a:gd name="connsiteX96" fmla="*/ 6944339 w 10768629"/>
              <a:gd name="connsiteY96" fmla="*/ 1536237 h 1978172"/>
              <a:gd name="connsiteX97" fmla="*/ 6886996 w 10768629"/>
              <a:gd name="connsiteY97" fmla="*/ 1563569 h 1978172"/>
              <a:gd name="connsiteX98" fmla="*/ 6874510 w 10768629"/>
              <a:gd name="connsiteY98" fmla="*/ 1558469 h 1978172"/>
              <a:gd name="connsiteX99" fmla="*/ 6871943 w 10768629"/>
              <a:gd name="connsiteY99" fmla="*/ 1554651 h 1978172"/>
              <a:gd name="connsiteX100" fmla="*/ 6856174 w 10768629"/>
              <a:gd name="connsiteY100" fmla="*/ 1562024 h 1978172"/>
              <a:gd name="connsiteX101" fmla="*/ 6842321 w 10768629"/>
              <a:gd name="connsiteY101" fmla="*/ 1560554 h 1978172"/>
              <a:gd name="connsiteX102" fmla="*/ 6832713 w 10768629"/>
              <a:gd name="connsiteY102" fmla="*/ 1569357 h 1978172"/>
              <a:gd name="connsiteX103" fmla="*/ 6816351 w 10768629"/>
              <a:gd name="connsiteY103" fmla="*/ 1571495 h 1978172"/>
              <a:gd name="connsiteX104" fmla="*/ 6795800 w 10768629"/>
              <a:gd name="connsiteY104" fmla="*/ 1572010 h 1978172"/>
              <a:gd name="connsiteX105" fmla="*/ 6777546 w 10768629"/>
              <a:gd name="connsiteY105" fmla="*/ 1568661 h 1978172"/>
              <a:gd name="connsiteX106" fmla="*/ 6751528 w 10768629"/>
              <a:gd name="connsiteY106" fmla="*/ 1574143 h 1978172"/>
              <a:gd name="connsiteX107" fmla="*/ 6691966 w 10768629"/>
              <a:gd name="connsiteY107" fmla="*/ 1582255 h 1978172"/>
              <a:gd name="connsiteX108" fmla="*/ 6646941 w 10768629"/>
              <a:gd name="connsiteY108" fmla="*/ 1588471 h 1978172"/>
              <a:gd name="connsiteX109" fmla="*/ 6568576 w 10768629"/>
              <a:gd name="connsiteY109" fmla="*/ 1606488 h 1978172"/>
              <a:gd name="connsiteX110" fmla="*/ 6554358 w 10768629"/>
              <a:gd name="connsiteY110" fmla="*/ 1621701 h 1978172"/>
              <a:gd name="connsiteX111" fmla="*/ 6516968 w 10768629"/>
              <a:gd name="connsiteY111" fmla="*/ 1617195 h 1978172"/>
              <a:gd name="connsiteX112" fmla="*/ 6506479 w 10768629"/>
              <a:gd name="connsiteY112" fmla="*/ 1602227 h 1978172"/>
              <a:gd name="connsiteX113" fmla="*/ 6458436 w 10768629"/>
              <a:gd name="connsiteY113" fmla="*/ 1607332 h 1978172"/>
              <a:gd name="connsiteX114" fmla="*/ 6414786 w 10768629"/>
              <a:gd name="connsiteY114" fmla="*/ 1628815 h 1978172"/>
              <a:gd name="connsiteX115" fmla="*/ 6357085 w 10768629"/>
              <a:gd name="connsiteY115" fmla="*/ 1640846 h 1978172"/>
              <a:gd name="connsiteX116" fmla="*/ 6322636 w 10768629"/>
              <a:gd name="connsiteY116" fmla="*/ 1648213 h 1978172"/>
              <a:gd name="connsiteX117" fmla="*/ 6226172 w 10768629"/>
              <a:gd name="connsiteY117" fmla="*/ 1654676 h 1978172"/>
              <a:gd name="connsiteX118" fmla="*/ 6221217 w 10768629"/>
              <a:gd name="connsiteY118" fmla="*/ 1654506 h 1978172"/>
              <a:gd name="connsiteX119" fmla="*/ 6204956 w 10768629"/>
              <a:gd name="connsiteY119" fmla="*/ 1664280 h 1978172"/>
              <a:gd name="connsiteX120" fmla="*/ 6204270 w 10768629"/>
              <a:gd name="connsiteY120" fmla="*/ 1666782 h 1978172"/>
              <a:gd name="connsiteX121" fmla="*/ 6143810 w 10768629"/>
              <a:gd name="connsiteY121" fmla="*/ 1661963 h 1978172"/>
              <a:gd name="connsiteX122" fmla="*/ 6136560 w 10768629"/>
              <a:gd name="connsiteY122" fmla="*/ 1665728 h 1978172"/>
              <a:gd name="connsiteX123" fmla="*/ 6096155 w 10768629"/>
              <a:gd name="connsiteY123" fmla="*/ 1656951 h 1978172"/>
              <a:gd name="connsiteX124" fmla="*/ 6075812 w 10768629"/>
              <a:gd name="connsiteY124" fmla="*/ 1655422 h 1978172"/>
              <a:gd name="connsiteX125" fmla="*/ 6039495 w 10768629"/>
              <a:gd name="connsiteY125" fmla="*/ 1649680 h 1978172"/>
              <a:gd name="connsiteX126" fmla="*/ 6036523 w 10768629"/>
              <a:gd name="connsiteY126" fmla="*/ 1652121 h 1978172"/>
              <a:gd name="connsiteX127" fmla="*/ 6029328 w 10768629"/>
              <a:gd name="connsiteY127" fmla="*/ 1649904 h 1978172"/>
              <a:gd name="connsiteX128" fmla="*/ 6024075 w 10768629"/>
              <a:gd name="connsiteY128" fmla="*/ 1652779 h 1978172"/>
              <a:gd name="connsiteX129" fmla="*/ 6018085 w 10768629"/>
              <a:gd name="connsiteY129" fmla="*/ 1652030 h 1978172"/>
              <a:gd name="connsiteX130" fmla="*/ 5955513 w 10768629"/>
              <a:gd name="connsiteY130" fmla="*/ 1663584 h 1978172"/>
              <a:gd name="connsiteX131" fmla="*/ 5941996 w 10768629"/>
              <a:gd name="connsiteY131" fmla="*/ 1661326 h 1978172"/>
              <a:gd name="connsiteX132" fmla="*/ 5931789 w 10768629"/>
              <a:gd name="connsiteY132" fmla="*/ 1669915 h 1978172"/>
              <a:gd name="connsiteX133" fmla="*/ 5888686 w 10768629"/>
              <a:gd name="connsiteY133" fmla="*/ 1672175 h 1978172"/>
              <a:gd name="connsiteX134" fmla="*/ 5873794 w 10768629"/>
              <a:gd name="connsiteY134" fmla="*/ 1665454 h 1978172"/>
              <a:gd name="connsiteX135" fmla="*/ 5860022 w 10768629"/>
              <a:gd name="connsiteY135" fmla="*/ 1660635 h 1978172"/>
              <a:gd name="connsiteX136" fmla="*/ 5858237 w 10768629"/>
              <a:gd name="connsiteY136" fmla="*/ 1660649 h 1978172"/>
              <a:gd name="connsiteX137" fmla="*/ 5840319 w 10768629"/>
              <a:gd name="connsiteY137" fmla="*/ 1660798 h 1978172"/>
              <a:gd name="connsiteX138" fmla="*/ 5806984 w 10768629"/>
              <a:gd name="connsiteY138" fmla="*/ 1661075 h 1978172"/>
              <a:gd name="connsiteX139" fmla="*/ 5742351 w 10768629"/>
              <a:gd name="connsiteY139" fmla="*/ 1667489 h 1978172"/>
              <a:gd name="connsiteX140" fmla="*/ 5521171 w 10768629"/>
              <a:gd name="connsiteY140" fmla="*/ 1671626 h 1978172"/>
              <a:gd name="connsiteX141" fmla="*/ 5457384 w 10768629"/>
              <a:gd name="connsiteY141" fmla="*/ 1683952 h 1978172"/>
              <a:gd name="connsiteX142" fmla="*/ 4950070 w 10768629"/>
              <a:gd name="connsiteY142" fmla="*/ 1748401 h 1978172"/>
              <a:gd name="connsiteX143" fmla="*/ 4872172 w 10768629"/>
              <a:gd name="connsiteY143" fmla="*/ 1757222 h 1978172"/>
              <a:gd name="connsiteX144" fmla="*/ 4809524 w 10768629"/>
              <a:gd name="connsiteY144" fmla="*/ 1761033 h 1978172"/>
              <a:gd name="connsiteX145" fmla="*/ 4759058 w 10768629"/>
              <a:gd name="connsiteY145" fmla="*/ 1766533 h 1978172"/>
              <a:gd name="connsiteX146" fmla="*/ 4719749 w 10768629"/>
              <a:gd name="connsiteY146" fmla="*/ 1771811 h 1978172"/>
              <a:gd name="connsiteX147" fmla="*/ 4568686 w 10768629"/>
              <a:gd name="connsiteY147" fmla="*/ 1786141 h 1978172"/>
              <a:gd name="connsiteX148" fmla="*/ 4418751 w 10768629"/>
              <a:gd name="connsiteY148" fmla="*/ 1796932 h 1978172"/>
              <a:gd name="connsiteX149" fmla="*/ 4378377 w 10768629"/>
              <a:gd name="connsiteY149" fmla="*/ 1815528 h 1978172"/>
              <a:gd name="connsiteX150" fmla="*/ 4320575 w 10768629"/>
              <a:gd name="connsiteY150" fmla="*/ 1832722 h 1978172"/>
              <a:gd name="connsiteX151" fmla="*/ 4220200 w 10768629"/>
              <a:gd name="connsiteY151" fmla="*/ 1873173 h 1978172"/>
              <a:gd name="connsiteX152" fmla="*/ 4105361 w 10768629"/>
              <a:gd name="connsiteY152" fmla="*/ 1894711 h 1978172"/>
              <a:gd name="connsiteX153" fmla="*/ 3973223 w 10768629"/>
              <a:gd name="connsiteY153" fmla="*/ 1881015 h 1978172"/>
              <a:gd name="connsiteX154" fmla="*/ 3900992 w 10768629"/>
              <a:gd name="connsiteY154" fmla="*/ 1880603 h 1978172"/>
              <a:gd name="connsiteX155" fmla="*/ 3662119 w 10768629"/>
              <a:gd name="connsiteY155" fmla="*/ 1889285 h 1978172"/>
              <a:gd name="connsiteX156" fmla="*/ 3496919 w 10768629"/>
              <a:gd name="connsiteY156" fmla="*/ 1873180 h 1978172"/>
              <a:gd name="connsiteX157" fmla="*/ 3449433 w 10768629"/>
              <a:gd name="connsiteY157" fmla="*/ 1889681 h 1978172"/>
              <a:gd name="connsiteX158" fmla="*/ 3369766 w 10768629"/>
              <a:gd name="connsiteY158" fmla="*/ 1916653 h 1978172"/>
              <a:gd name="connsiteX159" fmla="*/ 3269672 w 10768629"/>
              <a:gd name="connsiteY159" fmla="*/ 1938036 h 1978172"/>
              <a:gd name="connsiteX160" fmla="*/ 3224897 w 10768629"/>
              <a:gd name="connsiteY160" fmla="*/ 1943733 h 1978172"/>
              <a:gd name="connsiteX161" fmla="*/ 3161463 w 10768629"/>
              <a:gd name="connsiteY161" fmla="*/ 1946591 h 1978172"/>
              <a:gd name="connsiteX162" fmla="*/ 3112044 w 10768629"/>
              <a:gd name="connsiteY162" fmla="*/ 1935614 h 1978172"/>
              <a:gd name="connsiteX163" fmla="*/ 3069716 w 10768629"/>
              <a:gd name="connsiteY163" fmla="*/ 1930463 h 1978172"/>
              <a:gd name="connsiteX164" fmla="*/ 3005773 w 10768629"/>
              <a:gd name="connsiteY164" fmla="*/ 1915878 h 1978172"/>
              <a:gd name="connsiteX165" fmla="*/ 2897201 w 10768629"/>
              <a:gd name="connsiteY165" fmla="*/ 1926772 h 1978172"/>
              <a:gd name="connsiteX166" fmla="*/ 2783891 w 10768629"/>
              <a:gd name="connsiteY166" fmla="*/ 1931749 h 1978172"/>
              <a:gd name="connsiteX167" fmla="*/ 2712447 w 10768629"/>
              <a:gd name="connsiteY167" fmla="*/ 1933044 h 1978172"/>
              <a:gd name="connsiteX168" fmla="*/ 2560151 w 10768629"/>
              <a:gd name="connsiteY168" fmla="*/ 1963609 h 1978172"/>
              <a:gd name="connsiteX169" fmla="*/ 2367221 w 10768629"/>
              <a:gd name="connsiteY169" fmla="*/ 1971884 h 1978172"/>
              <a:gd name="connsiteX170" fmla="*/ 2272130 w 10768629"/>
              <a:gd name="connsiteY170" fmla="*/ 1961162 h 1978172"/>
              <a:gd name="connsiteX171" fmla="*/ 2189404 w 10768629"/>
              <a:gd name="connsiteY171" fmla="*/ 1978172 h 1978172"/>
              <a:gd name="connsiteX172" fmla="*/ 2077704 w 10768629"/>
              <a:gd name="connsiteY172" fmla="*/ 1965002 h 1978172"/>
              <a:gd name="connsiteX173" fmla="*/ 2033299 w 10768629"/>
              <a:gd name="connsiteY173" fmla="*/ 1969042 h 1978172"/>
              <a:gd name="connsiteX174" fmla="*/ 1967996 w 10768629"/>
              <a:gd name="connsiteY174" fmla="*/ 1953187 h 1978172"/>
              <a:gd name="connsiteX175" fmla="*/ 1855805 w 10768629"/>
              <a:gd name="connsiteY175" fmla="*/ 1926082 h 1978172"/>
              <a:gd name="connsiteX176" fmla="*/ 1790957 w 10768629"/>
              <a:gd name="connsiteY176" fmla="*/ 1919460 h 1978172"/>
              <a:gd name="connsiteX177" fmla="*/ 1613978 w 10768629"/>
              <a:gd name="connsiteY177" fmla="*/ 1891581 h 1978172"/>
              <a:gd name="connsiteX178" fmla="*/ 1436831 w 10768629"/>
              <a:gd name="connsiteY178" fmla="*/ 1856201 h 1978172"/>
              <a:gd name="connsiteX179" fmla="*/ 1357365 w 10768629"/>
              <a:gd name="connsiteY179" fmla="*/ 1832140 h 1978172"/>
              <a:gd name="connsiteX180" fmla="*/ 1232341 w 10768629"/>
              <a:gd name="connsiteY180" fmla="*/ 1785942 h 1978172"/>
              <a:gd name="connsiteX181" fmla="*/ 1162595 w 10768629"/>
              <a:gd name="connsiteY181" fmla="*/ 1758337 h 1978172"/>
              <a:gd name="connsiteX182" fmla="*/ 1128523 w 10768629"/>
              <a:gd name="connsiteY182" fmla="*/ 1763621 h 1978172"/>
              <a:gd name="connsiteX183" fmla="*/ 991903 w 10768629"/>
              <a:gd name="connsiteY183" fmla="*/ 1786741 h 1978172"/>
              <a:gd name="connsiteX184" fmla="*/ 883960 w 10768629"/>
              <a:gd name="connsiteY184" fmla="*/ 1822386 h 1978172"/>
              <a:gd name="connsiteX185" fmla="*/ 766531 w 10768629"/>
              <a:gd name="connsiteY185" fmla="*/ 1805053 h 1978172"/>
              <a:gd name="connsiteX186" fmla="*/ 669779 w 10768629"/>
              <a:gd name="connsiteY186" fmla="*/ 1800537 h 1978172"/>
              <a:gd name="connsiteX187" fmla="*/ 523898 w 10768629"/>
              <a:gd name="connsiteY187" fmla="*/ 1811085 h 1978172"/>
              <a:gd name="connsiteX188" fmla="*/ 360251 w 10768629"/>
              <a:gd name="connsiteY188" fmla="*/ 1830735 h 1978172"/>
              <a:gd name="connsiteX189" fmla="*/ 255207 w 10768629"/>
              <a:gd name="connsiteY189" fmla="*/ 1818275 h 1978172"/>
              <a:gd name="connsiteX190" fmla="*/ 101803 w 10768629"/>
              <a:gd name="connsiteY190" fmla="*/ 1870647 h 1978172"/>
              <a:gd name="connsiteX191" fmla="*/ 25397 w 10768629"/>
              <a:gd name="connsiteY191" fmla="*/ 1888443 h 1978172"/>
              <a:gd name="connsiteX192" fmla="*/ 2370 w 10768629"/>
              <a:gd name="connsiteY192" fmla="*/ 1878311 h 1978172"/>
              <a:gd name="connsiteX193" fmla="*/ 0 w 10768629"/>
              <a:gd name="connsiteY193" fmla="*/ 1878785 h 1978172"/>
              <a:gd name="connsiteX194" fmla="*/ 0 w 10768629"/>
              <a:gd name="connsiteY194" fmla="*/ 0 h 1978172"/>
              <a:gd name="connsiteX0" fmla="*/ 0 w 10768629"/>
              <a:gd name="connsiteY0" fmla="*/ 0 h 1978172"/>
              <a:gd name="connsiteX1" fmla="*/ 10768629 w 10768629"/>
              <a:gd name="connsiteY1" fmla="*/ 0 h 1978172"/>
              <a:gd name="connsiteX2" fmla="*/ 10733254 w 10768629"/>
              <a:gd name="connsiteY2" fmla="*/ 31439 h 1978172"/>
              <a:gd name="connsiteX3" fmla="*/ 10727085 w 10768629"/>
              <a:gd name="connsiteY3" fmla="*/ 37910 h 1978172"/>
              <a:gd name="connsiteX4" fmla="*/ 10675953 w 10768629"/>
              <a:gd name="connsiteY4" fmla="*/ 68623 h 1978172"/>
              <a:gd name="connsiteX5" fmla="*/ 10637091 w 10768629"/>
              <a:gd name="connsiteY5" fmla="*/ 90361 h 1978172"/>
              <a:gd name="connsiteX6" fmla="*/ 10610971 w 10768629"/>
              <a:gd name="connsiteY6" fmla="*/ 110764 h 1978172"/>
              <a:gd name="connsiteX7" fmla="*/ 10532872 w 10768629"/>
              <a:gd name="connsiteY7" fmla="*/ 138028 h 1978172"/>
              <a:gd name="connsiteX8" fmla="*/ 10398558 w 10768629"/>
              <a:gd name="connsiteY8" fmla="*/ 172911 h 1978172"/>
              <a:gd name="connsiteX9" fmla="*/ 10371128 w 10768629"/>
              <a:gd name="connsiteY9" fmla="*/ 182609 h 1978172"/>
              <a:gd name="connsiteX10" fmla="*/ 10352178 w 10768629"/>
              <a:gd name="connsiteY10" fmla="*/ 199976 h 1978172"/>
              <a:gd name="connsiteX11" fmla="*/ 10351815 w 10768629"/>
              <a:gd name="connsiteY11" fmla="*/ 211879 h 1978172"/>
              <a:gd name="connsiteX12" fmla="*/ 10337471 w 10768629"/>
              <a:gd name="connsiteY12" fmla="*/ 218661 h 1978172"/>
              <a:gd name="connsiteX13" fmla="*/ 10334625 w 10768629"/>
              <a:gd name="connsiteY13" fmla="*/ 222351 h 1978172"/>
              <a:gd name="connsiteX14" fmla="*/ 10256365 w 10768629"/>
              <a:gd name="connsiteY14" fmla="*/ 235917 h 1978172"/>
              <a:gd name="connsiteX15" fmla="*/ 10201127 w 10768629"/>
              <a:gd name="connsiteY15" fmla="*/ 267448 h 1978172"/>
              <a:gd name="connsiteX16" fmla="*/ 9961218 w 10768629"/>
              <a:gd name="connsiteY16" fmla="*/ 326720 h 1978172"/>
              <a:gd name="connsiteX17" fmla="*/ 9859715 w 10768629"/>
              <a:gd name="connsiteY17" fmla="*/ 355698 h 1978172"/>
              <a:gd name="connsiteX18" fmla="*/ 9679867 w 10768629"/>
              <a:gd name="connsiteY18" fmla="*/ 399081 h 1978172"/>
              <a:gd name="connsiteX19" fmla="*/ 9490654 w 10768629"/>
              <a:gd name="connsiteY19" fmla="*/ 455225 h 1978172"/>
              <a:gd name="connsiteX20" fmla="*/ 9470837 w 10768629"/>
              <a:gd name="connsiteY20" fmla="*/ 452539 h 1978172"/>
              <a:gd name="connsiteX21" fmla="*/ 9469082 w 10768629"/>
              <a:gd name="connsiteY21" fmla="*/ 454891 h 1978172"/>
              <a:gd name="connsiteX22" fmla="*/ 9448038 w 10768629"/>
              <a:gd name="connsiteY22" fmla="*/ 459733 h 1978172"/>
              <a:gd name="connsiteX23" fmla="*/ 9396821 w 10768629"/>
              <a:gd name="connsiteY23" fmla="*/ 455795 h 1978172"/>
              <a:gd name="connsiteX24" fmla="*/ 9392197 w 10768629"/>
              <a:gd name="connsiteY24" fmla="*/ 459796 h 1978172"/>
              <a:gd name="connsiteX25" fmla="*/ 9347994 w 10768629"/>
              <a:gd name="connsiteY25" fmla="*/ 464462 h 1978172"/>
              <a:gd name="connsiteX26" fmla="*/ 9347889 w 10768629"/>
              <a:gd name="connsiteY26" fmla="*/ 466539 h 1978172"/>
              <a:gd name="connsiteX27" fmla="*/ 9337639 w 10768629"/>
              <a:gd name="connsiteY27" fmla="*/ 476654 h 1978172"/>
              <a:gd name="connsiteX28" fmla="*/ 9287964 w 10768629"/>
              <a:gd name="connsiteY28" fmla="*/ 513052 h 1978172"/>
              <a:gd name="connsiteX29" fmla="*/ 9229283 w 10768629"/>
              <a:gd name="connsiteY29" fmla="*/ 555377 h 1978172"/>
              <a:gd name="connsiteX30" fmla="*/ 9220274 w 10768629"/>
              <a:gd name="connsiteY30" fmla="*/ 557502 h 1978172"/>
              <a:gd name="connsiteX31" fmla="*/ 9220202 w 10768629"/>
              <a:gd name="connsiteY31" fmla="*/ 558001 h 1978172"/>
              <a:gd name="connsiteX32" fmla="*/ 9210908 w 10768629"/>
              <a:gd name="connsiteY32" fmla="*/ 561147 h 1978172"/>
              <a:gd name="connsiteX33" fmla="*/ 9186374 w 10768629"/>
              <a:gd name="connsiteY33" fmla="*/ 565502 h 1978172"/>
              <a:gd name="connsiteX34" fmla="*/ 9181058 w 10768629"/>
              <a:gd name="connsiteY34" fmla="*/ 569943 h 1978172"/>
              <a:gd name="connsiteX35" fmla="*/ 9167549 w 10768629"/>
              <a:gd name="connsiteY35" fmla="*/ 584727 h 1978172"/>
              <a:gd name="connsiteX36" fmla="*/ 9149110 w 10768629"/>
              <a:gd name="connsiteY36" fmla="*/ 598906 h 1978172"/>
              <a:gd name="connsiteX37" fmla="*/ 9078556 w 10768629"/>
              <a:gd name="connsiteY37" fmla="*/ 644039 h 1978172"/>
              <a:gd name="connsiteX38" fmla="*/ 8996399 w 10768629"/>
              <a:gd name="connsiteY38" fmla="*/ 690055 h 1978172"/>
              <a:gd name="connsiteX39" fmla="*/ 8803791 w 10768629"/>
              <a:gd name="connsiteY39" fmla="*/ 813860 h 1978172"/>
              <a:gd name="connsiteX40" fmla="*/ 8636202 w 10768629"/>
              <a:gd name="connsiteY40" fmla="*/ 848463 h 1978172"/>
              <a:gd name="connsiteX41" fmla="*/ 8555372 w 10768629"/>
              <a:gd name="connsiteY41" fmla="*/ 883171 h 1978172"/>
              <a:gd name="connsiteX42" fmla="*/ 8507229 w 10768629"/>
              <a:gd name="connsiteY42" fmla="*/ 901665 h 1978172"/>
              <a:gd name="connsiteX43" fmla="*/ 8428473 w 10768629"/>
              <a:gd name="connsiteY43" fmla="*/ 927985 h 1978172"/>
              <a:gd name="connsiteX44" fmla="*/ 8427914 w 10768629"/>
              <a:gd name="connsiteY44" fmla="*/ 933480 h 1978172"/>
              <a:gd name="connsiteX45" fmla="*/ 8420327 w 10768629"/>
              <a:gd name="connsiteY45" fmla="*/ 941984 h 1978172"/>
              <a:gd name="connsiteX46" fmla="*/ 8394729 w 10768629"/>
              <a:gd name="connsiteY46" fmla="*/ 948347 h 1978172"/>
              <a:gd name="connsiteX47" fmla="*/ 8380548 w 10768629"/>
              <a:gd name="connsiteY47" fmla="*/ 987916 h 1978172"/>
              <a:gd name="connsiteX48" fmla="*/ 8375330 w 10768629"/>
              <a:gd name="connsiteY48" fmla="*/ 965444 h 1978172"/>
              <a:gd name="connsiteX49" fmla="*/ 8340796 w 10768629"/>
              <a:gd name="connsiteY49" fmla="*/ 980522 h 1978172"/>
              <a:gd name="connsiteX50" fmla="*/ 8304438 w 10768629"/>
              <a:gd name="connsiteY50" fmla="*/ 996739 h 1978172"/>
              <a:gd name="connsiteX51" fmla="*/ 8280929 w 10768629"/>
              <a:gd name="connsiteY51" fmla="*/ 1023089 h 1978172"/>
              <a:gd name="connsiteX52" fmla="*/ 8275760 w 10768629"/>
              <a:gd name="connsiteY52" fmla="*/ 1027772 h 1978172"/>
              <a:gd name="connsiteX53" fmla="*/ 8275478 w 10768629"/>
              <a:gd name="connsiteY53" fmla="*/ 1027605 h 1978172"/>
              <a:gd name="connsiteX54" fmla="*/ 8249003 w 10768629"/>
              <a:gd name="connsiteY54" fmla="*/ 1032033 h 1978172"/>
              <a:gd name="connsiteX55" fmla="*/ 8203836 w 10768629"/>
              <a:gd name="connsiteY55" fmla="*/ 1037347 h 1978172"/>
              <a:gd name="connsiteX56" fmla="*/ 8122936 w 10768629"/>
              <a:gd name="connsiteY56" fmla="*/ 1063113 h 1978172"/>
              <a:gd name="connsiteX57" fmla="*/ 8043658 w 10768629"/>
              <a:gd name="connsiteY57" fmla="*/ 1092746 h 1978172"/>
              <a:gd name="connsiteX58" fmla="*/ 8015351 w 10768629"/>
              <a:gd name="connsiteY58" fmla="*/ 1105478 h 1978172"/>
              <a:gd name="connsiteX59" fmla="*/ 7963145 w 10768629"/>
              <a:gd name="connsiteY59" fmla="*/ 1119346 h 1978172"/>
              <a:gd name="connsiteX60" fmla="*/ 7938145 w 10768629"/>
              <a:gd name="connsiteY60" fmla="*/ 1120225 h 1978172"/>
              <a:gd name="connsiteX61" fmla="*/ 7937238 w 10768629"/>
              <a:gd name="connsiteY61" fmla="*/ 1121204 h 1978172"/>
              <a:gd name="connsiteX62" fmla="*/ 7934398 w 10768629"/>
              <a:gd name="connsiteY62" fmla="*/ 1118240 h 1978172"/>
              <a:gd name="connsiteX63" fmla="*/ 7918248 w 10768629"/>
              <a:gd name="connsiteY63" fmla="*/ 1124371 h 1978172"/>
              <a:gd name="connsiteX64" fmla="*/ 7914119 w 10768629"/>
              <a:gd name="connsiteY64" fmla="*/ 1127653 h 1978172"/>
              <a:gd name="connsiteX65" fmla="*/ 7907658 w 10768629"/>
              <a:gd name="connsiteY65" fmla="*/ 1130350 h 1978172"/>
              <a:gd name="connsiteX66" fmla="*/ 7907434 w 10768629"/>
              <a:gd name="connsiteY66" fmla="*/ 1130103 h 1978172"/>
              <a:gd name="connsiteX67" fmla="*/ 7901508 w 10768629"/>
              <a:gd name="connsiteY67" fmla="*/ 1133245 h 1978172"/>
              <a:gd name="connsiteX68" fmla="*/ 7873287 w 10768629"/>
              <a:gd name="connsiteY68" fmla="*/ 1152609 h 1978172"/>
              <a:gd name="connsiteX69" fmla="*/ 7834833 w 10768629"/>
              <a:gd name="connsiteY69" fmla="*/ 1153868 h 1978172"/>
              <a:gd name="connsiteX70" fmla="*/ 7828661 w 10768629"/>
              <a:gd name="connsiteY70" fmla="*/ 1139994 h 1978172"/>
              <a:gd name="connsiteX71" fmla="*/ 7823966 w 10768629"/>
              <a:gd name="connsiteY71" fmla="*/ 1143178 h 1978172"/>
              <a:gd name="connsiteX72" fmla="*/ 7815078 w 10768629"/>
              <a:gd name="connsiteY72" fmla="*/ 1151776 h 1978172"/>
              <a:gd name="connsiteX73" fmla="*/ 7812026 w 10768629"/>
              <a:gd name="connsiteY73" fmla="*/ 1151522 h 1978172"/>
              <a:gd name="connsiteX74" fmla="*/ 7782249 w 10768629"/>
              <a:gd name="connsiteY74" fmla="*/ 1160970 h 1978172"/>
              <a:gd name="connsiteX75" fmla="*/ 7773476 w 10768629"/>
              <a:gd name="connsiteY75" fmla="*/ 1157414 h 1978172"/>
              <a:gd name="connsiteX76" fmla="*/ 7769600 w 10768629"/>
              <a:gd name="connsiteY76" fmla="*/ 1157365 h 1978172"/>
              <a:gd name="connsiteX77" fmla="*/ 7752631 w 10768629"/>
              <a:gd name="connsiteY77" fmla="*/ 1172815 h 1978172"/>
              <a:gd name="connsiteX78" fmla="*/ 7739392 w 10768629"/>
              <a:gd name="connsiteY78" fmla="*/ 1192062 h 1978172"/>
              <a:gd name="connsiteX79" fmla="*/ 7677677 w 10768629"/>
              <a:gd name="connsiteY79" fmla="*/ 1216394 h 1978172"/>
              <a:gd name="connsiteX80" fmla="*/ 7586920 w 10768629"/>
              <a:gd name="connsiteY80" fmla="*/ 1261888 h 1978172"/>
              <a:gd name="connsiteX81" fmla="*/ 7486100 w 10768629"/>
              <a:gd name="connsiteY81" fmla="*/ 1292563 h 1978172"/>
              <a:gd name="connsiteX82" fmla="*/ 7411323 w 10768629"/>
              <a:gd name="connsiteY82" fmla="*/ 1340732 h 1978172"/>
              <a:gd name="connsiteX83" fmla="*/ 7240698 w 10768629"/>
              <a:gd name="connsiteY83" fmla="*/ 1438832 h 1978172"/>
              <a:gd name="connsiteX84" fmla="*/ 7197675 w 10768629"/>
              <a:gd name="connsiteY84" fmla="*/ 1447530 h 1978172"/>
              <a:gd name="connsiteX85" fmla="*/ 7164788 w 10768629"/>
              <a:gd name="connsiteY85" fmla="*/ 1480293 h 1978172"/>
              <a:gd name="connsiteX86" fmla="*/ 7147929 w 10768629"/>
              <a:gd name="connsiteY86" fmla="*/ 1477641 h 1978172"/>
              <a:gd name="connsiteX87" fmla="*/ 7144965 w 10768629"/>
              <a:gd name="connsiteY87" fmla="*/ 1476908 h 1978172"/>
              <a:gd name="connsiteX88" fmla="*/ 7134299 w 10768629"/>
              <a:gd name="connsiteY88" fmla="*/ 1479969 h 1978172"/>
              <a:gd name="connsiteX89" fmla="*/ 7129809 w 10768629"/>
              <a:gd name="connsiteY89" fmla="*/ 1473339 h 1978172"/>
              <a:gd name="connsiteX90" fmla="*/ 7112688 w 10768629"/>
              <a:gd name="connsiteY90" fmla="*/ 1472575 h 1978172"/>
              <a:gd name="connsiteX91" fmla="*/ 7093470 w 10768629"/>
              <a:gd name="connsiteY91" fmla="*/ 1480300 h 1978172"/>
              <a:gd name="connsiteX92" fmla="*/ 7025034 w 10768629"/>
              <a:gd name="connsiteY92" fmla="*/ 1506934 h 1978172"/>
              <a:gd name="connsiteX93" fmla="*/ 7014783 w 10768629"/>
              <a:gd name="connsiteY93" fmla="*/ 1515868 h 1978172"/>
              <a:gd name="connsiteX94" fmla="*/ 6979706 w 10768629"/>
              <a:gd name="connsiteY94" fmla="*/ 1523511 h 1978172"/>
              <a:gd name="connsiteX95" fmla="*/ 6977890 w 10768629"/>
              <a:gd name="connsiteY95" fmla="*/ 1525793 h 1978172"/>
              <a:gd name="connsiteX96" fmla="*/ 6944339 w 10768629"/>
              <a:gd name="connsiteY96" fmla="*/ 1536237 h 1978172"/>
              <a:gd name="connsiteX97" fmla="*/ 6886996 w 10768629"/>
              <a:gd name="connsiteY97" fmla="*/ 1563569 h 1978172"/>
              <a:gd name="connsiteX98" fmla="*/ 6874510 w 10768629"/>
              <a:gd name="connsiteY98" fmla="*/ 1558469 h 1978172"/>
              <a:gd name="connsiteX99" fmla="*/ 6871943 w 10768629"/>
              <a:gd name="connsiteY99" fmla="*/ 1554651 h 1978172"/>
              <a:gd name="connsiteX100" fmla="*/ 6856174 w 10768629"/>
              <a:gd name="connsiteY100" fmla="*/ 1562024 h 1978172"/>
              <a:gd name="connsiteX101" fmla="*/ 6842321 w 10768629"/>
              <a:gd name="connsiteY101" fmla="*/ 1560554 h 1978172"/>
              <a:gd name="connsiteX102" fmla="*/ 6832713 w 10768629"/>
              <a:gd name="connsiteY102" fmla="*/ 1569357 h 1978172"/>
              <a:gd name="connsiteX103" fmla="*/ 6816351 w 10768629"/>
              <a:gd name="connsiteY103" fmla="*/ 1571495 h 1978172"/>
              <a:gd name="connsiteX104" fmla="*/ 6795800 w 10768629"/>
              <a:gd name="connsiteY104" fmla="*/ 1572010 h 1978172"/>
              <a:gd name="connsiteX105" fmla="*/ 6777546 w 10768629"/>
              <a:gd name="connsiteY105" fmla="*/ 1568661 h 1978172"/>
              <a:gd name="connsiteX106" fmla="*/ 6751528 w 10768629"/>
              <a:gd name="connsiteY106" fmla="*/ 1574143 h 1978172"/>
              <a:gd name="connsiteX107" fmla="*/ 6691966 w 10768629"/>
              <a:gd name="connsiteY107" fmla="*/ 1582255 h 1978172"/>
              <a:gd name="connsiteX108" fmla="*/ 6646941 w 10768629"/>
              <a:gd name="connsiteY108" fmla="*/ 1588471 h 1978172"/>
              <a:gd name="connsiteX109" fmla="*/ 6568576 w 10768629"/>
              <a:gd name="connsiteY109" fmla="*/ 1606488 h 1978172"/>
              <a:gd name="connsiteX110" fmla="*/ 6554358 w 10768629"/>
              <a:gd name="connsiteY110" fmla="*/ 1621701 h 1978172"/>
              <a:gd name="connsiteX111" fmla="*/ 6516968 w 10768629"/>
              <a:gd name="connsiteY111" fmla="*/ 1617195 h 1978172"/>
              <a:gd name="connsiteX112" fmla="*/ 6506479 w 10768629"/>
              <a:gd name="connsiteY112" fmla="*/ 1602227 h 1978172"/>
              <a:gd name="connsiteX113" fmla="*/ 6458436 w 10768629"/>
              <a:gd name="connsiteY113" fmla="*/ 1607332 h 1978172"/>
              <a:gd name="connsiteX114" fmla="*/ 6414786 w 10768629"/>
              <a:gd name="connsiteY114" fmla="*/ 1628815 h 1978172"/>
              <a:gd name="connsiteX115" fmla="*/ 6357085 w 10768629"/>
              <a:gd name="connsiteY115" fmla="*/ 1640846 h 1978172"/>
              <a:gd name="connsiteX116" fmla="*/ 6322636 w 10768629"/>
              <a:gd name="connsiteY116" fmla="*/ 1648213 h 1978172"/>
              <a:gd name="connsiteX117" fmla="*/ 6226172 w 10768629"/>
              <a:gd name="connsiteY117" fmla="*/ 1654676 h 1978172"/>
              <a:gd name="connsiteX118" fmla="*/ 6221217 w 10768629"/>
              <a:gd name="connsiteY118" fmla="*/ 1654506 h 1978172"/>
              <a:gd name="connsiteX119" fmla="*/ 6204956 w 10768629"/>
              <a:gd name="connsiteY119" fmla="*/ 1664280 h 1978172"/>
              <a:gd name="connsiteX120" fmla="*/ 6204270 w 10768629"/>
              <a:gd name="connsiteY120" fmla="*/ 1666782 h 1978172"/>
              <a:gd name="connsiteX121" fmla="*/ 6143810 w 10768629"/>
              <a:gd name="connsiteY121" fmla="*/ 1661963 h 1978172"/>
              <a:gd name="connsiteX122" fmla="*/ 6136560 w 10768629"/>
              <a:gd name="connsiteY122" fmla="*/ 1665728 h 1978172"/>
              <a:gd name="connsiteX123" fmla="*/ 6096155 w 10768629"/>
              <a:gd name="connsiteY123" fmla="*/ 1656951 h 1978172"/>
              <a:gd name="connsiteX124" fmla="*/ 6075812 w 10768629"/>
              <a:gd name="connsiteY124" fmla="*/ 1655422 h 1978172"/>
              <a:gd name="connsiteX125" fmla="*/ 6039495 w 10768629"/>
              <a:gd name="connsiteY125" fmla="*/ 1649680 h 1978172"/>
              <a:gd name="connsiteX126" fmla="*/ 6036523 w 10768629"/>
              <a:gd name="connsiteY126" fmla="*/ 1652121 h 1978172"/>
              <a:gd name="connsiteX127" fmla="*/ 6029328 w 10768629"/>
              <a:gd name="connsiteY127" fmla="*/ 1649904 h 1978172"/>
              <a:gd name="connsiteX128" fmla="*/ 6024075 w 10768629"/>
              <a:gd name="connsiteY128" fmla="*/ 1652779 h 1978172"/>
              <a:gd name="connsiteX129" fmla="*/ 6018085 w 10768629"/>
              <a:gd name="connsiteY129" fmla="*/ 1652030 h 1978172"/>
              <a:gd name="connsiteX130" fmla="*/ 5955513 w 10768629"/>
              <a:gd name="connsiteY130" fmla="*/ 1663584 h 1978172"/>
              <a:gd name="connsiteX131" fmla="*/ 5941996 w 10768629"/>
              <a:gd name="connsiteY131" fmla="*/ 1661326 h 1978172"/>
              <a:gd name="connsiteX132" fmla="*/ 5931789 w 10768629"/>
              <a:gd name="connsiteY132" fmla="*/ 1669915 h 1978172"/>
              <a:gd name="connsiteX133" fmla="*/ 5888686 w 10768629"/>
              <a:gd name="connsiteY133" fmla="*/ 1672175 h 1978172"/>
              <a:gd name="connsiteX134" fmla="*/ 5873794 w 10768629"/>
              <a:gd name="connsiteY134" fmla="*/ 1665454 h 1978172"/>
              <a:gd name="connsiteX135" fmla="*/ 5860022 w 10768629"/>
              <a:gd name="connsiteY135" fmla="*/ 1660635 h 1978172"/>
              <a:gd name="connsiteX136" fmla="*/ 5858237 w 10768629"/>
              <a:gd name="connsiteY136" fmla="*/ 1660649 h 1978172"/>
              <a:gd name="connsiteX137" fmla="*/ 5840319 w 10768629"/>
              <a:gd name="connsiteY137" fmla="*/ 1660798 h 1978172"/>
              <a:gd name="connsiteX138" fmla="*/ 5806984 w 10768629"/>
              <a:gd name="connsiteY138" fmla="*/ 1661075 h 1978172"/>
              <a:gd name="connsiteX139" fmla="*/ 5742351 w 10768629"/>
              <a:gd name="connsiteY139" fmla="*/ 1667489 h 1978172"/>
              <a:gd name="connsiteX140" fmla="*/ 5521171 w 10768629"/>
              <a:gd name="connsiteY140" fmla="*/ 1671626 h 1978172"/>
              <a:gd name="connsiteX141" fmla="*/ 5457384 w 10768629"/>
              <a:gd name="connsiteY141" fmla="*/ 1683952 h 1978172"/>
              <a:gd name="connsiteX142" fmla="*/ 4950070 w 10768629"/>
              <a:gd name="connsiteY142" fmla="*/ 1748401 h 1978172"/>
              <a:gd name="connsiteX143" fmla="*/ 4872172 w 10768629"/>
              <a:gd name="connsiteY143" fmla="*/ 1757222 h 1978172"/>
              <a:gd name="connsiteX144" fmla="*/ 4809524 w 10768629"/>
              <a:gd name="connsiteY144" fmla="*/ 1761033 h 1978172"/>
              <a:gd name="connsiteX145" fmla="*/ 4759058 w 10768629"/>
              <a:gd name="connsiteY145" fmla="*/ 1766533 h 1978172"/>
              <a:gd name="connsiteX146" fmla="*/ 4719749 w 10768629"/>
              <a:gd name="connsiteY146" fmla="*/ 1771811 h 1978172"/>
              <a:gd name="connsiteX147" fmla="*/ 4568686 w 10768629"/>
              <a:gd name="connsiteY147" fmla="*/ 1786141 h 1978172"/>
              <a:gd name="connsiteX148" fmla="*/ 4418751 w 10768629"/>
              <a:gd name="connsiteY148" fmla="*/ 1796932 h 1978172"/>
              <a:gd name="connsiteX149" fmla="*/ 4378377 w 10768629"/>
              <a:gd name="connsiteY149" fmla="*/ 1815528 h 1978172"/>
              <a:gd name="connsiteX150" fmla="*/ 4320575 w 10768629"/>
              <a:gd name="connsiteY150" fmla="*/ 1832722 h 1978172"/>
              <a:gd name="connsiteX151" fmla="*/ 4220200 w 10768629"/>
              <a:gd name="connsiteY151" fmla="*/ 1873173 h 1978172"/>
              <a:gd name="connsiteX152" fmla="*/ 4105361 w 10768629"/>
              <a:gd name="connsiteY152" fmla="*/ 1894711 h 1978172"/>
              <a:gd name="connsiteX153" fmla="*/ 3973223 w 10768629"/>
              <a:gd name="connsiteY153" fmla="*/ 1881015 h 1978172"/>
              <a:gd name="connsiteX154" fmla="*/ 3900992 w 10768629"/>
              <a:gd name="connsiteY154" fmla="*/ 1880603 h 1978172"/>
              <a:gd name="connsiteX155" fmla="*/ 3662119 w 10768629"/>
              <a:gd name="connsiteY155" fmla="*/ 1889285 h 1978172"/>
              <a:gd name="connsiteX156" fmla="*/ 3496919 w 10768629"/>
              <a:gd name="connsiteY156" fmla="*/ 1873180 h 1978172"/>
              <a:gd name="connsiteX157" fmla="*/ 3449433 w 10768629"/>
              <a:gd name="connsiteY157" fmla="*/ 1889681 h 1978172"/>
              <a:gd name="connsiteX158" fmla="*/ 3369766 w 10768629"/>
              <a:gd name="connsiteY158" fmla="*/ 1916653 h 1978172"/>
              <a:gd name="connsiteX159" fmla="*/ 3269672 w 10768629"/>
              <a:gd name="connsiteY159" fmla="*/ 1938036 h 1978172"/>
              <a:gd name="connsiteX160" fmla="*/ 3224897 w 10768629"/>
              <a:gd name="connsiteY160" fmla="*/ 1943733 h 1978172"/>
              <a:gd name="connsiteX161" fmla="*/ 3161463 w 10768629"/>
              <a:gd name="connsiteY161" fmla="*/ 1946591 h 1978172"/>
              <a:gd name="connsiteX162" fmla="*/ 3112044 w 10768629"/>
              <a:gd name="connsiteY162" fmla="*/ 1935614 h 1978172"/>
              <a:gd name="connsiteX163" fmla="*/ 3069716 w 10768629"/>
              <a:gd name="connsiteY163" fmla="*/ 1930463 h 1978172"/>
              <a:gd name="connsiteX164" fmla="*/ 3005773 w 10768629"/>
              <a:gd name="connsiteY164" fmla="*/ 1915878 h 1978172"/>
              <a:gd name="connsiteX165" fmla="*/ 2897201 w 10768629"/>
              <a:gd name="connsiteY165" fmla="*/ 1926772 h 1978172"/>
              <a:gd name="connsiteX166" fmla="*/ 2783891 w 10768629"/>
              <a:gd name="connsiteY166" fmla="*/ 1931749 h 1978172"/>
              <a:gd name="connsiteX167" fmla="*/ 2712447 w 10768629"/>
              <a:gd name="connsiteY167" fmla="*/ 1933044 h 1978172"/>
              <a:gd name="connsiteX168" fmla="*/ 2560151 w 10768629"/>
              <a:gd name="connsiteY168" fmla="*/ 1963609 h 1978172"/>
              <a:gd name="connsiteX169" fmla="*/ 2367221 w 10768629"/>
              <a:gd name="connsiteY169" fmla="*/ 1971884 h 1978172"/>
              <a:gd name="connsiteX170" fmla="*/ 2272130 w 10768629"/>
              <a:gd name="connsiteY170" fmla="*/ 1961162 h 1978172"/>
              <a:gd name="connsiteX171" fmla="*/ 2189404 w 10768629"/>
              <a:gd name="connsiteY171" fmla="*/ 1978172 h 1978172"/>
              <a:gd name="connsiteX172" fmla="*/ 2077704 w 10768629"/>
              <a:gd name="connsiteY172" fmla="*/ 1965002 h 1978172"/>
              <a:gd name="connsiteX173" fmla="*/ 2033299 w 10768629"/>
              <a:gd name="connsiteY173" fmla="*/ 1969042 h 1978172"/>
              <a:gd name="connsiteX174" fmla="*/ 1967996 w 10768629"/>
              <a:gd name="connsiteY174" fmla="*/ 1953187 h 1978172"/>
              <a:gd name="connsiteX175" fmla="*/ 1855805 w 10768629"/>
              <a:gd name="connsiteY175" fmla="*/ 1926082 h 1978172"/>
              <a:gd name="connsiteX176" fmla="*/ 1790957 w 10768629"/>
              <a:gd name="connsiteY176" fmla="*/ 1919460 h 1978172"/>
              <a:gd name="connsiteX177" fmla="*/ 1613978 w 10768629"/>
              <a:gd name="connsiteY177" fmla="*/ 1891581 h 1978172"/>
              <a:gd name="connsiteX178" fmla="*/ 1436831 w 10768629"/>
              <a:gd name="connsiteY178" fmla="*/ 1856201 h 1978172"/>
              <a:gd name="connsiteX179" fmla="*/ 1357365 w 10768629"/>
              <a:gd name="connsiteY179" fmla="*/ 1832140 h 1978172"/>
              <a:gd name="connsiteX180" fmla="*/ 1232341 w 10768629"/>
              <a:gd name="connsiteY180" fmla="*/ 1785942 h 1978172"/>
              <a:gd name="connsiteX181" fmla="*/ 1162595 w 10768629"/>
              <a:gd name="connsiteY181" fmla="*/ 1758337 h 1978172"/>
              <a:gd name="connsiteX182" fmla="*/ 1128523 w 10768629"/>
              <a:gd name="connsiteY182" fmla="*/ 1763621 h 1978172"/>
              <a:gd name="connsiteX183" fmla="*/ 991903 w 10768629"/>
              <a:gd name="connsiteY183" fmla="*/ 1786741 h 1978172"/>
              <a:gd name="connsiteX184" fmla="*/ 883960 w 10768629"/>
              <a:gd name="connsiteY184" fmla="*/ 1822386 h 1978172"/>
              <a:gd name="connsiteX185" fmla="*/ 766531 w 10768629"/>
              <a:gd name="connsiteY185" fmla="*/ 1805053 h 1978172"/>
              <a:gd name="connsiteX186" fmla="*/ 669779 w 10768629"/>
              <a:gd name="connsiteY186" fmla="*/ 1800537 h 1978172"/>
              <a:gd name="connsiteX187" fmla="*/ 523898 w 10768629"/>
              <a:gd name="connsiteY187" fmla="*/ 1811085 h 1978172"/>
              <a:gd name="connsiteX188" fmla="*/ 360251 w 10768629"/>
              <a:gd name="connsiteY188" fmla="*/ 1830735 h 1978172"/>
              <a:gd name="connsiteX189" fmla="*/ 255207 w 10768629"/>
              <a:gd name="connsiteY189" fmla="*/ 1818275 h 1978172"/>
              <a:gd name="connsiteX190" fmla="*/ 101803 w 10768629"/>
              <a:gd name="connsiteY190" fmla="*/ 1870647 h 1978172"/>
              <a:gd name="connsiteX191" fmla="*/ 25397 w 10768629"/>
              <a:gd name="connsiteY191" fmla="*/ 1888443 h 1978172"/>
              <a:gd name="connsiteX192" fmla="*/ 2370 w 10768629"/>
              <a:gd name="connsiteY192" fmla="*/ 1878311 h 1978172"/>
              <a:gd name="connsiteX193" fmla="*/ 0 w 10768629"/>
              <a:gd name="connsiteY193" fmla="*/ 1878785 h 1978172"/>
              <a:gd name="connsiteX194" fmla="*/ 0 w 10768629"/>
              <a:gd name="connsiteY194" fmla="*/ 0 h 1978172"/>
              <a:gd name="connsiteX0" fmla="*/ 0 w 10768629"/>
              <a:gd name="connsiteY0" fmla="*/ 0 h 1978172"/>
              <a:gd name="connsiteX1" fmla="*/ 10768629 w 10768629"/>
              <a:gd name="connsiteY1" fmla="*/ 0 h 1978172"/>
              <a:gd name="connsiteX2" fmla="*/ 10733254 w 10768629"/>
              <a:gd name="connsiteY2" fmla="*/ 31439 h 1978172"/>
              <a:gd name="connsiteX3" fmla="*/ 10727085 w 10768629"/>
              <a:gd name="connsiteY3" fmla="*/ 37910 h 1978172"/>
              <a:gd name="connsiteX4" fmla="*/ 10675953 w 10768629"/>
              <a:gd name="connsiteY4" fmla="*/ 68623 h 1978172"/>
              <a:gd name="connsiteX5" fmla="*/ 10637091 w 10768629"/>
              <a:gd name="connsiteY5" fmla="*/ 90361 h 1978172"/>
              <a:gd name="connsiteX6" fmla="*/ 10610971 w 10768629"/>
              <a:gd name="connsiteY6" fmla="*/ 110764 h 1978172"/>
              <a:gd name="connsiteX7" fmla="*/ 10532872 w 10768629"/>
              <a:gd name="connsiteY7" fmla="*/ 138028 h 1978172"/>
              <a:gd name="connsiteX8" fmla="*/ 10398558 w 10768629"/>
              <a:gd name="connsiteY8" fmla="*/ 172911 h 1978172"/>
              <a:gd name="connsiteX9" fmla="*/ 10371128 w 10768629"/>
              <a:gd name="connsiteY9" fmla="*/ 182609 h 1978172"/>
              <a:gd name="connsiteX10" fmla="*/ 10352178 w 10768629"/>
              <a:gd name="connsiteY10" fmla="*/ 199976 h 1978172"/>
              <a:gd name="connsiteX11" fmla="*/ 10351815 w 10768629"/>
              <a:gd name="connsiteY11" fmla="*/ 211879 h 1978172"/>
              <a:gd name="connsiteX12" fmla="*/ 10337471 w 10768629"/>
              <a:gd name="connsiteY12" fmla="*/ 218661 h 1978172"/>
              <a:gd name="connsiteX13" fmla="*/ 10334625 w 10768629"/>
              <a:gd name="connsiteY13" fmla="*/ 222351 h 1978172"/>
              <a:gd name="connsiteX14" fmla="*/ 10256365 w 10768629"/>
              <a:gd name="connsiteY14" fmla="*/ 235917 h 1978172"/>
              <a:gd name="connsiteX15" fmla="*/ 10201127 w 10768629"/>
              <a:gd name="connsiteY15" fmla="*/ 267448 h 1978172"/>
              <a:gd name="connsiteX16" fmla="*/ 9961218 w 10768629"/>
              <a:gd name="connsiteY16" fmla="*/ 326720 h 1978172"/>
              <a:gd name="connsiteX17" fmla="*/ 9859715 w 10768629"/>
              <a:gd name="connsiteY17" fmla="*/ 355698 h 1978172"/>
              <a:gd name="connsiteX18" fmla="*/ 9679867 w 10768629"/>
              <a:gd name="connsiteY18" fmla="*/ 399081 h 1978172"/>
              <a:gd name="connsiteX19" fmla="*/ 9490654 w 10768629"/>
              <a:gd name="connsiteY19" fmla="*/ 455225 h 1978172"/>
              <a:gd name="connsiteX20" fmla="*/ 9470837 w 10768629"/>
              <a:gd name="connsiteY20" fmla="*/ 452539 h 1978172"/>
              <a:gd name="connsiteX21" fmla="*/ 9469082 w 10768629"/>
              <a:gd name="connsiteY21" fmla="*/ 454891 h 1978172"/>
              <a:gd name="connsiteX22" fmla="*/ 9448038 w 10768629"/>
              <a:gd name="connsiteY22" fmla="*/ 459733 h 1978172"/>
              <a:gd name="connsiteX23" fmla="*/ 9396821 w 10768629"/>
              <a:gd name="connsiteY23" fmla="*/ 455795 h 1978172"/>
              <a:gd name="connsiteX24" fmla="*/ 9392197 w 10768629"/>
              <a:gd name="connsiteY24" fmla="*/ 459796 h 1978172"/>
              <a:gd name="connsiteX25" fmla="*/ 9347994 w 10768629"/>
              <a:gd name="connsiteY25" fmla="*/ 464462 h 1978172"/>
              <a:gd name="connsiteX26" fmla="*/ 9347889 w 10768629"/>
              <a:gd name="connsiteY26" fmla="*/ 466539 h 1978172"/>
              <a:gd name="connsiteX27" fmla="*/ 9337639 w 10768629"/>
              <a:gd name="connsiteY27" fmla="*/ 476654 h 1978172"/>
              <a:gd name="connsiteX28" fmla="*/ 9287964 w 10768629"/>
              <a:gd name="connsiteY28" fmla="*/ 513052 h 1978172"/>
              <a:gd name="connsiteX29" fmla="*/ 9229283 w 10768629"/>
              <a:gd name="connsiteY29" fmla="*/ 555377 h 1978172"/>
              <a:gd name="connsiteX30" fmla="*/ 9220274 w 10768629"/>
              <a:gd name="connsiteY30" fmla="*/ 557502 h 1978172"/>
              <a:gd name="connsiteX31" fmla="*/ 9220202 w 10768629"/>
              <a:gd name="connsiteY31" fmla="*/ 558001 h 1978172"/>
              <a:gd name="connsiteX32" fmla="*/ 9210908 w 10768629"/>
              <a:gd name="connsiteY32" fmla="*/ 561147 h 1978172"/>
              <a:gd name="connsiteX33" fmla="*/ 9186374 w 10768629"/>
              <a:gd name="connsiteY33" fmla="*/ 565502 h 1978172"/>
              <a:gd name="connsiteX34" fmla="*/ 9181058 w 10768629"/>
              <a:gd name="connsiteY34" fmla="*/ 569943 h 1978172"/>
              <a:gd name="connsiteX35" fmla="*/ 9167549 w 10768629"/>
              <a:gd name="connsiteY35" fmla="*/ 584727 h 1978172"/>
              <a:gd name="connsiteX36" fmla="*/ 9149110 w 10768629"/>
              <a:gd name="connsiteY36" fmla="*/ 598906 h 1978172"/>
              <a:gd name="connsiteX37" fmla="*/ 9078556 w 10768629"/>
              <a:gd name="connsiteY37" fmla="*/ 644039 h 1978172"/>
              <a:gd name="connsiteX38" fmla="*/ 8996399 w 10768629"/>
              <a:gd name="connsiteY38" fmla="*/ 690055 h 1978172"/>
              <a:gd name="connsiteX39" fmla="*/ 8803791 w 10768629"/>
              <a:gd name="connsiteY39" fmla="*/ 813860 h 1978172"/>
              <a:gd name="connsiteX40" fmla="*/ 8636202 w 10768629"/>
              <a:gd name="connsiteY40" fmla="*/ 848463 h 1978172"/>
              <a:gd name="connsiteX41" fmla="*/ 8555372 w 10768629"/>
              <a:gd name="connsiteY41" fmla="*/ 883171 h 1978172"/>
              <a:gd name="connsiteX42" fmla="*/ 8507229 w 10768629"/>
              <a:gd name="connsiteY42" fmla="*/ 901665 h 1978172"/>
              <a:gd name="connsiteX43" fmla="*/ 8428473 w 10768629"/>
              <a:gd name="connsiteY43" fmla="*/ 927985 h 1978172"/>
              <a:gd name="connsiteX44" fmla="*/ 8427914 w 10768629"/>
              <a:gd name="connsiteY44" fmla="*/ 933480 h 1978172"/>
              <a:gd name="connsiteX45" fmla="*/ 8420327 w 10768629"/>
              <a:gd name="connsiteY45" fmla="*/ 941984 h 1978172"/>
              <a:gd name="connsiteX46" fmla="*/ 8394729 w 10768629"/>
              <a:gd name="connsiteY46" fmla="*/ 948347 h 1978172"/>
              <a:gd name="connsiteX47" fmla="*/ 8380548 w 10768629"/>
              <a:gd name="connsiteY47" fmla="*/ 987916 h 1978172"/>
              <a:gd name="connsiteX48" fmla="*/ 8375330 w 10768629"/>
              <a:gd name="connsiteY48" fmla="*/ 965444 h 1978172"/>
              <a:gd name="connsiteX49" fmla="*/ 8340796 w 10768629"/>
              <a:gd name="connsiteY49" fmla="*/ 980522 h 1978172"/>
              <a:gd name="connsiteX50" fmla="*/ 8304438 w 10768629"/>
              <a:gd name="connsiteY50" fmla="*/ 996739 h 1978172"/>
              <a:gd name="connsiteX51" fmla="*/ 8280929 w 10768629"/>
              <a:gd name="connsiteY51" fmla="*/ 1023089 h 1978172"/>
              <a:gd name="connsiteX52" fmla="*/ 8275760 w 10768629"/>
              <a:gd name="connsiteY52" fmla="*/ 1027772 h 1978172"/>
              <a:gd name="connsiteX53" fmla="*/ 8275478 w 10768629"/>
              <a:gd name="connsiteY53" fmla="*/ 1027605 h 1978172"/>
              <a:gd name="connsiteX54" fmla="*/ 8249003 w 10768629"/>
              <a:gd name="connsiteY54" fmla="*/ 1032033 h 1978172"/>
              <a:gd name="connsiteX55" fmla="*/ 8203836 w 10768629"/>
              <a:gd name="connsiteY55" fmla="*/ 1037347 h 1978172"/>
              <a:gd name="connsiteX56" fmla="*/ 8122936 w 10768629"/>
              <a:gd name="connsiteY56" fmla="*/ 1063113 h 1978172"/>
              <a:gd name="connsiteX57" fmla="*/ 8043658 w 10768629"/>
              <a:gd name="connsiteY57" fmla="*/ 1092746 h 1978172"/>
              <a:gd name="connsiteX58" fmla="*/ 8015351 w 10768629"/>
              <a:gd name="connsiteY58" fmla="*/ 1105478 h 1978172"/>
              <a:gd name="connsiteX59" fmla="*/ 7963145 w 10768629"/>
              <a:gd name="connsiteY59" fmla="*/ 1119346 h 1978172"/>
              <a:gd name="connsiteX60" fmla="*/ 7938145 w 10768629"/>
              <a:gd name="connsiteY60" fmla="*/ 1120225 h 1978172"/>
              <a:gd name="connsiteX61" fmla="*/ 7937238 w 10768629"/>
              <a:gd name="connsiteY61" fmla="*/ 1121204 h 1978172"/>
              <a:gd name="connsiteX62" fmla="*/ 7934398 w 10768629"/>
              <a:gd name="connsiteY62" fmla="*/ 1118240 h 1978172"/>
              <a:gd name="connsiteX63" fmla="*/ 7918248 w 10768629"/>
              <a:gd name="connsiteY63" fmla="*/ 1124371 h 1978172"/>
              <a:gd name="connsiteX64" fmla="*/ 7914119 w 10768629"/>
              <a:gd name="connsiteY64" fmla="*/ 1127653 h 1978172"/>
              <a:gd name="connsiteX65" fmla="*/ 7907658 w 10768629"/>
              <a:gd name="connsiteY65" fmla="*/ 1130350 h 1978172"/>
              <a:gd name="connsiteX66" fmla="*/ 7907434 w 10768629"/>
              <a:gd name="connsiteY66" fmla="*/ 1130103 h 1978172"/>
              <a:gd name="connsiteX67" fmla="*/ 7901508 w 10768629"/>
              <a:gd name="connsiteY67" fmla="*/ 1133245 h 1978172"/>
              <a:gd name="connsiteX68" fmla="*/ 7873287 w 10768629"/>
              <a:gd name="connsiteY68" fmla="*/ 1152609 h 1978172"/>
              <a:gd name="connsiteX69" fmla="*/ 7834833 w 10768629"/>
              <a:gd name="connsiteY69" fmla="*/ 1153868 h 1978172"/>
              <a:gd name="connsiteX70" fmla="*/ 7828661 w 10768629"/>
              <a:gd name="connsiteY70" fmla="*/ 1139994 h 1978172"/>
              <a:gd name="connsiteX71" fmla="*/ 7823966 w 10768629"/>
              <a:gd name="connsiteY71" fmla="*/ 1143178 h 1978172"/>
              <a:gd name="connsiteX72" fmla="*/ 7815078 w 10768629"/>
              <a:gd name="connsiteY72" fmla="*/ 1151776 h 1978172"/>
              <a:gd name="connsiteX73" fmla="*/ 7812026 w 10768629"/>
              <a:gd name="connsiteY73" fmla="*/ 1151522 h 1978172"/>
              <a:gd name="connsiteX74" fmla="*/ 7782249 w 10768629"/>
              <a:gd name="connsiteY74" fmla="*/ 1160970 h 1978172"/>
              <a:gd name="connsiteX75" fmla="*/ 7773476 w 10768629"/>
              <a:gd name="connsiteY75" fmla="*/ 1157414 h 1978172"/>
              <a:gd name="connsiteX76" fmla="*/ 7769600 w 10768629"/>
              <a:gd name="connsiteY76" fmla="*/ 1157365 h 1978172"/>
              <a:gd name="connsiteX77" fmla="*/ 7752631 w 10768629"/>
              <a:gd name="connsiteY77" fmla="*/ 1172815 h 1978172"/>
              <a:gd name="connsiteX78" fmla="*/ 7739392 w 10768629"/>
              <a:gd name="connsiteY78" fmla="*/ 1192062 h 1978172"/>
              <a:gd name="connsiteX79" fmla="*/ 7677677 w 10768629"/>
              <a:gd name="connsiteY79" fmla="*/ 1216394 h 1978172"/>
              <a:gd name="connsiteX80" fmla="*/ 7586920 w 10768629"/>
              <a:gd name="connsiteY80" fmla="*/ 1261888 h 1978172"/>
              <a:gd name="connsiteX81" fmla="*/ 7486100 w 10768629"/>
              <a:gd name="connsiteY81" fmla="*/ 1292563 h 1978172"/>
              <a:gd name="connsiteX82" fmla="*/ 7411323 w 10768629"/>
              <a:gd name="connsiteY82" fmla="*/ 1340732 h 1978172"/>
              <a:gd name="connsiteX83" fmla="*/ 7240698 w 10768629"/>
              <a:gd name="connsiteY83" fmla="*/ 1438832 h 1978172"/>
              <a:gd name="connsiteX84" fmla="*/ 7197675 w 10768629"/>
              <a:gd name="connsiteY84" fmla="*/ 1447530 h 1978172"/>
              <a:gd name="connsiteX85" fmla="*/ 7164788 w 10768629"/>
              <a:gd name="connsiteY85" fmla="*/ 1480293 h 1978172"/>
              <a:gd name="connsiteX86" fmla="*/ 7147929 w 10768629"/>
              <a:gd name="connsiteY86" fmla="*/ 1477641 h 1978172"/>
              <a:gd name="connsiteX87" fmla="*/ 7144965 w 10768629"/>
              <a:gd name="connsiteY87" fmla="*/ 1476908 h 1978172"/>
              <a:gd name="connsiteX88" fmla="*/ 7134299 w 10768629"/>
              <a:gd name="connsiteY88" fmla="*/ 1479969 h 1978172"/>
              <a:gd name="connsiteX89" fmla="*/ 7129809 w 10768629"/>
              <a:gd name="connsiteY89" fmla="*/ 1473339 h 1978172"/>
              <a:gd name="connsiteX90" fmla="*/ 7112688 w 10768629"/>
              <a:gd name="connsiteY90" fmla="*/ 1472575 h 1978172"/>
              <a:gd name="connsiteX91" fmla="*/ 7093470 w 10768629"/>
              <a:gd name="connsiteY91" fmla="*/ 1480300 h 1978172"/>
              <a:gd name="connsiteX92" fmla="*/ 7025034 w 10768629"/>
              <a:gd name="connsiteY92" fmla="*/ 1506934 h 1978172"/>
              <a:gd name="connsiteX93" fmla="*/ 7014783 w 10768629"/>
              <a:gd name="connsiteY93" fmla="*/ 1515868 h 1978172"/>
              <a:gd name="connsiteX94" fmla="*/ 6979706 w 10768629"/>
              <a:gd name="connsiteY94" fmla="*/ 1523511 h 1978172"/>
              <a:gd name="connsiteX95" fmla="*/ 6977890 w 10768629"/>
              <a:gd name="connsiteY95" fmla="*/ 1525793 h 1978172"/>
              <a:gd name="connsiteX96" fmla="*/ 6944339 w 10768629"/>
              <a:gd name="connsiteY96" fmla="*/ 1536237 h 1978172"/>
              <a:gd name="connsiteX97" fmla="*/ 6886996 w 10768629"/>
              <a:gd name="connsiteY97" fmla="*/ 1563569 h 1978172"/>
              <a:gd name="connsiteX98" fmla="*/ 6874510 w 10768629"/>
              <a:gd name="connsiteY98" fmla="*/ 1558469 h 1978172"/>
              <a:gd name="connsiteX99" fmla="*/ 6871943 w 10768629"/>
              <a:gd name="connsiteY99" fmla="*/ 1554651 h 1978172"/>
              <a:gd name="connsiteX100" fmla="*/ 6856174 w 10768629"/>
              <a:gd name="connsiteY100" fmla="*/ 1562024 h 1978172"/>
              <a:gd name="connsiteX101" fmla="*/ 6842321 w 10768629"/>
              <a:gd name="connsiteY101" fmla="*/ 1560554 h 1978172"/>
              <a:gd name="connsiteX102" fmla="*/ 6832713 w 10768629"/>
              <a:gd name="connsiteY102" fmla="*/ 1569357 h 1978172"/>
              <a:gd name="connsiteX103" fmla="*/ 6816351 w 10768629"/>
              <a:gd name="connsiteY103" fmla="*/ 1571495 h 1978172"/>
              <a:gd name="connsiteX104" fmla="*/ 6795800 w 10768629"/>
              <a:gd name="connsiteY104" fmla="*/ 1572010 h 1978172"/>
              <a:gd name="connsiteX105" fmla="*/ 6777546 w 10768629"/>
              <a:gd name="connsiteY105" fmla="*/ 1568661 h 1978172"/>
              <a:gd name="connsiteX106" fmla="*/ 6751528 w 10768629"/>
              <a:gd name="connsiteY106" fmla="*/ 1574143 h 1978172"/>
              <a:gd name="connsiteX107" fmla="*/ 6691966 w 10768629"/>
              <a:gd name="connsiteY107" fmla="*/ 1582255 h 1978172"/>
              <a:gd name="connsiteX108" fmla="*/ 6646941 w 10768629"/>
              <a:gd name="connsiteY108" fmla="*/ 1588471 h 1978172"/>
              <a:gd name="connsiteX109" fmla="*/ 6568576 w 10768629"/>
              <a:gd name="connsiteY109" fmla="*/ 1606488 h 1978172"/>
              <a:gd name="connsiteX110" fmla="*/ 6554358 w 10768629"/>
              <a:gd name="connsiteY110" fmla="*/ 1621701 h 1978172"/>
              <a:gd name="connsiteX111" fmla="*/ 6516968 w 10768629"/>
              <a:gd name="connsiteY111" fmla="*/ 1617195 h 1978172"/>
              <a:gd name="connsiteX112" fmla="*/ 6506479 w 10768629"/>
              <a:gd name="connsiteY112" fmla="*/ 1602227 h 1978172"/>
              <a:gd name="connsiteX113" fmla="*/ 6458436 w 10768629"/>
              <a:gd name="connsiteY113" fmla="*/ 1607332 h 1978172"/>
              <a:gd name="connsiteX114" fmla="*/ 6414786 w 10768629"/>
              <a:gd name="connsiteY114" fmla="*/ 1628815 h 1978172"/>
              <a:gd name="connsiteX115" fmla="*/ 6357085 w 10768629"/>
              <a:gd name="connsiteY115" fmla="*/ 1640846 h 1978172"/>
              <a:gd name="connsiteX116" fmla="*/ 6322636 w 10768629"/>
              <a:gd name="connsiteY116" fmla="*/ 1648213 h 1978172"/>
              <a:gd name="connsiteX117" fmla="*/ 6226172 w 10768629"/>
              <a:gd name="connsiteY117" fmla="*/ 1654676 h 1978172"/>
              <a:gd name="connsiteX118" fmla="*/ 6221217 w 10768629"/>
              <a:gd name="connsiteY118" fmla="*/ 1654506 h 1978172"/>
              <a:gd name="connsiteX119" fmla="*/ 6204956 w 10768629"/>
              <a:gd name="connsiteY119" fmla="*/ 1664280 h 1978172"/>
              <a:gd name="connsiteX120" fmla="*/ 6204270 w 10768629"/>
              <a:gd name="connsiteY120" fmla="*/ 1666782 h 1978172"/>
              <a:gd name="connsiteX121" fmla="*/ 6143810 w 10768629"/>
              <a:gd name="connsiteY121" fmla="*/ 1661963 h 1978172"/>
              <a:gd name="connsiteX122" fmla="*/ 6136560 w 10768629"/>
              <a:gd name="connsiteY122" fmla="*/ 1665728 h 1978172"/>
              <a:gd name="connsiteX123" fmla="*/ 6096155 w 10768629"/>
              <a:gd name="connsiteY123" fmla="*/ 1656951 h 1978172"/>
              <a:gd name="connsiteX124" fmla="*/ 6075812 w 10768629"/>
              <a:gd name="connsiteY124" fmla="*/ 1655422 h 1978172"/>
              <a:gd name="connsiteX125" fmla="*/ 6039495 w 10768629"/>
              <a:gd name="connsiteY125" fmla="*/ 1649680 h 1978172"/>
              <a:gd name="connsiteX126" fmla="*/ 6036523 w 10768629"/>
              <a:gd name="connsiteY126" fmla="*/ 1652121 h 1978172"/>
              <a:gd name="connsiteX127" fmla="*/ 6029328 w 10768629"/>
              <a:gd name="connsiteY127" fmla="*/ 1649904 h 1978172"/>
              <a:gd name="connsiteX128" fmla="*/ 6024075 w 10768629"/>
              <a:gd name="connsiteY128" fmla="*/ 1652779 h 1978172"/>
              <a:gd name="connsiteX129" fmla="*/ 6018085 w 10768629"/>
              <a:gd name="connsiteY129" fmla="*/ 1652030 h 1978172"/>
              <a:gd name="connsiteX130" fmla="*/ 5955513 w 10768629"/>
              <a:gd name="connsiteY130" fmla="*/ 1663584 h 1978172"/>
              <a:gd name="connsiteX131" fmla="*/ 5941996 w 10768629"/>
              <a:gd name="connsiteY131" fmla="*/ 1661326 h 1978172"/>
              <a:gd name="connsiteX132" fmla="*/ 5931789 w 10768629"/>
              <a:gd name="connsiteY132" fmla="*/ 1669915 h 1978172"/>
              <a:gd name="connsiteX133" fmla="*/ 5888686 w 10768629"/>
              <a:gd name="connsiteY133" fmla="*/ 1672175 h 1978172"/>
              <a:gd name="connsiteX134" fmla="*/ 5873794 w 10768629"/>
              <a:gd name="connsiteY134" fmla="*/ 1665454 h 1978172"/>
              <a:gd name="connsiteX135" fmla="*/ 5860022 w 10768629"/>
              <a:gd name="connsiteY135" fmla="*/ 1660635 h 1978172"/>
              <a:gd name="connsiteX136" fmla="*/ 5858237 w 10768629"/>
              <a:gd name="connsiteY136" fmla="*/ 1660649 h 1978172"/>
              <a:gd name="connsiteX137" fmla="*/ 5840319 w 10768629"/>
              <a:gd name="connsiteY137" fmla="*/ 1660798 h 1978172"/>
              <a:gd name="connsiteX138" fmla="*/ 5806984 w 10768629"/>
              <a:gd name="connsiteY138" fmla="*/ 1661075 h 1978172"/>
              <a:gd name="connsiteX139" fmla="*/ 5742351 w 10768629"/>
              <a:gd name="connsiteY139" fmla="*/ 1667489 h 1978172"/>
              <a:gd name="connsiteX140" fmla="*/ 5521171 w 10768629"/>
              <a:gd name="connsiteY140" fmla="*/ 1671626 h 1978172"/>
              <a:gd name="connsiteX141" fmla="*/ 5457384 w 10768629"/>
              <a:gd name="connsiteY141" fmla="*/ 1683952 h 1978172"/>
              <a:gd name="connsiteX142" fmla="*/ 4950070 w 10768629"/>
              <a:gd name="connsiteY142" fmla="*/ 1748401 h 1978172"/>
              <a:gd name="connsiteX143" fmla="*/ 4872172 w 10768629"/>
              <a:gd name="connsiteY143" fmla="*/ 1757222 h 1978172"/>
              <a:gd name="connsiteX144" fmla="*/ 4809524 w 10768629"/>
              <a:gd name="connsiteY144" fmla="*/ 1761033 h 1978172"/>
              <a:gd name="connsiteX145" fmla="*/ 4759058 w 10768629"/>
              <a:gd name="connsiteY145" fmla="*/ 1766533 h 1978172"/>
              <a:gd name="connsiteX146" fmla="*/ 4719749 w 10768629"/>
              <a:gd name="connsiteY146" fmla="*/ 1771811 h 1978172"/>
              <a:gd name="connsiteX147" fmla="*/ 4568686 w 10768629"/>
              <a:gd name="connsiteY147" fmla="*/ 1786141 h 1978172"/>
              <a:gd name="connsiteX148" fmla="*/ 4418751 w 10768629"/>
              <a:gd name="connsiteY148" fmla="*/ 1796932 h 1978172"/>
              <a:gd name="connsiteX149" fmla="*/ 4378377 w 10768629"/>
              <a:gd name="connsiteY149" fmla="*/ 1815528 h 1978172"/>
              <a:gd name="connsiteX150" fmla="*/ 4320575 w 10768629"/>
              <a:gd name="connsiteY150" fmla="*/ 1832722 h 1978172"/>
              <a:gd name="connsiteX151" fmla="*/ 4220200 w 10768629"/>
              <a:gd name="connsiteY151" fmla="*/ 1873173 h 1978172"/>
              <a:gd name="connsiteX152" fmla="*/ 4101228 w 10768629"/>
              <a:gd name="connsiteY152" fmla="*/ 1868717 h 1978172"/>
              <a:gd name="connsiteX153" fmla="*/ 3973223 w 10768629"/>
              <a:gd name="connsiteY153" fmla="*/ 1881015 h 1978172"/>
              <a:gd name="connsiteX154" fmla="*/ 3900992 w 10768629"/>
              <a:gd name="connsiteY154" fmla="*/ 1880603 h 1978172"/>
              <a:gd name="connsiteX155" fmla="*/ 3662119 w 10768629"/>
              <a:gd name="connsiteY155" fmla="*/ 1889285 h 1978172"/>
              <a:gd name="connsiteX156" fmla="*/ 3496919 w 10768629"/>
              <a:gd name="connsiteY156" fmla="*/ 1873180 h 1978172"/>
              <a:gd name="connsiteX157" fmla="*/ 3449433 w 10768629"/>
              <a:gd name="connsiteY157" fmla="*/ 1889681 h 1978172"/>
              <a:gd name="connsiteX158" fmla="*/ 3369766 w 10768629"/>
              <a:gd name="connsiteY158" fmla="*/ 1916653 h 1978172"/>
              <a:gd name="connsiteX159" fmla="*/ 3269672 w 10768629"/>
              <a:gd name="connsiteY159" fmla="*/ 1938036 h 1978172"/>
              <a:gd name="connsiteX160" fmla="*/ 3224897 w 10768629"/>
              <a:gd name="connsiteY160" fmla="*/ 1943733 h 1978172"/>
              <a:gd name="connsiteX161" fmla="*/ 3161463 w 10768629"/>
              <a:gd name="connsiteY161" fmla="*/ 1946591 h 1978172"/>
              <a:gd name="connsiteX162" fmla="*/ 3112044 w 10768629"/>
              <a:gd name="connsiteY162" fmla="*/ 1935614 h 1978172"/>
              <a:gd name="connsiteX163" fmla="*/ 3069716 w 10768629"/>
              <a:gd name="connsiteY163" fmla="*/ 1930463 h 1978172"/>
              <a:gd name="connsiteX164" fmla="*/ 3005773 w 10768629"/>
              <a:gd name="connsiteY164" fmla="*/ 1915878 h 1978172"/>
              <a:gd name="connsiteX165" fmla="*/ 2897201 w 10768629"/>
              <a:gd name="connsiteY165" fmla="*/ 1926772 h 1978172"/>
              <a:gd name="connsiteX166" fmla="*/ 2783891 w 10768629"/>
              <a:gd name="connsiteY166" fmla="*/ 1931749 h 1978172"/>
              <a:gd name="connsiteX167" fmla="*/ 2712447 w 10768629"/>
              <a:gd name="connsiteY167" fmla="*/ 1933044 h 1978172"/>
              <a:gd name="connsiteX168" fmla="*/ 2560151 w 10768629"/>
              <a:gd name="connsiteY168" fmla="*/ 1963609 h 1978172"/>
              <a:gd name="connsiteX169" fmla="*/ 2367221 w 10768629"/>
              <a:gd name="connsiteY169" fmla="*/ 1971884 h 1978172"/>
              <a:gd name="connsiteX170" fmla="*/ 2272130 w 10768629"/>
              <a:gd name="connsiteY170" fmla="*/ 1961162 h 1978172"/>
              <a:gd name="connsiteX171" fmla="*/ 2189404 w 10768629"/>
              <a:gd name="connsiteY171" fmla="*/ 1978172 h 1978172"/>
              <a:gd name="connsiteX172" fmla="*/ 2077704 w 10768629"/>
              <a:gd name="connsiteY172" fmla="*/ 1965002 h 1978172"/>
              <a:gd name="connsiteX173" fmla="*/ 2033299 w 10768629"/>
              <a:gd name="connsiteY173" fmla="*/ 1969042 h 1978172"/>
              <a:gd name="connsiteX174" fmla="*/ 1967996 w 10768629"/>
              <a:gd name="connsiteY174" fmla="*/ 1953187 h 1978172"/>
              <a:gd name="connsiteX175" fmla="*/ 1855805 w 10768629"/>
              <a:gd name="connsiteY175" fmla="*/ 1926082 h 1978172"/>
              <a:gd name="connsiteX176" fmla="*/ 1790957 w 10768629"/>
              <a:gd name="connsiteY176" fmla="*/ 1919460 h 1978172"/>
              <a:gd name="connsiteX177" fmla="*/ 1613978 w 10768629"/>
              <a:gd name="connsiteY177" fmla="*/ 1891581 h 1978172"/>
              <a:gd name="connsiteX178" fmla="*/ 1436831 w 10768629"/>
              <a:gd name="connsiteY178" fmla="*/ 1856201 h 1978172"/>
              <a:gd name="connsiteX179" fmla="*/ 1357365 w 10768629"/>
              <a:gd name="connsiteY179" fmla="*/ 1832140 h 1978172"/>
              <a:gd name="connsiteX180" fmla="*/ 1232341 w 10768629"/>
              <a:gd name="connsiteY180" fmla="*/ 1785942 h 1978172"/>
              <a:gd name="connsiteX181" fmla="*/ 1162595 w 10768629"/>
              <a:gd name="connsiteY181" fmla="*/ 1758337 h 1978172"/>
              <a:gd name="connsiteX182" fmla="*/ 1128523 w 10768629"/>
              <a:gd name="connsiteY182" fmla="*/ 1763621 h 1978172"/>
              <a:gd name="connsiteX183" fmla="*/ 991903 w 10768629"/>
              <a:gd name="connsiteY183" fmla="*/ 1786741 h 1978172"/>
              <a:gd name="connsiteX184" fmla="*/ 883960 w 10768629"/>
              <a:gd name="connsiteY184" fmla="*/ 1822386 h 1978172"/>
              <a:gd name="connsiteX185" fmla="*/ 766531 w 10768629"/>
              <a:gd name="connsiteY185" fmla="*/ 1805053 h 1978172"/>
              <a:gd name="connsiteX186" fmla="*/ 669779 w 10768629"/>
              <a:gd name="connsiteY186" fmla="*/ 1800537 h 1978172"/>
              <a:gd name="connsiteX187" fmla="*/ 523898 w 10768629"/>
              <a:gd name="connsiteY187" fmla="*/ 1811085 h 1978172"/>
              <a:gd name="connsiteX188" fmla="*/ 360251 w 10768629"/>
              <a:gd name="connsiteY188" fmla="*/ 1830735 h 1978172"/>
              <a:gd name="connsiteX189" fmla="*/ 255207 w 10768629"/>
              <a:gd name="connsiteY189" fmla="*/ 1818275 h 1978172"/>
              <a:gd name="connsiteX190" fmla="*/ 101803 w 10768629"/>
              <a:gd name="connsiteY190" fmla="*/ 1870647 h 1978172"/>
              <a:gd name="connsiteX191" fmla="*/ 25397 w 10768629"/>
              <a:gd name="connsiteY191" fmla="*/ 1888443 h 1978172"/>
              <a:gd name="connsiteX192" fmla="*/ 2370 w 10768629"/>
              <a:gd name="connsiteY192" fmla="*/ 1878311 h 1978172"/>
              <a:gd name="connsiteX193" fmla="*/ 0 w 10768629"/>
              <a:gd name="connsiteY193" fmla="*/ 1878785 h 1978172"/>
              <a:gd name="connsiteX194" fmla="*/ 0 w 10768629"/>
              <a:gd name="connsiteY194" fmla="*/ 0 h 1978172"/>
              <a:gd name="connsiteX0" fmla="*/ 0 w 10768629"/>
              <a:gd name="connsiteY0" fmla="*/ 0 h 1978172"/>
              <a:gd name="connsiteX1" fmla="*/ 10768629 w 10768629"/>
              <a:gd name="connsiteY1" fmla="*/ 0 h 1978172"/>
              <a:gd name="connsiteX2" fmla="*/ 10733254 w 10768629"/>
              <a:gd name="connsiteY2" fmla="*/ 31439 h 1978172"/>
              <a:gd name="connsiteX3" fmla="*/ 10727085 w 10768629"/>
              <a:gd name="connsiteY3" fmla="*/ 37910 h 1978172"/>
              <a:gd name="connsiteX4" fmla="*/ 10675953 w 10768629"/>
              <a:gd name="connsiteY4" fmla="*/ 68623 h 1978172"/>
              <a:gd name="connsiteX5" fmla="*/ 10637091 w 10768629"/>
              <a:gd name="connsiteY5" fmla="*/ 90361 h 1978172"/>
              <a:gd name="connsiteX6" fmla="*/ 10610971 w 10768629"/>
              <a:gd name="connsiteY6" fmla="*/ 110764 h 1978172"/>
              <a:gd name="connsiteX7" fmla="*/ 10532872 w 10768629"/>
              <a:gd name="connsiteY7" fmla="*/ 138028 h 1978172"/>
              <a:gd name="connsiteX8" fmla="*/ 10398558 w 10768629"/>
              <a:gd name="connsiteY8" fmla="*/ 172911 h 1978172"/>
              <a:gd name="connsiteX9" fmla="*/ 10371128 w 10768629"/>
              <a:gd name="connsiteY9" fmla="*/ 182609 h 1978172"/>
              <a:gd name="connsiteX10" fmla="*/ 10352178 w 10768629"/>
              <a:gd name="connsiteY10" fmla="*/ 199976 h 1978172"/>
              <a:gd name="connsiteX11" fmla="*/ 10351815 w 10768629"/>
              <a:gd name="connsiteY11" fmla="*/ 211879 h 1978172"/>
              <a:gd name="connsiteX12" fmla="*/ 10337471 w 10768629"/>
              <a:gd name="connsiteY12" fmla="*/ 218661 h 1978172"/>
              <a:gd name="connsiteX13" fmla="*/ 10334625 w 10768629"/>
              <a:gd name="connsiteY13" fmla="*/ 222351 h 1978172"/>
              <a:gd name="connsiteX14" fmla="*/ 10256365 w 10768629"/>
              <a:gd name="connsiteY14" fmla="*/ 235917 h 1978172"/>
              <a:gd name="connsiteX15" fmla="*/ 10201127 w 10768629"/>
              <a:gd name="connsiteY15" fmla="*/ 267448 h 1978172"/>
              <a:gd name="connsiteX16" fmla="*/ 9961218 w 10768629"/>
              <a:gd name="connsiteY16" fmla="*/ 326720 h 1978172"/>
              <a:gd name="connsiteX17" fmla="*/ 9859715 w 10768629"/>
              <a:gd name="connsiteY17" fmla="*/ 355698 h 1978172"/>
              <a:gd name="connsiteX18" fmla="*/ 9679867 w 10768629"/>
              <a:gd name="connsiteY18" fmla="*/ 399081 h 1978172"/>
              <a:gd name="connsiteX19" fmla="*/ 9490654 w 10768629"/>
              <a:gd name="connsiteY19" fmla="*/ 455225 h 1978172"/>
              <a:gd name="connsiteX20" fmla="*/ 9470837 w 10768629"/>
              <a:gd name="connsiteY20" fmla="*/ 452539 h 1978172"/>
              <a:gd name="connsiteX21" fmla="*/ 9469082 w 10768629"/>
              <a:gd name="connsiteY21" fmla="*/ 454891 h 1978172"/>
              <a:gd name="connsiteX22" fmla="*/ 9448038 w 10768629"/>
              <a:gd name="connsiteY22" fmla="*/ 459733 h 1978172"/>
              <a:gd name="connsiteX23" fmla="*/ 9396821 w 10768629"/>
              <a:gd name="connsiteY23" fmla="*/ 455795 h 1978172"/>
              <a:gd name="connsiteX24" fmla="*/ 9392197 w 10768629"/>
              <a:gd name="connsiteY24" fmla="*/ 459796 h 1978172"/>
              <a:gd name="connsiteX25" fmla="*/ 9347994 w 10768629"/>
              <a:gd name="connsiteY25" fmla="*/ 464462 h 1978172"/>
              <a:gd name="connsiteX26" fmla="*/ 9347889 w 10768629"/>
              <a:gd name="connsiteY26" fmla="*/ 466539 h 1978172"/>
              <a:gd name="connsiteX27" fmla="*/ 9337639 w 10768629"/>
              <a:gd name="connsiteY27" fmla="*/ 476654 h 1978172"/>
              <a:gd name="connsiteX28" fmla="*/ 9287964 w 10768629"/>
              <a:gd name="connsiteY28" fmla="*/ 513052 h 1978172"/>
              <a:gd name="connsiteX29" fmla="*/ 9229283 w 10768629"/>
              <a:gd name="connsiteY29" fmla="*/ 555377 h 1978172"/>
              <a:gd name="connsiteX30" fmla="*/ 9220274 w 10768629"/>
              <a:gd name="connsiteY30" fmla="*/ 557502 h 1978172"/>
              <a:gd name="connsiteX31" fmla="*/ 9220202 w 10768629"/>
              <a:gd name="connsiteY31" fmla="*/ 558001 h 1978172"/>
              <a:gd name="connsiteX32" fmla="*/ 9210908 w 10768629"/>
              <a:gd name="connsiteY32" fmla="*/ 561147 h 1978172"/>
              <a:gd name="connsiteX33" fmla="*/ 9186374 w 10768629"/>
              <a:gd name="connsiteY33" fmla="*/ 565502 h 1978172"/>
              <a:gd name="connsiteX34" fmla="*/ 9181058 w 10768629"/>
              <a:gd name="connsiteY34" fmla="*/ 569943 h 1978172"/>
              <a:gd name="connsiteX35" fmla="*/ 9167549 w 10768629"/>
              <a:gd name="connsiteY35" fmla="*/ 584727 h 1978172"/>
              <a:gd name="connsiteX36" fmla="*/ 9149110 w 10768629"/>
              <a:gd name="connsiteY36" fmla="*/ 598906 h 1978172"/>
              <a:gd name="connsiteX37" fmla="*/ 9078556 w 10768629"/>
              <a:gd name="connsiteY37" fmla="*/ 644039 h 1978172"/>
              <a:gd name="connsiteX38" fmla="*/ 8996399 w 10768629"/>
              <a:gd name="connsiteY38" fmla="*/ 690055 h 1978172"/>
              <a:gd name="connsiteX39" fmla="*/ 8803791 w 10768629"/>
              <a:gd name="connsiteY39" fmla="*/ 813860 h 1978172"/>
              <a:gd name="connsiteX40" fmla="*/ 8636202 w 10768629"/>
              <a:gd name="connsiteY40" fmla="*/ 848463 h 1978172"/>
              <a:gd name="connsiteX41" fmla="*/ 8555372 w 10768629"/>
              <a:gd name="connsiteY41" fmla="*/ 883171 h 1978172"/>
              <a:gd name="connsiteX42" fmla="*/ 8507229 w 10768629"/>
              <a:gd name="connsiteY42" fmla="*/ 901665 h 1978172"/>
              <a:gd name="connsiteX43" fmla="*/ 8428473 w 10768629"/>
              <a:gd name="connsiteY43" fmla="*/ 927985 h 1978172"/>
              <a:gd name="connsiteX44" fmla="*/ 8427914 w 10768629"/>
              <a:gd name="connsiteY44" fmla="*/ 933480 h 1978172"/>
              <a:gd name="connsiteX45" fmla="*/ 8420327 w 10768629"/>
              <a:gd name="connsiteY45" fmla="*/ 941984 h 1978172"/>
              <a:gd name="connsiteX46" fmla="*/ 8394729 w 10768629"/>
              <a:gd name="connsiteY46" fmla="*/ 948347 h 1978172"/>
              <a:gd name="connsiteX47" fmla="*/ 8380548 w 10768629"/>
              <a:gd name="connsiteY47" fmla="*/ 987916 h 1978172"/>
              <a:gd name="connsiteX48" fmla="*/ 8375330 w 10768629"/>
              <a:gd name="connsiteY48" fmla="*/ 965444 h 1978172"/>
              <a:gd name="connsiteX49" fmla="*/ 8340796 w 10768629"/>
              <a:gd name="connsiteY49" fmla="*/ 980522 h 1978172"/>
              <a:gd name="connsiteX50" fmla="*/ 8304438 w 10768629"/>
              <a:gd name="connsiteY50" fmla="*/ 996739 h 1978172"/>
              <a:gd name="connsiteX51" fmla="*/ 8280929 w 10768629"/>
              <a:gd name="connsiteY51" fmla="*/ 1023089 h 1978172"/>
              <a:gd name="connsiteX52" fmla="*/ 8275760 w 10768629"/>
              <a:gd name="connsiteY52" fmla="*/ 1027772 h 1978172"/>
              <a:gd name="connsiteX53" fmla="*/ 8275478 w 10768629"/>
              <a:gd name="connsiteY53" fmla="*/ 1027605 h 1978172"/>
              <a:gd name="connsiteX54" fmla="*/ 8249003 w 10768629"/>
              <a:gd name="connsiteY54" fmla="*/ 1032033 h 1978172"/>
              <a:gd name="connsiteX55" fmla="*/ 8203836 w 10768629"/>
              <a:gd name="connsiteY55" fmla="*/ 1037347 h 1978172"/>
              <a:gd name="connsiteX56" fmla="*/ 8122936 w 10768629"/>
              <a:gd name="connsiteY56" fmla="*/ 1063113 h 1978172"/>
              <a:gd name="connsiteX57" fmla="*/ 8043658 w 10768629"/>
              <a:gd name="connsiteY57" fmla="*/ 1092746 h 1978172"/>
              <a:gd name="connsiteX58" fmla="*/ 8015351 w 10768629"/>
              <a:gd name="connsiteY58" fmla="*/ 1105478 h 1978172"/>
              <a:gd name="connsiteX59" fmla="*/ 7963145 w 10768629"/>
              <a:gd name="connsiteY59" fmla="*/ 1119346 h 1978172"/>
              <a:gd name="connsiteX60" fmla="*/ 7938145 w 10768629"/>
              <a:gd name="connsiteY60" fmla="*/ 1120225 h 1978172"/>
              <a:gd name="connsiteX61" fmla="*/ 7937238 w 10768629"/>
              <a:gd name="connsiteY61" fmla="*/ 1121204 h 1978172"/>
              <a:gd name="connsiteX62" fmla="*/ 7934398 w 10768629"/>
              <a:gd name="connsiteY62" fmla="*/ 1118240 h 1978172"/>
              <a:gd name="connsiteX63" fmla="*/ 7918248 w 10768629"/>
              <a:gd name="connsiteY63" fmla="*/ 1124371 h 1978172"/>
              <a:gd name="connsiteX64" fmla="*/ 7914119 w 10768629"/>
              <a:gd name="connsiteY64" fmla="*/ 1127653 h 1978172"/>
              <a:gd name="connsiteX65" fmla="*/ 7907658 w 10768629"/>
              <a:gd name="connsiteY65" fmla="*/ 1130350 h 1978172"/>
              <a:gd name="connsiteX66" fmla="*/ 7907434 w 10768629"/>
              <a:gd name="connsiteY66" fmla="*/ 1130103 h 1978172"/>
              <a:gd name="connsiteX67" fmla="*/ 7901508 w 10768629"/>
              <a:gd name="connsiteY67" fmla="*/ 1133245 h 1978172"/>
              <a:gd name="connsiteX68" fmla="*/ 7873287 w 10768629"/>
              <a:gd name="connsiteY68" fmla="*/ 1152609 h 1978172"/>
              <a:gd name="connsiteX69" fmla="*/ 7834833 w 10768629"/>
              <a:gd name="connsiteY69" fmla="*/ 1153868 h 1978172"/>
              <a:gd name="connsiteX70" fmla="*/ 7828661 w 10768629"/>
              <a:gd name="connsiteY70" fmla="*/ 1139994 h 1978172"/>
              <a:gd name="connsiteX71" fmla="*/ 7823966 w 10768629"/>
              <a:gd name="connsiteY71" fmla="*/ 1143178 h 1978172"/>
              <a:gd name="connsiteX72" fmla="*/ 7815078 w 10768629"/>
              <a:gd name="connsiteY72" fmla="*/ 1151776 h 1978172"/>
              <a:gd name="connsiteX73" fmla="*/ 7812026 w 10768629"/>
              <a:gd name="connsiteY73" fmla="*/ 1151522 h 1978172"/>
              <a:gd name="connsiteX74" fmla="*/ 7782249 w 10768629"/>
              <a:gd name="connsiteY74" fmla="*/ 1160970 h 1978172"/>
              <a:gd name="connsiteX75" fmla="*/ 7773476 w 10768629"/>
              <a:gd name="connsiteY75" fmla="*/ 1157414 h 1978172"/>
              <a:gd name="connsiteX76" fmla="*/ 7769600 w 10768629"/>
              <a:gd name="connsiteY76" fmla="*/ 1157365 h 1978172"/>
              <a:gd name="connsiteX77" fmla="*/ 7752631 w 10768629"/>
              <a:gd name="connsiteY77" fmla="*/ 1172815 h 1978172"/>
              <a:gd name="connsiteX78" fmla="*/ 7739392 w 10768629"/>
              <a:gd name="connsiteY78" fmla="*/ 1192062 h 1978172"/>
              <a:gd name="connsiteX79" fmla="*/ 7677677 w 10768629"/>
              <a:gd name="connsiteY79" fmla="*/ 1216394 h 1978172"/>
              <a:gd name="connsiteX80" fmla="*/ 7586920 w 10768629"/>
              <a:gd name="connsiteY80" fmla="*/ 1261888 h 1978172"/>
              <a:gd name="connsiteX81" fmla="*/ 7486100 w 10768629"/>
              <a:gd name="connsiteY81" fmla="*/ 1292563 h 1978172"/>
              <a:gd name="connsiteX82" fmla="*/ 7411323 w 10768629"/>
              <a:gd name="connsiteY82" fmla="*/ 1340732 h 1978172"/>
              <a:gd name="connsiteX83" fmla="*/ 7240698 w 10768629"/>
              <a:gd name="connsiteY83" fmla="*/ 1438832 h 1978172"/>
              <a:gd name="connsiteX84" fmla="*/ 7197675 w 10768629"/>
              <a:gd name="connsiteY84" fmla="*/ 1447530 h 1978172"/>
              <a:gd name="connsiteX85" fmla="*/ 7164788 w 10768629"/>
              <a:gd name="connsiteY85" fmla="*/ 1480293 h 1978172"/>
              <a:gd name="connsiteX86" fmla="*/ 7147929 w 10768629"/>
              <a:gd name="connsiteY86" fmla="*/ 1477641 h 1978172"/>
              <a:gd name="connsiteX87" fmla="*/ 7144965 w 10768629"/>
              <a:gd name="connsiteY87" fmla="*/ 1476908 h 1978172"/>
              <a:gd name="connsiteX88" fmla="*/ 7134299 w 10768629"/>
              <a:gd name="connsiteY88" fmla="*/ 1479969 h 1978172"/>
              <a:gd name="connsiteX89" fmla="*/ 7129809 w 10768629"/>
              <a:gd name="connsiteY89" fmla="*/ 1473339 h 1978172"/>
              <a:gd name="connsiteX90" fmla="*/ 7112688 w 10768629"/>
              <a:gd name="connsiteY90" fmla="*/ 1472575 h 1978172"/>
              <a:gd name="connsiteX91" fmla="*/ 7093470 w 10768629"/>
              <a:gd name="connsiteY91" fmla="*/ 1480300 h 1978172"/>
              <a:gd name="connsiteX92" fmla="*/ 7025034 w 10768629"/>
              <a:gd name="connsiteY92" fmla="*/ 1506934 h 1978172"/>
              <a:gd name="connsiteX93" fmla="*/ 7014783 w 10768629"/>
              <a:gd name="connsiteY93" fmla="*/ 1515868 h 1978172"/>
              <a:gd name="connsiteX94" fmla="*/ 6979706 w 10768629"/>
              <a:gd name="connsiteY94" fmla="*/ 1523511 h 1978172"/>
              <a:gd name="connsiteX95" fmla="*/ 6977890 w 10768629"/>
              <a:gd name="connsiteY95" fmla="*/ 1525793 h 1978172"/>
              <a:gd name="connsiteX96" fmla="*/ 6944339 w 10768629"/>
              <a:gd name="connsiteY96" fmla="*/ 1536237 h 1978172"/>
              <a:gd name="connsiteX97" fmla="*/ 6886996 w 10768629"/>
              <a:gd name="connsiteY97" fmla="*/ 1563569 h 1978172"/>
              <a:gd name="connsiteX98" fmla="*/ 6874510 w 10768629"/>
              <a:gd name="connsiteY98" fmla="*/ 1558469 h 1978172"/>
              <a:gd name="connsiteX99" fmla="*/ 6871943 w 10768629"/>
              <a:gd name="connsiteY99" fmla="*/ 1554651 h 1978172"/>
              <a:gd name="connsiteX100" fmla="*/ 6856174 w 10768629"/>
              <a:gd name="connsiteY100" fmla="*/ 1562024 h 1978172"/>
              <a:gd name="connsiteX101" fmla="*/ 6842321 w 10768629"/>
              <a:gd name="connsiteY101" fmla="*/ 1560554 h 1978172"/>
              <a:gd name="connsiteX102" fmla="*/ 6832713 w 10768629"/>
              <a:gd name="connsiteY102" fmla="*/ 1569357 h 1978172"/>
              <a:gd name="connsiteX103" fmla="*/ 6816351 w 10768629"/>
              <a:gd name="connsiteY103" fmla="*/ 1571495 h 1978172"/>
              <a:gd name="connsiteX104" fmla="*/ 6795800 w 10768629"/>
              <a:gd name="connsiteY104" fmla="*/ 1572010 h 1978172"/>
              <a:gd name="connsiteX105" fmla="*/ 6777546 w 10768629"/>
              <a:gd name="connsiteY105" fmla="*/ 1568661 h 1978172"/>
              <a:gd name="connsiteX106" fmla="*/ 6751528 w 10768629"/>
              <a:gd name="connsiteY106" fmla="*/ 1574143 h 1978172"/>
              <a:gd name="connsiteX107" fmla="*/ 6691966 w 10768629"/>
              <a:gd name="connsiteY107" fmla="*/ 1582255 h 1978172"/>
              <a:gd name="connsiteX108" fmla="*/ 6646941 w 10768629"/>
              <a:gd name="connsiteY108" fmla="*/ 1588471 h 1978172"/>
              <a:gd name="connsiteX109" fmla="*/ 6568576 w 10768629"/>
              <a:gd name="connsiteY109" fmla="*/ 1606488 h 1978172"/>
              <a:gd name="connsiteX110" fmla="*/ 6554358 w 10768629"/>
              <a:gd name="connsiteY110" fmla="*/ 1621701 h 1978172"/>
              <a:gd name="connsiteX111" fmla="*/ 6516968 w 10768629"/>
              <a:gd name="connsiteY111" fmla="*/ 1617195 h 1978172"/>
              <a:gd name="connsiteX112" fmla="*/ 6506479 w 10768629"/>
              <a:gd name="connsiteY112" fmla="*/ 1602227 h 1978172"/>
              <a:gd name="connsiteX113" fmla="*/ 6458436 w 10768629"/>
              <a:gd name="connsiteY113" fmla="*/ 1607332 h 1978172"/>
              <a:gd name="connsiteX114" fmla="*/ 6414786 w 10768629"/>
              <a:gd name="connsiteY114" fmla="*/ 1628815 h 1978172"/>
              <a:gd name="connsiteX115" fmla="*/ 6357085 w 10768629"/>
              <a:gd name="connsiteY115" fmla="*/ 1640846 h 1978172"/>
              <a:gd name="connsiteX116" fmla="*/ 6322636 w 10768629"/>
              <a:gd name="connsiteY116" fmla="*/ 1648213 h 1978172"/>
              <a:gd name="connsiteX117" fmla="*/ 6226172 w 10768629"/>
              <a:gd name="connsiteY117" fmla="*/ 1654676 h 1978172"/>
              <a:gd name="connsiteX118" fmla="*/ 6221217 w 10768629"/>
              <a:gd name="connsiteY118" fmla="*/ 1654506 h 1978172"/>
              <a:gd name="connsiteX119" fmla="*/ 6204956 w 10768629"/>
              <a:gd name="connsiteY119" fmla="*/ 1664280 h 1978172"/>
              <a:gd name="connsiteX120" fmla="*/ 6204270 w 10768629"/>
              <a:gd name="connsiteY120" fmla="*/ 1666782 h 1978172"/>
              <a:gd name="connsiteX121" fmla="*/ 6143810 w 10768629"/>
              <a:gd name="connsiteY121" fmla="*/ 1661963 h 1978172"/>
              <a:gd name="connsiteX122" fmla="*/ 6136560 w 10768629"/>
              <a:gd name="connsiteY122" fmla="*/ 1665728 h 1978172"/>
              <a:gd name="connsiteX123" fmla="*/ 6096155 w 10768629"/>
              <a:gd name="connsiteY123" fmla="*/ 1656951 h 1978172"/>
              <a:gd name="connsiteX124" fmla="*/ 6075812 w 10768629"/>
              <a:gd name="connsiteY124" fmla="*/ 1655422 h 1978172"/>
              <a:gd name="connsiteX125" fmla="*/ 6039495 w 10768629"/>
              <a:gd name="connsiteY125" fmla="*/ 1649680 h 1978172"/>
              <a:gd name="connsiteX126" fmla="*/ 6036523 w 10768629"/>
              <a:gd name="connsiteY126" fmla="*/ 1652121 h 1978172"/>
              <a:gd name="connsiteX127" fmla="*/ 6029328 w 10768629"/>
              <a:gd name="connsiteY127" fmla="*/ 1649904 h 1978172"/>
              <a:gd name="connsiteX128" fmla="*/ 6024075 w 10768629"/>
              <a:gd name="connsiteY128" fmla="*/ 1652779 h 1978172"/>
              <a:gd name="connsiteX129" fmla="*/ 6018085 w 10768629"/>
              <a:gd name="connsiteY129" fmla="*/ 1652030 h 1978172"/>
              <a:gd name="connsiteX130" fmla="*/ 5955513 w 10768629"/>
              <a:gd name="connsiteY130" fmla="*/ 1663584 h 1978172"/>
              <a:gd name="connsiteX131" fmla="*/ 5941996 w 10768629"/>
              <a:gd name="connsiteY131" fmla="*/ 1661326 h 1978172"/>
              <a:gd name="connsiteX132" fmla="*/ 5931789 w 10768629"/>
              <a:gd name="connsiteY132" fmla="*/ 1669915 h 1978172"/>
              <a:gd name="connsiteX133" fmla="*/ 5888686 w 10768629"/>
              <a:gd name="connsiteY133" fmla="*/ 1672175 h 1978172"/>
              <a:gd name="connsiteX134" fmla="*/ 5873794 w 10768629"/>
              <a:gd name="connsiteY134" fmla="*/ 1665454 h 1978172"/>
              <a:gd name="connsiteX135" fmla="*/ 5860022 w 10768629"/>
              <a:gd name="connsiteY135" fmla="*/ 1660635 h 1978172"/>
              <a:gd name="connsiteX136" fmla="*/ 5858237 w 10768629"/>
              <a:gd name="connsiteY136" fmla="*/ 1660649 h 1978172"/>
              <a:gd name="connsiteX137" fmla="*/ 5840319 w 10768629"/>
              <a:gd name="connsiteY137" fmla="*/ 1660798 h 1978172"/>
              <a:gd name="connsiteX138" fmla="*/ 5806984 w 10768629"/>
              <a:gd name="connsiteY138" fmla="*/ 1661075 h 1978172"/>
              <a:gd name="connsiteX139" fmla="*/ 5742351 w 10768629"/>
              <a:gd name="connsiteY139" fmla="*/ 1667489 h 1978172"/>
              <a:gd name="connsiteX140" fmla="*/ 5521171 w 10768629"/>
              <a:gd name="connsiteY140" fmla="*/ 1671626 h 1978172"/>
              <a:gd name="connsiteX141" fmla="*/ 5457384 w 10768629"/>
              <a:gd name="connsiteY141" fmla="*/ 1683952 h 1978172"/>
              <a:gd name="connsiteX142" fmla="*/ 4950070 w 10768629"/>
              <a:gd name="connsiteY142" fmla="*/ 1748401 h 1978172"/>
              <a:gd name="connsiteX143" fmla="*/ 4872172 w 10768629"/>
              <a:gd name="connsiteY143" fmla="*/ 1757222 h 1978172"/>
              <a:gd name="connsiteX144" fmla="*/ 4809524 w 10768629"/>
              <a:gd name="connsiteY144" fmla="*/ 1761033 h 1978172"/>
              <a:gd name="connsiteX145" fmla="*/ 4759058 w 10768629"/>
              <a:gd name="connsiteY145" fmla="*/ 1766533 h 1978172"/>
              <a:gd name="connsiteX146" fmla="*/ 4719749 w 10768629"/>
              <a:gd name="connsiteY146" fmla="*/ 1771811 h 1978172"/>
              <a:gd name="connsiteX147" fmla="*/ 4568686 w 10768629"/>
              <a:gd name="connsiteY147" fmla="*/ 1786141 h 1978172"/>
              <a:gd name="connsiteX148" fmla="*/ 4418751 w 10768629"/>
              <a:gd name="connsiteY148" fmla="*/ 1796932 h 1978172"/>
              <a:gd name="connsiteX149" fmla="*/ 4378377 w 10768629"/>
              <a:gd name="connsiteY149" fmla="*/ 1815528 h 1978172"/>
              <a:gd name="connsiteX150" fmla="*/ 4320575 w 10768629"/>
              <a:gd name="connsiteY150" fmla="*/ 1832722 h 1978172"/>
              <a:gd name="connsiteX151" fmla="*/ 4220200 w 10768629"/>
              <a:gd name="connsiteY151" fmla="*/ 1873173 h 1978172"/>
              <a:gd name="connsiteX152" fmla="*/ 4101228 w 10768629"/>
              <a:gd name="connsiteY152" fmla="*/ 1868717 h 1978172"/>
              <a:gd name="connsiteX153" fmla="*/ 3973223 w 10768629"/>
              <a:gd name="connsiteY153" fmla="*/ 1881015 h 1978172"/>
              <a:gd name="connsiteX154" fmla="*/ 3900992 w 10768629"/>
              <a:gd name="connsiteY154" fmla="*/ 1880603 h 1978172"/>
              <a:gd name="connsiteX155" fmla="*/ 3662119 w 10768629"/>
              <a:gd name="connsiteY155" fmla="*/ 1889285 h 1978172"/>
              <a:gd name="connsiteX156" fmla="*/ 3496919 w 10768629"/>
              <a:gd name="connsiteY156" fmla="*/ 1873180 h 1978172"/>
              <a:gd name="connsiteX157" fmla="*/ 3449433 w 10768629"/>
              <a:gd name="connsiteY157" fmla="*/ 1889681 h 1978172"/>
              <a:gd name="connsiteX158" fmla="*/ 3369766 w 10768629"/>
              <a:gd name="connsiteY158" fmla="*/ 1916653 h 1978172"/>
              <a:gd name="connsiteX159" fmla="*/ 3269672 w 10768629"/>
              <a:gd name="connsiteY159" fmla="*/ 1938036 h 1978172"/>
              <a:gd name="connsiteX160" fmla="*/ 3224897 w 10768629"/>
              <a:gd name="connsiteY160" fmla="*/ 1943733 h 1978172"/>
              <a:gd name="connsiteX161" fmla="*/ 3161463 w 10768629"/>
              <a:gd name="connsiteY161" fmla="*/ 1946591 h 1978172"/>
              <a:gd name="connsiteX162" fmla="*/ 3112044 w 10768629"/>
              <a:gd name="connsiteY162" fmla="*/ 1935614 h 1978172"/>
              <a:gd name="connsiteX163" fmla="*/ 3069716 w 10768629"/>
              <a:gd name="connsiteY163" fmla="*/ 1930463 h 1978172"/>
              <a:gd name="connsiteX164" fmla="*/ 3005773 w 10768629"/>
              <a:gd name="connsiteY164" fmla="*/ 1915878 h 1978172"/>
              <a:gd name="connsiteX165" fmla="*/ 2897201 w 10768629"/>
              <a:gd name="connsiteY165" fmla="*/ 1926772 h 1978172"/>
              <a:gd name="connsiteX166" fmla="*/ 2783891 w 10768629"/>
              <a:gd name="connsiteY166" fmla="*/ 1931749 h 1978172"/>
              <a:gd name="connsiteX167" fmla="*/ 2712447 w 10768629"/>
              <a:gd name="connsiteY167" fmla="*/ 1933044 h 1978172"/>
              <a:gd name="connsiteX168" fmla="*/ 2560151 w 10768629"/>
              <a:gd name="connsiteY168" fmla="*/ 1963609 h 1978172"/>
              <a:gd name="connsiteX169" fmla="*/ 2367221 w 10768629"/>
              <a:gd name="connsiteY169" fmla="*/ 1971884 h 1978172"/>
              <a:gd name="connsiteX170" fmla="*/ 2272130 w 10768629"/>
              <a:gd name="connsiteY170" fmla="*/ 1961162 h 1978172"/>
              <a:gd name="connsiteX171" fmla="*/ 2189404 w 10768629"/>
              <a:gd name="connsiteY171" fmla="*/ 1978172 h 1978172"/>
              <a:gd name="connsiteX172" fmla="*/ 2077704 w 10768629"/>
              <a:gd name="connsiteY172" fmla="*/ 1965002 h 1978172"/>
              <a:gd name="connsiteX173" fmla="*/ 2033299 w 10768629"/>
              <a:gd name="connsiteY173" fmla="*/ 1969042 h 1978172"/>
              <a:gd name="connsiteX174" fmla="*/ 1967996 w 10768629"/>
              <a:gd name="connsiteY174" fmla="*/ 1953187 h 1978172"/>
              <a:gd name="connsiteX175" fmla="*/ 1855805 w 10768629"/>
              <a:gd name="connsiteY175" fmla="*/ 1926082 h 1978172"/>
              <a:gd name="connsiteX176" fmla="*/ 1790957 w 10768629"/>
              <a:gd name="connsiteY176" fmla="*/ 1919460 h 1978172"/>
              <a:gd name="connsiteX177" fmla="*/ 1613978 w 10768629"/>
              <a:gd name="connsiteY177" fmla="*/ 1891581 h 1978172"/>
              <a:gd name="connsiteX178" fmla="*/ 1436831 w 10768629"/>
              <a:gd name="connsiteY178" fmla="*/ 1856201 h 1978172"/>
              <a:gd name="connsiteX179" fmla="*/ 1357365 w 10768629"/>
              <a:gd name="connsiteY179" fmla="*/ 1832140 h 1978172"/>
              <a:gd name="connsiteX180" fmla="*/ 1232341 w 10768629"/>
              <a:gd name="connsiteY180" fmla="*/ 1785942 h 1978172"/>
              <a:gd name="connsiteX181" fmla="*/ 1162595 w 10768629"/>
              <a:gd name="connsiteY181" fmla="*/ 1758337 h 1978172"/>
              <a:gd name="connsiteX182" fmla="*/ 1128523 w 10768629"/>
              <a:gd name="connsiteY182" fmla="*/ 1763621 h 1978172"/>
              <a:gd name="connsiteX183" fmla="*/ 991903 w 10768629"/>
              <a:gd name="connsiteY183" fmla="*/ 1786741 h 1978172"/>
              <a:gd name="connsiteX184" fmla="*/ 883960 w 10768629"/>
              <a:gd name="connsiteY184" fmla="*/ 1822386 h 1978172"/>
              <a:gd name="connsiteX185" fmla="*/ 766531 w 10768629"/>
              <a:gd name="connsiteY185" fmla="*/ 1805053 h 1978172"/>
              <a:gd name="connsiteX186" fmla="*/ 669779 w 10768629"/>
              <a:gd name="connsiteY186" fmla="*/ 1800537 h 1978172"/>
              <a:gd name="connsiteX187" fmla="*/ 523898 w 10768629"/>
              <a:gd name="connsiteY187" fmla="*/ 1811085 h 1978172"/>
              <a:gd name="connsiteX188" fmla="*/ 360251 w 10768629"/>
              <a:gd name="connsiteY188" fmla="*/ 1830735 h 1978172"/>
              <a:gd name="connsiteX189" fmla="*/ 255207 w 10768629"/>
              <a:gd name="connsiteY189" fmla="*/ 1818275 h 1978172"/>
              <a:gd name="connsiteX190" fmla="*/ 101803 w 10768629"/>
              <a:gd name="connsiteY190" fmla="*/ 1870647 h 1978172"/>
              <a:gd name="connsiteX191" fmla="*/ 25397 w 10768629"/>
              <a:gd name="connsiteY191" fmla="*/ 1888443 h 1978172"/>
              <a:gd name="connsiteX192" fmla="*/ 2370 w 10768629"/>
              <a:gd name="connsiteY192" fmla="*/ 1878311 h 1978172"/>
              <a:gd name="connsiteX193" fmla="*/ 0 w 10768629"/>
              <a:gd name="connsiteY193" fmla="*/ 1878785 h 1978172"/>
              <a:gd name="connsiteX194" fmla="*/ 0 w 10768629"/>
              <a:gd name="connsiteY194" fmla="*/ 0 h 1978172"/>
              <a:gd name="connsiteX0" fmla="*/ 0 w 10768629"/>
              <a:gd name="connsiteY0" fmla="*/ 0 h 1978172"/>
              <a:gd name="connsiteX1" fmla="*/ 10768629 w 10768629"/>
              <a:gd name="connsiteY1" fmla="*/ 0 h 1978172"/>
              <a:gd name="connsiteX2" fmla="*/ 10733254 w 10768629"/>
              <a:gd name="connsiteY2" fmla="*/ 31439 h 1978172"/>
              <a:gd name="connsiteX3" fmla="*/ 10727085 w 10768629"/>
              <a:gd name="connsiteY3" fmla="*/ 37910 h 1978172"/>
              <a:gd name="connsiteX4" fmla="*/ 10675953 w 10768629"/>
              <a:gd name="connsiteY4" fmla="*/ 68623 h 1978172"/>
              <a:gd name="connsiteX5" fmla="*/ 10637091 w 10768629"/>
              <a:gd name="connsiteY5" fmla="*/ 90361 h 1978172"/>
              <a:gd name="connsiteX6" fmla="*/ 10610971 w 10768629"/>
              <a:gd name="connsiteY6" fmla="*/ 110764 h 1978172"/>
              <a:gd name="connsiteX7" fmla="*/ 10532872 w 10768629"/>
              <a:gd name="connsiteY7" fmla="*/ 138028 h 1978172"/>
              <a:gd name="connsiteX8" fmla="*/ 10398558 w 10768629"/>
              <a:gd name="connsiteY8" fmla="*/ 172911 h 1978172"/>
              <a:gd name="connsiteX9" fmla="*/ 10371128 w 10768629"/>
              <a:gd name="connsiteY9" fmla="*/ 182609 h 1978172"/>
              <a:gd name="connsiteX10" fmla="*/ 10352178 w 10768629"/>
              <a:gd name="connsiteY10" fmla="*/ 199976 h 1978172"/>
              <a:gd name="connsiteX11" fmla="*/ 10351815 w 10768629"/>
              <a:gd name="connsiteY11" fmla="*/ 211879 h 1978172"/>
              <a:gd name="connsiteX12" fmla="*/ 10337471 w 10768629"/>
              <a:gd name="connsiteY12" fmla="*/ 218661 h 1978172"/>
              <a:gd name="connsiteX13" fmla="*/ 10334625 w 10768629"/>
              <a:gd name="connsiteY13" fmla="*/ 222351 h 1978172"/>
              <a:gd name="connsiteX14" fmla="*/ 10256365 w 10768629"/>
              <a:gd name="connsiteY14" fmla="*/ 235917 h 1978172"/>
              <a:gd name="connsiteX15" fmla="*/ 10201127 w 10768629"/>
              <a:gd name="connsiteY15" fmla="*/ 267448 h 1978172"/>
              <a:gd name="connsiteX16" fmla="*/ 9961218 w 10768629"/>
              <a:gd name="connsiteY16" fmla="*/ 326720 h 1978172"/>
              <a:gd name="connsiteX17" fmla="*/ 9859715 w 10768629"/>
              <a:gd name="connsiteY17" fmla="*/ 355698 h 1978172"/>
              <a:gd name="connsiteX18" fmla="*/ 9679867 w 10768629"/>
              <a:gd name="connsiteY18" fmla="*/ 399081 h 1978172"/>
              <a:gd name="connsiteX19" fmla="*/ 9490654 w 10768629"/>
              <a:gd name="connsiteY19" fmla="*/ 455225 h 1978172"/>
              <a:gd name="connsiteX20" fmla="*/ 9470837 w 10768629"/>
              <a:gd name="connsiteY20" fmla="*/ 452539 h 1978172"/>
              <a:gd name="connsiteX21" fmla="*/ 9469082 w 10768629"/>
              <a:gd name="connsiteY21" fmla="*/ 454891 h 1978172"/>
              <a:gd name="connsiteX22" fmla="*/ 9448038 w 10768629"/>
              <a:gd name="connsiteY22" fmla="*/ 459733 h 1978172"/>
              <a:gd name="connsiteX23" fmla="*/ 9396821 w 10768629"/>
              <a:gd name="connsiteY23" fmla="*/ 455795 h 1978172"/>
              <a:gd name="connsiteX24" fmla="*/ 9392197 w 10768629"/>
              <a:gd name="connsiteY24" fmla="*/ 459796 h 1978172"/>
              <a:gd name="connsiteX25" fmla="*/ 9347994 w 10768629"/>
              <a:gd name="connsiteY25" fmla="*/ 464462 h 1978172"/>
              <a:gd name="connsiteX26" fmla="*/ 9347889 w 10768629"/>
              <a:gd name="connsiteY26" fmla="*/ 466539 h 1978172"/>
              <a:gd name="connsiteX27" fmla="*/ 9337639 w 10768629"/>
              <a:gd name="connsiteY27" fmla="*/ 476654 h 1978172"/>
              <a:gd name="connsiteX28" fmla="*/ 9287964 w 10768629"/>
              <a:gd name="connsiteY28" fmla="*/ 513052 h 1978172"/>
              <a:gd name="connsiteX29" fmla="*/ 9229283 w 10768629"/>
              <a:gd name="connsiteY29" fmla="*/ 555377 h 1978172"/>
              <a:gd name="connsiteX30" fmla="*/ 9220274 w 10768629"/>
              <a:gd name="connsiteY30" fmla="*/ 557502 h 1978172"/>
              <a:gd name="connsiteX31" fmla="*/ 9220202 w 10768629"/>
              <a:gd name="connsiteY31" fmla="*/ 558001 h 1978172"/>
              <a:gd name="connsiteX32" fmla="*/ 9210908 w 10768629"/>
              <a:gd name="connsiteY32" fmla="*/ 561147 h 1978172"/>
              <a:gd name="connsiteX33" fmla="*/ 9186374 w 10768629"/>
              <a:gd name="connsiteY33" fmla="*/ 565502 h 1978172"/>
              <a:gd name="connsiteX34" fmla="*/ 9181058 w 10768629"/>
              <a:gd name="connsiteY34" fmla="*/ 569943 h 1978172"/>
              <a:gd name="connsiteX35" fmla="*/ 9167549 w 10768629"/>
              <a:gd name="connsiteY35" fmla="*/ 584727 h 1978172"/>
              <a:gd name="connsiteX36" fmla="*/ 9149110 w 10768629"/>
              <a:gd name="connsiteY36" fmla="*/ 598906 h 1978172"/>
              <a:gd name="connsiteX37" fmla="*/ 9078556 w 10768629"/>
              <a:gd name="connsiteY37" fmla="*/ 644039 h 1978172"/>
              <a:gd name="connsiteX38" fmla="*/ 8996399 w 10768629"/>
              <a:gd name="connsiteY38" fmla="*/ 690055 h 1978172"/>
              <a:gd name="connsiteX39" fmla="*/ 8803791 w 10768629"/>
              <a:gd name="connsiteY39" fmla="*/ 813860 h 1978172"/>
              <a:gd name="connsiteX40" fmla="*/ 8636202 w 10768629"/>
              <a:gd name="connsiteY40" fmla="*/ 848463 h 1978172"/>
              <a:gd name="connsiteX41" fmla="*/ 8555372 w 10768629"/>
              <a:gd name="connsiteY41" fmla="*/ 883171 h 1978172"/>
              <a:gd name="connsiteX42" fmla="*/ 8507229 w 10768629"/>
              <a:gd name="connsiteY42" fmla="*/ 901665 h 1978172"/>
              <a:gd name="connsiteX43" fmla="*/ 8428473 w 10768629"/>
              <a:gd name="connsiteY43" fmla="*/ 927985 h 1978172"/>
              <a:gd name="connsiteX44" fmla="*/ 8427914 w 10768629"/>
              <a:gd name="connsiteY44" fmla="*/ 933480 h 1978172"/>
              <a:gd name="connsiteX45" fmla="*/ 8420327 w 10768629"/>
              <a:gd name="connsiteY45" fmla="*/ 941984 h 1978172"/>
              <a:gd name="connsiteX46" fmla="*/ 8394729 w 10768629"/>
              <a:gd name="connsiteY46" fmla="*/ 948347 h 1978172"/>
              <a:gd name="connsiteX47" fmla="*/ 8380548 w 10768629"/>
              <a:gd name="connsiteY47" fmla="*/ 987916 h 1978172"/>
              <a:gd name="connsiteX48" fmla="*/ 8375330 w 10768629"/>
              <a:gd name="connsiteY48" fmla="*/ 965444 h 1978172"/>
              <a:gd name="connsiteX49" fmla="*/ 8340796 w 10768629"/>
              <a:gd name="connsiteY49" fmla="*/ 980522 h 1978172"/>
              <a:gd name="connsiteX50" fmla="*/ 8304438 w 10768629"/>
              <a:gd name="connsiteY50" fmla="*/ 996739 h 1978172"/>
              <a:gd name="connsiteX51" fmla="*/ 8280929 w 10768629"/>
              <a:gd name="connsiteY51" fmla="*/ 1023089 h 1978172"/>
              <a:gd name="connsiteX52" fmla="*/ 8275760 w 10768629"/>
              <a:gd name="connsiteY52" fmla="*/ 1027772 h 1978172"/>
              <a:gd name="connsiteX53" fmla="*/ 8275478 w 10768629"/>
              <a:gd name="connsiteY53" fmla="*/ 1027605 h 1978172"/>
              <a:gd name="connsiteX54" fmla="*/ 8249003 w 10768629"/>
              <a:gd name="connsiteY54" fmla="*/ 1032033 h 1978172"/>
              <a:gd name="connsiteX55" fmla="*/ 8203836 w 10768629"/>
              <a:gd name="connsiteY55" fmla="*/ 1037347 h 1978172"/>
              <a:gd name="connsiteX56" fmla="*/ 8122936 w 10768629"/>
              <a:gd name="connsiteY56" fmla="*/ 1063113 h 1978172"/>
              <a:gd name="connsiteX57" fmla="*/ 8043658 w 10768629"/>
              <a:gd name="connsiteY57" fmla="*/ 1092746 h 1978172"/>
              <a:gd name="connsiteX58" fmla="*/ 8015351 w 10768629"/>
              <a:gd name="connsiteY58" fmla="*/ 1105478 h 1978172"/>
              <a:gd name="connsiteX59" fmla="*/ 7963145 w 10768629"/>
              <a:gd name="connsiteY59" fmla="*/ 1119346 h 1978172"/>
              <a:gd name="connsiteX60" fmla="*/ 7938145 w 10768629"/>
              <a:gd name="connsiteY60" fmla="*/ 1120225 h 1978172"/>
              <a:gd name="connsiteX61" fmla="*/ 7937238 w 10768629"/>
              <a:gd name="connsiteY61" fmla="*/ 1121204 h 1978172"/>
              <a:gd name="connsiteX62" fmla="*/ 7934398 w 10768629"/>
              <a:gd name="connsiteY62" fmla="*/ 1118240 h 1978172"/>
              <a:gd name="connsiteX63" fmla="*/ 7918248 w 10768629"/>
              <a:gd name="connsiteY63" fmla="*/ 1124371 h 1978172"/>
              <a:gd name="connsiteX64" fmla="*/ 7914119 w 10768629"/>
              <a:gd name="connsiteY64" fmla="*/ 1127653 h 1978172"/>
              <a:gd name="connsiteX65" fmla="*/ 7907658 w 10768629"/>
              <a:gd name="connsiteY65" fmla="*/ 1130350 h 1978172"/>
              <a:gd name="connsiteX66" fmla="*/ 7907434 w 10768629"/>
              <a:gd name="connsiteY66" fmla="*/ 1130103 h 1978172"/>
              <a:gd name="connsiteX67" fmla="*/ 7901508 w 10768629"/>
              <a:gd name="connsiteY67" fmla="*/ 1133245 h 1978172"/>
              <a:gd name="connsiteX68" fmla="*/ 7873287 w 10768629"/>
              <a:gd name="connsiteY68" fmla="*/ 1152609 h 1978172"/>
              <a:gd name="connsiteX69" fmla="*/ 7834833 w 10768629"/>
              <a:gd name="connsiteY69" fmla="*/ 1153868 h 1978172"/>
              <a:gd name="connsiteX70" fmla="*/ 7828661 w 10768629"/>
              <a:gd name="connsiteY70" fmla="*/ 1139994 h 1978172"/>
              <a:gd name="connsiteX71" fmla="*/ 7823966 w 10768629"/>
              <a:gd name="connsiteY71" fmla="*/ 1143178 h 1978172"/>
              <a:gd name="connsiteX72" fmla="*/ 7815078 w 10768629"/>
              <a:gd name="connsiteY72" fmla="*/ 1151776 h 1978172"/>
              <a:gd name="connsiteX73" fmla="*/ 7812026 w 10768629"/>
              <a:gd name="connsiteY73" fmla="*/ 1151522 h 1978172"/>
              <a:gd name="connsiteX74" fmla="*/ 7782249 w 10768629"/>
              <a:gd name="connsiteY74" fmla="*/ 1160970 h 1978172"/>
              <a:gd name="connsiteX75" fmla="*/ 7773476 w 10768629"/>
              <a:gd name="connsiteY75" fmla="*/ 1157414 h 1978172"/>
              <a:gd name="connsiteX76" fmla="*/ 7769600 w 10768629"/>
              <a:gd name="connsiteY76" fmla="*/ 1157365 h 1978172"/>
              <a:gd name="connsiteX77" fmla="*/ 7752631 w 10768629"/>
              <a:gd name="connsiteY77" fmla="*/ 1172815 h 1978172"/>
              <a:gd name="connsiteX78" fmla="*/ 7739392 w 10768629"/>
              <a:gd name="connsiteY78" fmla="*/ 1192062 h 1978172"/>
              <a:gd name="connsiteX79" fmla="*/ 7677677 w 10768629"/>
              <a:gd name="connsiteY79" fmla="*/ 1216394 h 1978172"/>
              <a:gd name="connsiteX80" fmla="*/ 7586920 w 10768629"/>
              <a:gd name="connsiteY80" fmla="*/ 1261888 h 1978172"/>
              <a:gd name="connsiteX81" fmla="*/ 7486100 w 10768629"/>
              <a:gd name="connsiteY81" fmla="*/ 1292563 h 1978172"/>
              <a:gd name="connsiteX82" fmla="*/ 7411323 w 10768629"/>
              <a:gd name="connsiteY82" fmla="*/ 1340732 h 1978172"/>
              <a:gd name="connsiteX83" fmla="*/ 7240698 w 10768629"/>
              <a:gd name="connsiteY83" fmla="*/ 1438832 h 1978172"/>
              <a:gd name="connsiteX84" fmla="*/ 7197675 w 10768629"/>
              <a:gd name="connsiteY84" fmla="*/ 1447530 h 1978172"/>
              <a:gd name="connsiteX85" fmla="*/ 7164788 w 10768629"/>
              <a:gd name="connsiteY85" fmla="*/ 1480293 h 1978172"/>
              <a:gd name="connsiteX86" fmla="*/ 7147929 w 10768629"/>
              <a:gd name="connsiteY86" fmla="*/ 1477641 h 1978172"/>
              <a:gd name="connsiteX87" fmla="*/ 7144965 w 10768629"/>
              <a:gd name="connsiteY87" fmla="*/ 1476908 h 1978172"/>
              <a:gd name="connsiteX88" fmla="*/ 7134299 w 10768629"/>
              <a:gd name="connsiteY88" fmla="*/ 1479969 h 1978172"/>
              <a:gd name="connsiteX89" fmla="*/ 7129809 w 10768629"/>
              <a:gd name="connsiteY89" fmla="*/ 1473339 h 1978172"/>
              <a:gd name="connsiteX90" fmla="*/ 7112688 w 10768629"/>
              <a:gd name="connsiteY90" fmla="*/ 1472575 h 1978172"/>
              <a:gd name="connsiteX91" fmla="*/ 7093470 w 10768629"/>
              <a:gd name="connsiteY91" fmla="*/ 1480300 h 1978172"/>
              <a:gd name="connsiteX92" fmla="*/ 7025034 w 10768629"/>
              <a:gd name="connsiteY92" fmla="*/ 1506934 h 1978172"/>
              <a:gd name="connsiteX93" fmla="*/ 7014783 w 10768629"/>
              <a:gd name="connsiteY93" fmla="*/ 1515868 h 1978172"/>
              <a:gd name="connsiteX94" fmla="*/ 6979706 w 10768629"/>
              <a:gd name="connsiteY94" fmla="*/ 1523511 h 1978172"/>
              <a:gd name="connsiteX95" fmla="*/ 6977890 w 10768629"/>
              <a:gd name="connsiteY95" fmla="*/ 1525793 h 1978172"/>
              <a:gd name="connsiteX96" fmla="*/ 6944339 w 10768629"/>
              <a:gd name="connsiteY96" fmla="*/ 1536237 h 1978172"/>
              <a:gd name="connsiteX97" fmla="*/ 6886996 w 10768629"/>
              <a:gd name="connsiteY97" fmla="*/ 1563569 h 1978172"/>
              <a:gd name="connsiteX98" fmla="*/ 6874510 w 10768629"/>
              <a:gd name="connsiteY98" fmla="*/ 1558469 h 1978172"/>
              <a:gd name="connsiteX99" fmla="*/ 6871943 w 10768629"/>
              <a:gd name="connsiteY99" fmla="*/ 1554651 h 1978172"/>
              <a:gd name="connsiteX100" fmla="*/ 6856174 w 10768629"/>
              <a:gd name="connsiteY100" fmla="*/ 1562024 h 1978172"/>
              <a:gd name="connsiteX101" fmla="*/ 6842321 w 10768629"/>
              <a:gd name="connsiteY101" fmla="*/ 1560554 h 1978172"/>
              <a:gd name="connsiteX102" fmla="*/ 6832713 w 10768629"/>
              <a:gd name="connsiteY102" fmla="*/ 1569357 h 1978172"/>
              <a:gd name="connsiteX103" fmla="*/ 6816351 w 10768629"/>
              <a:gd name="connsiteY103" fmla="*/ 1571495 h 1978172"/>
              <a:gd name="connsiteX104" fmla="*/ 6795800 w 10768629"/>
              <a:gd name="connsiteY104" fmla="*/ 1572010 h 1978172"/>
              <a:gd name="connsiteX105" fmla="*/ 6777546 w 10768629"/>
              <a:gd name="connsiteY105" fmla="*/ 1568661 h 1978172"/>
              <a:gd name="connsiteX106" fmla="*/ 6751528 w 10768629"/>
              <a:gd name="connsiteY106" fmla="*/ 1574143 h 1978172"/>
              <a:gd name="connsiteX107" fmla="*/ 6691966 w 10768629"/>
              <a:gd name="connsiteY107" fmla="*/ 1582255 h 1978172"/>
              <a:gd name="connsiteX108" fmla="*/ 6646941 w 10768629"/>
              <a:gd name="connsiteY108" fmla="*/ 1588471 h 1978172"/>
              <a:gd name="connsiteX109" fmla="*/ 6568576 w 10768629"/>
              <a:gd name="connsiteY109" fmla="*/ 1606488 h 1978172"/>
              <a:gd name="connsiteX110" fmla="*/ 6554358 w 10768629"/>
              <a:gd name="connsiteY110" fmla="*/ 1621701 h 1978172"/>
              <a:gd name="connsiteX111" fmla="*/ 6516968 w 10768629"/>
              <a:gd name="connsiteY111" fmla="*/ 1617195 h 1978172"/>
              <a:gd name="connsiteX112" fmla="*/ 6506479 w 10768629"/>
              <a:gd name="connsiteY112" fmla="*/ 1602227 h 1978172"/>
              <a:gd name="connsiteX113" fmla="*/ 6458436 w 10768629"/>
              <a:gd name="connsiteY113" fmla="*/ 1607332 h 1978172"/>
              <a:gd name="connsiteX114" fmla="*/ 6414786 w 10768629"/>
              <a:gd name="connsiteY114" fmla="*/ 1628815 h 1978172"/>
              <a:gd name="connsiteX115" fmla="*/ 6357085 w 10768629"/>
              <a:gd name="connsiteY115" fmla="*/ 1640846 h 1978172"/>
              <a:gd name="connsiteX116" fmla="*/ 6322636 w 10768629"/>
              <a:gd name="connsiteY116" fmla="*/ 1648213 h 1978172"/>
              <a:gd name="connsiteX117" fmla="*/ 6226172 w 10768629"/>
              <a:gd name="connsiteY117" fmla="*/ 1654676 h 1978172"/>
              <a:gd name="connsiteX118" fmla="*/ 6221217 w 10768629"/>
              <a:gd name="connsiteY118" fmla="*/ 1654506 h 1978172"/>
              <a:gd name="connsiteX119" fmla="*/ 6204956 w 10768629"/>
              <a:gd name="connsiteY119" fmla="*/ 1664280 h 1978172"/>
              <a:gd name="connsiteX120" fmla="*/ 6204270 w 10768629"/>
              <a:gd name="connsiteY120" fmla="*/ 1666782 h 1978172"/>
              <a:gd name="connsiteX121" fmla="*/ 6143810 w 10768629"/>
              <a:gd name="connsiteY121" fmla="*/ 1661963 h 1978172"/>
              <a:gd name="connsiteX122" fmla="*/ 6136560 w 10768629"/>
              <a:gd name="connsiteY122" fmla="*/ 1665728 h 1978172"/>
              <a:gd name="connsiteX123" fmla="*/ 6096155 w 10768629"/>
              <a:gd name="connsiteY123" fmla="*/ 1656951 h 1978172"/>
              <a:gd name="connsiteX124" fmla="*/ 6075812 w 10768629"/>
              <a:gd name="connsiteY124" fmla="*/ 1655422 h 1978172"/>
              <a:gd name="connsiteX125" fmla="*/ 6039495 w 10768629"/>
              <a:gd name="connsiteY125" fmla="*/ 1649680 h 1978172"/>
              <a:gd name="connsiteX126" fmla="*/ 6036523 w 10768629"/>
              <a:gd name="connsiteY126" fmla="*/ 1652121 h 1978172"/>
              <a:gd name="connsiteX127" fmla="*/ 6029328 w 10768629"/>
              <a:gd name="connsiteY127" fmla="*/ 1649904 h 1978172"/>
              <a:gd name="connsiteX128" fmla="*/ 6024075 w 10768629"/>
              <a:gd name="connsiteY128" fmla="*/ 1652779 h 1978172"/>
              <a:gd name="connsiteX129" fmla="*/ 6018085 w 10768629"/>
              <a:gd name="connsiteY129" fmla="*/ 1652030 h 1978172"/>
              <a:gd name="connsiteX130" fmla="*/ 5955513 w 10768629"/>
              <a:gd name="connsiteY130" fmla="*/ 1663584 h 1978172"/>
              <a:gd name="connsiteX131" fmla="*/ 5941996 w 10768629"/>
              <a:gd name="connsiteY131" fmla="*/ 1661326 h 1978172"/>
              <a:gd name="connsiteX132" fmla="*/ 5931789 w 10768629"/>
              <a:gd name="connsiteY132" fmla="*/ 1669915 h 1978172"/>
              <a:gd name="connsiteX133" fmla="*/ 5888686 w 10768629"/>
              <a:gd name="connsiteY133" fmla="*/ 1672175 h 1978172"/>
              <a:gd name="connsiteX134" fmla="*/ 5873794 w 10768629"/>
              <a:gd name="connsiteY134" fmla="*/ 1665454 h 1978172"/>
              <a:gd name="connsiteX135" fmla="*/ 5860022 w 10768629"/>
              <a:gd name="connsiteY135" fmla="*/ 1660635 h 1978172"/>
              <a:gd name="connsiteX136" fmla="*/ 5858237 w 10768629"/>
              <a:gd name="connsiteY136" fmla="*/ 1660649 h 1978172"/>
              <a:gd name="connsiteX137" fmla="*/ 5840319 w 10768629"/>
              <a:gd name="connsiteY137" fmla="*/ 1660798 h 1978172"/>
              <a:gd name="connsiteX138" fmla="*/ 5806984 w 10768629"/>
              <a:gd name="connsiteY138" fmla="*/ 1661075 h 1978172"/>
              <a:gd name="connsiteX139" fmla="*/ 5742351 w 10768629"/>
              <a:gd name="connsiteY139" fmla="*/ 1667489 h 1978172"/>
              <a:gd name="connsiteX140" fmla="*/ 5521171 w 10768629"/>
              <a:gd name="connsiteY140" fmla="*/ 1671626 h 1978172"/>
              <a:gd name="connsiteX141" fmla="*/ 5457384 w 10768629"/>
              <a:gd name="connsiteY141" fmla="*/ 1683952 h 1978172"/>
              <a:gd name="connsiteX142" fmla="*/ 4950070 w 10768629"/>
              <a:gd name="connsiteY142" fmla="*/ 1748401 h 1978172"/>
              <a:gd name="connsiteX143" fmla="*/ 4872172 w 10768629"/>
              <a:gd name="connsiteY143" fmla="*/ 1757222 h 1978172"/>
              <a:gd name="connsiteX144" fmla="*/ 4809524 w 10768629"/>
              <a:gd name="connsiteY144" fmla="*/ 1761033 h 1978172"/>
              <a:gd name="connsiteX145" fmla="*/ 4759058 w 10768629"/>
              <a:gd name="connsiteY145" fmla="*/ 1766533 h 1978172"/>
              <a:gd name="connsiteX146" fmla="*/ 4719749 w 10768629"/>
              <a:gd name="connsiteY146" fmla="*/ 1771811 h 1978172"/>
              <a:gd name="connsiteX147" fmla="*/ 4568686 w 10768629"/>
              <a:gd name="connsiteY147" fmla="*/ 1786141 h 1978172"/>
              <a:gd name="connsiteX148" fmla="*/ 4418751 w 10768629"/>
              <a:gd name="connsiteY148" fmla="*/ 1796932 h 1978172"/>
              <a:gd name="connsiteX149" fmla="*/ 4378377 w 10768629"/>
              <a:gd name="connsiteY149" fmla="*/ 1815528 h 1978172"/>
              <a:gd name="connsiteX150" fmla="*/ 4320575 w 10768629"/>
              <a:gd name="connsiteY150" fmla="*/ 1832722 h 1978172"/>
              <a:gd name="connsiteX151" fmla="*/ 4211935 w 10768629"/>
              <a:gd name="connsiteY151" fmla="*/ 1860177 h 1978172"/>
              <a:gd name="connsiteX152" fmla="*/ 4101228 w 10768629"/>
              <a:gd name="connsiteY152" fmla="*/ 1868717 h 1978172"/>
              <a:gd name="connsiteX153" fmla="*/ 3973223 w 10768629"/>
              <a:gd name="connsiteY153" fmla="*/ 1881015 h 1978172"/>
              <a:gd name="connsiteX154" fmla="*/ 3900992 w 10768629"/>
              <a:gd name="connsiteY154" fmla="*/ 1880603 h 1978172"/>
              <a:gd name="connsiteX155" fmla="*/ 3662119 w 10768629"/>
              <a:gd name="connsiteY155" fmla="*/ 1889285 h 1978172"/>
              <a:gd name="connsiteX156" fmla="*/ 3496919 w 10768629"/>
              <a:gd name="connsiteY156" fmla="*/ 1873180 h 1978172"/>
              <a:gd name="connsiteX157" fmla="*/ 3449433 w 10768629"/>
              <a:gd name="connsiteY157" fmla="*/ 1889681 h 1978172"/>
              <a:gd name="connsiteX158" fmla="*/ 3369766 w 10768629"/>
              <a:gd name="connsiteY158" fmla="*/ 1916653 h 1978172"/>
              <a:gd name="connsiteX159" fmla="*/ 3269672 w 10768629"/>
              <a:gd name="connsiteY159" fmla="*/ 1938036 h 1978172"/>
              <a:gd name="connsiteX160" fmla="*/ 3224897 w 10768629"/>
              <a:gd name="connsiteY160" fmla="*/ 1943733 h 1978172"/>
              <a:gd name="connsiteX161" fmla="*/ 3161463 w 10768629"/>
              <a:gd name="connsiteY161" fmla="*/ 1946591 h 1978172"/>
              <a:gd name="connsiteX162" fmla="*/ 3112044 w 10768629"/>
              <a:gd name="connsiteY162" fmla="*/ 1935614 h 1978172"/>
              <a:gd name="connsiteX163" fmla="*/ 3069716 w 10768629"/>
              <a:gd name="connsiteY163" fmla="*/ 1930463 h 1978172"/>
              <a:gd name="connsiteX164" fmla="*/ 3005773 w 10768629"/>
              <a:gd name="connsiteY164" fmla="*/ 1915878 h 1978172"/>
              <a:gd name="connsiteX165" fmla="*/ 2897201 w 10768629"/>
              <a:gd name="connsiteY165" fmla="*/ 1926772 h 1978172"/>
              <a:gd name="connsiteX166" fmla="*/ 2783891 w 10768629"/>
              <a:gd name="connsiteY166" fmla="*/ 1931749 h 1978172"/>
              <a:gd name="connsiteX167" fmla="*/ 2712447 w 10768629"/>
              <a:gd name="connsiteY167" fmla="*/ 1933044 h 1978172"/>
              <a:gd name="connsiteX168" fmla="*/ 2560151 w 10768629"/>
              <a:gd name="connsiteY168" fmla="*/ 1963609 h 1978172"/>
              <a:gd name="connsiteX169" fmla="*/ 2367221 w 10768629"/>
              <a:gd name="connsiteY169" fmla="*/ 1971884 h 1978172"/>
              <a:gd name="connsiteX170" fmla="*/ 2272130 w 10768629"/>
              <a:gd name="connsiteY170" fmla="*/ 1961162 h 1978172"/>
              <a:gd name="connsiteX171" fmla="*/ 2189404 w 10768629"/>
              <a:gd name="connsiteY171" fmla="*/ 1978172 h 1978172"/>
              <a:gd name="connsiteX172" fmla="*/ 2077704 w 10768629"/>
              <a:gd name="connsiteY172" fmla="*/ 1965002 h 1978172"/>
              <a:gd name="connsiteX173" fmla="*/ 2033299 w 10768629"/>
              <a:gd name="connsiteY173" fmla="*/ 1969042 h 1978172"/>
              <a:gd name="connsiteX174" fmla="*/ 1967996 w 10768629"/>
              <a:gd name="connsiteY174" fmla="*/ 1953187 h 1978172"/>
              <a:gd name="connsiteX175" fmla="*/ 1855805 w 10768629"/>
              <a:gd name="connsiteY175" fmla="*/ 1926082 h 1978172"/>
              <a:gd name="connsiteX176" fmla="*/ 1790957 w 10768629"/>
              <a:gd name="connsiteY176" fmla="*/ 1919460 h 1978172"/>
              <a:gd name="connsiteX177" fmla="*/ 1613978 w 10768629"/>
              <a:gd name="connsiteY177" fmla="*/ 1891581 h 1978172"/>
              <a:gd name="connsiteX178" fmla="*/ 1436831 w 10768629"/>
              <a:gd name="connsiteY178" fmla="*/ 1856201 h 1978172"/>
              <a:gd name="connsiteX179" fmla="*/ 1357365 w 10768629"/>
              <a:gd name="connsiteY179" fmla="*/ 1832140 h 1978172"/>
              <a:gd name="connsiteX180" fmla="*/ 1232341 w 10768629"/>
              <a:gd name="connsiteY180" fmla="*/ 1785942 h 1978172"/>
              <a:gd name="connsiteX181" fmla="*/ 1162595 w 10768629"/>
              <a:gd name="connsiteY181" fmla="*/ 1758337 h 1978172"/>
              <a:gd name="connsiteX182" fmla="*/ 1128523 w 10768629"/>
              <a:gd name="connsiteY182" fmla="*/ 1763621 h 1978172"/>
              <a:gd name="connsiteX183" fmla="*/ 991903 w 10768629"/>
              <a:gd name="connsiteY183" fmla="*/ 1786741 h 1978172"/>
              <a:gd name="connsiteX184" fmla="*/ 883960 w 10768629"/>
              <a:gd name="connsiteY184" fmla="*/ 1822386 h 1978172"/>
              <a:gd name="connsiteX185" fmla="*/ 766531 w 10768629"/>
              <a:gd name="connsiteY185" fmla="*/ 1805053 h 1978172"/>
              <a:gd name="connsiteX186" fmla="*/ 669779 w 10768629"/>
              <a:gd name="connsiteY186" fmla="*/ 1800537 h 1978172"/>
              <a:gd name="connsiteX187" fmla="*/ 523898 w 10768629"/>
              <a:gd name="connsiteY187" fmla="*/ 1811085 h 1978172"/>
              <a:gd name="connsiteX188" fmla="*/ 360251 w 10768629"/>
              <a:gd name="connsiteY188" fmla="*/ 1830735 h 1978172"/>
              <a:gd name="connsiteX189" fmla="*/ 255207 w 10768629"/>
              <a:gd name="connsiteY189" fmla="*/ 1818275 h 1978172"/>
              <a:gd name="connsiteX190" fmla="*/ 101803 w 10768629"/>
              <a:gd name="connsiteY190" fmla="*/ 1870647 h 1978172"/>
              <a:gd name="connsiteX191" fmla="*/ 25397 w 10768629"/>
              <a:gd name="connsiteY191" fmla="*/ 1888443 h 1978172"/>
              <a:gd name="connsiteX192" fmla="*/ 2370 w 10768629"/>
              <a:gd name="connsiteY192" fmla="*/ 1878311 h 1978172"/>
              <a:gd name="connsiteX193" fmla="*/ 0 w 10768629"/>
              <a:gd name="connsiteY193" fmla="*/ 1878785 h 1978172"/>
              <a:gd name="connsiteX194" fmla="*/ 0 w 10768629"/>
              <a:gd name="connsiteY194" fmla="*/ 0 h 1978172"/>
              <a:gd name="connsiteX0" fmla="*/ 0 w 10768629"/>
              <a:gd name="connsiteY0" fmla="*/ 0 h 1978172"/>
              <a:gd name="connsiteX1" fmla="*/ 10768629 w 10768629"/>
              <a:gd name="connsiteY1" fmla="*/ 0 h 1978172"/>
              <a:gd name="connsiteX2" fmla="*/ 10733254 w 10768629"/>
              <a:gd name="connsiteY2" fmla="*/ 31439 h 1978172"/>
              <a:gd name="connsiteX3" fmla="*/ 10727085 w 10768629"/>
              <a:gd name="connsiteY3" fmla="*/ 37910 h 1978172"/>
              <a:gd name="connsiteX4" fmla="*/ 10675953 w 10768629"/>
              <a:gd name="connsiteY4" fmla="*/ 68623 h 1978172"/>
              <a:gd name="connsiteX5" fmla="*/ 10637091 w 10768629"/>
              <a:gd name="connsiteY5" fmla="*/ 90361 h 1978172"/>
              <a:gd name="connsiteX6" fmla="*/ 10610971 w 10768629"/>
              <a:gd name="connsiteY6" fmla="*/ 110764 h 1978172"/>
              <a:gd name="connsiteX7" fmla="*/ 10532872 w 10768629"/>
              <a:gd name="connsiteY7" fmla="*/ 138028 h 1978172"/>
              <a:gd name="connsiteX8" fmla="*/ 10398558 w 10768629"/>
              <a:gd name="connsiteY8" fmla="*/ 172911 h 1978172"/>
              <a:gd name="connsiteX9" fmla="*/ 10371128 w 10768629"/>
              <a:gd name="connsiteY9" fmla="*/ 182609 h 1978172"/>
              <a:gd name="connsiteX10" fmla="*/ 10352178 w 10768629"/>
              <a:gd name="connsiteY10" fmla="*/ 199976 h 1978172"/>
              <a:gd name="connsiteX11" fmla="*/ 10351815 w 10768629"/>
              <a:gd name="connsiteY11" fmla="*/ 211879 h 1978172"/>
              <a:gd name="connsiteX12" fmla="*/ 10337471 w 10768629"/>
              <a:gd name="connsiteY12" fmla="*/ 218661 h 1978172"/>
              <a:gd name="connsiteX13" fmla="*/ 10334625 w 10768629"/>
              <a:gd name="connsiteY13" fmla="*/ 222351 h 1978172"/>
              <a:gd name="connsiteX14" fmla="*/ 10256365 w 10768629"/>
              <a:gd name="connsiteY14" fmla="*/ 235917 h 1978172"/>
              <a:gd name="connsiteX15" fmla="*/ 10201127 w 10768629"/>
              <a:gd name="connsiteY15" fmla="*/ 267448 h 1978172"/>
              <a:gd name="connsiteX16" fmla="*/ 9961218 w 10768629"/>
              <a:gd name="connsiteY16" fmla="*/ 326720 h 1978172"/>
              <a:gd name="connsiteX17" fmla="*/ 9859715 w 10768629"/>
              <a:gd name="connsiteY17" fmla="*/ 355698 h 1978172"/>
              <a:gd name="connsiteX18" fmla="*/ 9679867 w 10768629"/>
              <a:gd name="connsiteY18" fmla="*/ 399081 h 1978172"/>
              <a:gd name="connsiteX19" fmla="*/ 9490654 w 10768629"/>
              <a:gd name="connsiteY19" fmla="*/ 455225 h 1978172"/>
              <a:gd name="connsiteX20" fmla="*/ 9470837 w 10768629"/>
              <a:gd name="connsiteY20" fmla="*/ 452539 h 1978172"/>
              <a:gd name="connsiteX21" fmla="*/ 9469082 w 10768629"/>
              <a:gd name="connsiteY21" fmla="*/ 454891 h 1978172"/>
              <a:gd name="connsiteX22" fmla="*/ 9448038 w 10768629"/>
              <a:gd name="connsiteY22" fmla="*/ 459733 h 1978172"/>
              <a:gd name="connsiteX23" fmla="*/ 9396821 w 10768629"/>
              <a:gd name="connsiteY23" fmla="*/ 455795 h 1978172"/>
              <a:gd name="connsiteX24" fmla="*/ 9392197 w 10768629"/>
              <a:gd name="connsiteY24" fmla="*/ 459796 h 1978172"/>
              <a:gd name="connsiteX25" fmla="*/ 9347994 w 10768629"/>
              <a:gd name="connsiteY25" fmla="*/ 464462 h 1978172"/>
              <a:gd name="connsiteX26" fmla="*/ 9347889 w 10768629"/>
              <a:gd name="connsiteY26" fmla="*/ 466539 h 1978172"/>
              <a:gd name="connsiteX27" fmla="*/ 9337639 w 10768629"/>
              <a:gd name="connsiteY27" fmla="*/ 476654 h 1978172"/>
              <a:gd name="connsiteX28" fmla="*/ 9287964 w 10768629"/>
              <a:gd name="connsiteY28" fmla="*/ 513052 h 1978172"/>
              <a:gd name="connsiteX29" fmla="*/ 9229283 w 10768629"/>
              <a:gd name="connsiteY29" fmla="*/ 555377 h 1978172"/>
              <a:gd name="connsiteX30" fmla="*/ 9220274 w 10768629"/>
              <a:gd name="connsiteY30" fmla="*/ 557502 h 1978172"/>
              <a:gd name="connsiteX31" fmla="*/ 9220202 w 10768629"/>
              <a:gd name="connsiteY31" fmla="*/ 558001 h 1978172"/>
              <a:gd name="connsiteX32" fmla="*/ 9210908 w 10768629"/>
              <a:gd name="connsiteY32" fmla="*/ 561147 h 1978172"/>
              <a:gd name="connsiteX33" fmla="*/ 9186374 w 10768629"/>
              <a:gd name="connsiteY33" fmla="*/ 565502 h 1978172"/>
              <a:gd name="connsiteX34" fmla="*/ 9181058 w 10768629"/>
              <a:gd name="connsiteY34" fmla="*/ 569943 h 1978172"/>
              <a:gd name="connsiteX35" fmla="*/ 9167549 w 10768629"/>
              <a:gd name="connsiteY35" fmla="*/ 584727 h 1978172"/>
              <a:gd name="connsiteX36" fmla="*/ 9149110 w 10768629"/>
              <a:gd name="connsiteY36" fmla="*/ 598906 h 1978172"/>
              <a:gd name="connsiteX37" fmla="*/ 9078556 w 10768629"/>
              <a:gd name="connsiteY37" fmla="*/ 644039 h 1978172"/>
              <a:gd name="connsiteX38" fmla="*/ 8996399 w 10768629"/>
              <a:gd name="connsiteY38" fmla="*/ 690055 h 1978172"/>
              <a:gd name="connsiteX39" fmla="*/ 8803791 w 10768629"/>
              <a:gd name="connsiteY39" fmla="*/ 813860 h 1978172"/>
              <a:gd name="connsiteX40" fmla="*/ 8636202 w 10768629"/>
              <a:gd name="connsiteY40" fmla="*/ 848463 h 1978172"/>
              <a:gd name="connsiteX41" fmla="*/ 8555372 w 10768629"/>
              <a:gd name="connsiteY41" fmla="*/ 883171 h 1978172"/>
              <a:gd name="connsiteX42" fmla="*/ 8507229 w 10768629"/>
              <a:gd name="connsiteY42" fmla="*/ 901665 h 1978172"/>
              <a:gd name="connsiteX43" fmla="*/ 8428473 w 10768629"/>
              <a:gd name="connsiteY43" fmla="*/ 927985 h 1978172"/>
              <a:gd name="connsiteX44" fmla="*/ 8427914 w 10768629"/>
              <a:gd name="connsiteY44" fmla="*/ 933480 h 1978172"/>
              <a:gd name="connsiteX45" fmla="*/ 8420327 w 10768629"/>
              <a:gd name="connsiteY45" fmla="*/ 941984 h 1978172"/>
              <a:gd name="connsiteX46" fmla="*/ 8394729 w 10768629"/>
              <a:gd name="connsiteY46" fmla="*/ 948347 h 1978172"/>
              <a:gd name="connsiteX47" fmla="*/ 8380548 w 10768629"/>
              <a:gd name="connsiteY47" fmla="*/ 987916 h 1978172"/>
              <a:gd name="connsiteX48" fmla="*/ 8375330 w 10768629"/>
              <a:gd name="connsiteY48" fmla="*/ 965444 h 1978172"/>
              <a:gd name="connsiteX49" fmla="*/ 8340796 w 10768629"/>
              <a:gd name="connsiteY49" fmla="*/ 980522 h 1978172"/>
              <a:gd name="connsiteX50" fmla="*/ 8304438 w 10768629"/>
              <a:gd name="connsiteY50" fmla="*/ 996739 h 1978172"/>
              <a:gd name="connsiteX51" fmla="*/ 8280929 w 10768629"/>
              <a:gd name="connsiteY51" fmla="*/ 1023089 h 1978172"/>
              <a:gd name="connsiteX52" fmla="*/ 8275760 w 10768629"/>
              <a:gd name="connsiteY52" fmla="*/ 1027772 h 1978172"/>
              <a:gd name="connsiteX53" fmla="*/ 8275478 w 10768629"/>
              <a:gd name="connsiteY53" fmla="*/ 1027605 h 1978172"/>
              <a:gd name="connsiteX54" fmla="*/ 8249003 w 10768629"/>
              <a:gd name="connsiteY54" fmla="*/ 1032033 h 1978172"/>
              <a:gd name="connsiteX55" fmla="*/ 8203836 w 10768629"/>
              <a:gd name="connsiteY55" fmla="*/ 1037347 h 1978172"/>
              <a:gd name="connsiteX56" fmla="*/ 8122936 w 10768629"/>
              <a:gd name="connsiteY56" fmla="*/ 1063113 h 1978172"/>
              <a:gd name="connsiteX57" fmla="*/ 8043658 w 10768629"/>
              <a:gd name="connsiteY57" fmla="*/ 1092746 h 1978172"/>
              <a:gd name="connsiteX58" fmla="*/ 8015351 w 10768629"/>
              <a:gd name="connsiteY58" fmla="*/ 1105478 h 1978172"/>
              <a:gd name="connsiteX59" fmla="*/ 7963145 w 10768629"/>
              <a:gd name="connsiteY59" fmla="*/ 1119346 h 1978172"/>
              <a:gd name="connsiteX60" fmla="*/ 7938145 w 10768629"/>
              <a:gd name="connsiteY60" fmla="*/ 1120225 h 1978172"/>
              <a:gd name="connsiteX61" fmla="*/ 7937238 w 10768629"/>
              <a:gd name="connsiteY61" fmla="*/ 1121204 h 1978172"/>
              <a:gd name="connsiteX62" fmla="*/ 7934398 w 10768629"/>
              <a:gd name="connsiteY62" fmla="*/ 1118240 h 1978172"/>
              <a:gd name="connsiteX63" fmla="*/ 7918248 w 10768629"/>
              <a:gd name="connsiteY63" fmla="*/ 1124371 h 1978172"/>
              <a:gd name="connsiteX64" fmla="*/ 7914119 w 10768629"/>
              <a:gd name="connsiteY64" fmla="*/ 1127653 h 1978172"/>
              <a:gd name="connsiteX65" fmla="*/ 7907658 w 10768629"/>
              <a:gd name="connsiteY65" fmla="*/ 1130350 h 1978172"/>
              <a:gd name="connsiteX66" fmla="*/ 7907434 w 10768629"/>
              <a:gd name="connsiteY66" fmla="*/ 1130103 h 1978172"/>
              <a:gd name="connsiteX67" fmla="*/ 7901508 w 10768629"/>
              <a:gd name="connsiteY67" fmla="*/ 1133245 h 1978172"/>
              <a:gd name="connsiteX68" fmla="*/ 7873287 w 10768629"/>
              <a:gd name="connsiteY68" fmla="*/ 1152609 h 1978172"/>
              <a:gd name="connsiteX69" fmla="*/ 7834833 w 10768629"/>
              <a:gd name="connsiteY69" fmla="*/ 1153868 h 1978172"/>
              <a:gd name="connsiteX70" fmla="*/ 7828661 w 10768629"/>
              <a:gd name="connsiteY70" fmla="*/ 1139994 h 1978172"/>
              <a:gd name="connsiteX71" fmla="*/ 7823966 w 10768629"/>
              <a:gd name="connsiteY71" fmla="*/ 1143178 h 1978172"/>
              <a:gd name="connsiteX72" fmla="*/ 7815078 w 10768629"/>
              <a:gd name="connsiteY72" fmla="*/ 1151776 h 1978172"/>
              <a:gd name="connsiteX73" fmla="*/ 7812026 w 10768629"/>
              <a:gd name="connsiteY73" fmla="*/ 1151522 h 1978172"/>
              <a:gd name="connsiteX74" fmla="*/ 7782249 w 10768629"/>
              <a:gd name="connsiteY74" fmla="*/ 1160970 h 1978172"/>
              <a:gd name="connsiteX75" fmla="*/ 7773476 w 10768629"/>
              <a:gd name="connsiteY75" fmla="*/ 1157414 h 1978172"/>
              <a:gd name="connsiteX76" fmla="*/ 7769600 w 10768629"/>
              <a:gd name="connsiteY76" fmla="*/ 1157365 h 1978172"/>
              <a:gd name="connsiteX77" fmla="*/ 7752631 w 10768629"/>
              <a:gd name="connsiteY77" fmla="*/ 1172815 h 1978172"/>
              <a:gd name="connsiteX78" fmla="*/ 7739392 w 10768629"/>
              <a:gd name="connsiteY78" fmla="*/ 1192062 h 1978172"/>
              <a:gd name="connsiteX79" fmla="*/ 7677677 w 10768629"/>
              <a:gd name="connsiteY79" fmla="*/ 1216394 h 1978172"/>
              <a:gd name="connsiteX80" fmla="*/ 7586920 w 10768629"/>
              <a:gd name="connsiteY80" fmla="*/ 1261888 h 1978172"/>
              <a:gd name="connsiteX81" fmla="*/ 7486100 w 10768629"/>
              <a:gd name="connsiteY81" fmla="*/ 1292563 h 1978172"/>
              <a:gd name="connsiteX82" fmla="*/ 7411323 w 10768629"/>
              <a:gd name="connsiteY82" fmla="*/ 1340732 h 1978172"/>
              <a:gd name="connsiteX83" fmla="*/ 7240698 w 10768629"/>
              <a:gd name="connsiteY83" fmla="*/ 1438832 h 1978172"/>
              <a:gd name="connsiteX84" fmla="*/ 7197675 w 10768629"/>
              <a:gd name="connsiteY84" fmla="*/ 1447530 h 1978172"/>
              <a:gd name="connsiteX85" fmla="*/ 7164788 w 10768629"/>
              <a:gd name="connsiteY85" fmla="*/ 1480293 h 1978172"/>
              <a:gd name="connsiteX86" fmla="*/ 7147929 w 10768629"/>
              <a:gd name="connsiteY86" fmla="*/ 1477641 h 1978172"/>
              <a:gd name="connsiteX87" fmla="*/ 7144965 w 10768629"/>
              <a:gd name="connsiteY87" fmla="*/ 1476908 h 1978172"/>
              <a:gd name="connsiteX88" fmla="*/ 7134299 w 10768629"/>
              <a:gd name="connsiteY88" fmla="*/ 1479969 h 1978172"/>
              <a:gd name="connsiteX89" fmla="*/ 7129809 w 10768629"/>
              <a:gd name="connsiteY89" fmla="*/ 1473339 h 1978172"/>
              <a:gd name="connsiteX90" fmla="*/ 7112688 w 10768629"/>
              <a:gd name="connsiteY90" fmla="*/ 1472575 h 1978172"/>
              <a:gd name="connsiteX91" fmla="*/ 7093470 w 10768629"/>
              <a:gd name="connsiteY91" fmla="*/ 1480300 h 1978172"/>
              <a:gd name="connsiteX92" fmla="*/ 7025034 w 10768629"/>
              <a:gd name="connsiteY92" fmla="*/ 1506934 h 1978172"/>
              <a:gd name="connsiteX93" fmla="*/ 7014783 w 10768629"/>
              <a:gd name="connsiteY93" fmla="*/ 1515868 h 1978172"/>
              <a:gd name="connsiteX94" fmla="*/ 6979706 w 10768629"/>
              <a:gd name="connsiteY94" fmla="*/ 1523511 h 1978172"/>
              <a:gd name="connsiteX95" fmla="*/ 6977890 w 10768629"/>
              <a:gd name="connsiteY95" fmla="*/ 1525793 h 1978172"/>
              <a:gd name="connsiteX96" fmla="*/ 6944339 w 10768629"/>
              <a:gd name="connsiteY96" fmla="*/ 1536237 h 1978172"/>
              <a:gd name="connsiteX97" fmla="*/ 6886996 w 10768629"/>
              <a:gd name="connsiteY97" fmla="*/ 1563569 h 1978172"/>
              <a:gd name="connsiteX98" fmla="*/ 6874510 w 10768629"/>
              <a:gd name="connsiteY98" fmla="*/ 1558469 h 1978172"/>
              <a:gd name="connsiteX99" fmla="*/ 6871943 w 10768629"/>
              <a:gd name="connsiteY99" fmla="*/ 1554651 h 1978172"/>
              <a:gd name="connsiteX100" fmla="*/ 6856174 w 10768629"/>
              <a:gd name="connsiteY100" fmla="*/ 1562024 h 1978172"/>
              <a:gd name="connsiteX101" fmla="*/ 6842321 w 10768629"/>
              <a:gd name="connsiteY101" fmla="*/ 1560554 h 1978172"/>
              <a:gd name="connsiteX102" fmla="*/ 6832713 w 10768629"/>
              <a:gd name="connsiteY102" fmla="*/ 1569357 h 1978172"/>
              <a:gd name="connsiteX103" fmla="*/ 6816351 w 10768629"/>
              <a:gd name="connsiteY103" fmla="*/ 1571495 h 1978172"/>
              <a:gd name="connsiteX104" fmla="*/ 6795800 w 10768629"/>
              <a:gd name="connsiteY104" fmla="*/ 1572010 h 1978172"/>
              <a:gd name="connsiteX105" fmla="*/ 6777546 w 10768629"/>
              <a:gd name="connsiteY105" fmla="*/ 1568661 h 1978172"/>
              <a:gd name="connsiteX106" fmla="*/ 6751528 w 10768629"/>
              <a:gd name="connsiteY106" fmla="*/ 1574143 h 1978172"/>
              <a:gd name="connsiteX107" fmla="*/ 6691966 w 10768629"/>
              <a:gd name="connsiteY107" fmla="*/ 1582255 h 1978172"/>
              <a:gd name="connsiteX108" fmla="*/ 6646941 w 10768629"/>
              <a:gd name="connsiteY108" fmla="*/ 1588471 h 1978172"/>
              <a:gd name="connsiteX109" fmla="*/ 6568576 w 10768629"/>
              <a:gd name="connsiteY109" fmla="*/ 1606488 h 1978172"/>
              <a:gd name="connsiteX110" fmla="*/ 6554358 w 10768629"/>
              <a:gd name="connsiteY110" fmla="*/ 1621701 h 1978172"/>
              <a:gd name="connsiteX111" fmla="*/ 6516968 w 10768629"/>
              <a:gd name="connsiteY111" fmla="*/ 1617195 h 1978172"/>
              <a:gd name="connsiteX112" fmla="*/ 6506479 w 10768629"/>
              <a:gd name="connsiteY112" fmla="*/ 1602227 h 1978172"/>
              <a:gd name="connsiteX113" fmla="*/ 6458436 w 10768629"/>
              <a:gd name="connsiteY113" fmla="*/ 1607332 h 1978172"/>
              <a:gd name="connsiteX114" fmla="*/ 6414786 w 10768629"/>
              <a:gd name="connsiteY114" fmla="*/ 1628815 h 1978172"/>
              <a:gd name="connsiteX115" fmla="*/ 6357085 w 10768629"/>
              <a:gd name="connsiteY115" fmla="*/ 1640846 h 1978172"/>
              <a:gd name="connsiteX116" fmla="*/ 6322636 w 10768629"/>
              <a:gd name="connsiteY116" fmla="*/ 1648213 h 1978172"/>
              <a:gd name="connsiteX117" fmla="*/ 6226172 w 10768629"/>
              <a:gd name="connsiteY117" fmla="*/ 1654676 h 1978172"/>
              <a:gd name="connsiteX118" fmla="*/ 6221217 w 10768629"/>
              <a:gd name="connsiteY118" fmla="*/ 1654506 h 1978172"/>
              <a:gd name="connsiteX119" fmla="*/ 6204956 w 10768629"/>
              <a:gd name="connsiteY119" fmla="*/ 1664280 h 1978172"/>
              <a:gd name="connsiteX120" fmla="*/ 6204270 w 10768629"/>
              <a:gd name="connsiteY120" fmla="*/ 1666782 h 1978172"/>
              <a:gd name="connsiteX121" fmla="*/ 6143810 w 10768629"/>
              <a:gd name="connsiteY121" fmla="*/ 1661963 h 1978172"/>
              <a:gd name="connsiteX122" fmla="*/ 6136560 w 10768629"/>
              <a:gd name="connsiteY122" fmla="*/ 1665728 h 1978172"/>
              <a:gd name="connsiteX123" fmla="*/ 6096155 w 10768629"/>
              <a:gd name="connsiteY123" fmla="*/ 1656951 h 1978172"/>
              <a:gd name="connsiteX124" fmla="*/ 6075812 w 10768629"/>
              <a:gd name="connsiteY124" fmla="*/ 1655422 h 1978172"/>
              <a:gd name="connsiteX125" fmla="*/ 6039495 w 10768629"/>
              <a:gd name="connsiteY125" fmla="*/ 1649680 h 1978172"/>
              <a:gd name="connsiteX126" fmla="*/ 6036523 w 10768629"/>
              <a:gd name="connsiteY126" fmla="*/ 1652121 h 1978172"/>
              <a:gd name="connsiteX127" fmla="*/ 6029328 w 10768629"/>
              <a:gd name="connsiteY127" fmla="*/ 1649904 h 1978172"/>
              <a:gd name="connsiteX128" fmla="*/ 6024075 w 10768629"/>
              <a:gd name="connsiteY128" fmla="*/ 1652779 h 1978172"/>
              <a:gd name="connsiteX129" fmla="*/ 6018085 w 10768629"/>
              <a:gd name="connsiteY129" fmla="*/ 1652030 h 1978172"/>
              <a:gd name="connsiteX130" fmla="*/ 5955513 w 10768629"/>
              <a:gd name="connsiteY130" fmla="*/ 1663584 h 1978172"/>
              <a:gd name="connsiteX131" fmla="*/ 5941996 w 10768629"/>
              <a:gd name="connsiteY131" fmla="*/ 1661326 h 1978172"/>
              <a:gd name="connsiteX132" fmla="*/ 5931789 w 10768629"/>
              <a:gd name="connsiteY132" fmla="*/ 1669915 h 1978172"/>
              <a:gd name="connsiteX133" fmla="*/ 5888686 w 10768629"/>
              <a:gd name="connsiteY133" fmla="*/ 1672175 h 1978172"/>
              <a:gd name="connsiteX134" fmla="*/ 5873794 w 10768629"/>
              <a:gd name="connsiteY134" fmla="*/ 1665454 h 1978172"/>
              <a:gd name="connsiteX135" fmla="*/ 5860022 w 10768629"/>
              <a:gd name="connsiteY135" fmla="*/ 1660635 h 1978172"/>
              <a:gd name="connsiteX136" fmla="*/ 5858237 w 10768629"/>
              <a:gd name="connsiteY136" fmla="*/ 1660649 h 1978172"/>
              <a:gd name="connsiteX137" fmla="*/ 5840319 w 10768629"/>
              <a:gd name="connsiteY137" fmla="*/ 1660798 h 1978172"/>
              <a:gd name="connsiteX138" fmla="*/ 5806984 w 10768629"/>
              <a:gd name="connsiteY138" fmla="*/ 1661075 h 1978172"/>
              <a:gd name="connsiteX139" fmla="*/ 5742351 w 10768629"/>
              <a:gd name="connsiteY139" fmla="*/ 1667489 h 1978172"/>
              <a:gd name="connsiteX140" fmla="*/ 5521171 w 10768629"/>
              <a:gd name="connsiteY140" fmla="*/ 1671626 h 1978172"/>
              <a:gd name="connsiteX141" fmla="*/ 5457384 w 10768629"/>
              <a:gd name="connsiteY141" fmla="*/ 1683952 h 1978172"/>
              <a:gd name="connsiteX142" fmla="*/ 4950070 w 10768629"/>
              <a:gd name="connsiteY142" fmla="*/ 1748401 h 1978172"/>
              <a:gd name="connsiteX143" fmla="*/ 4872172 w 10768629"/>
              <a:gd name="connsiteY143" fmla="*/ 1757222 h 1978172"/>
              <a:gd name="connsiteX144" fmla="*/ 4809524 w 10768629"/>
              <a:gd name="connsiteY144" fmla="*/ 1761033 h 1978172"/>
              <a:gd name="connsiteX145" fmla="*/ 4759058 w 10768629"/>
              <a:gd name="connsiteY145" fmla="*/ 1766533 h 1978172"/>
              <a:gd name="connsiteX146" fmla="*/ 4719749 w 10768629"/>
              <a:gd name="connsiteY146" fmla="*/ 1771811 h 1978172"/>
              <a:gd name="connsiteX147" fmla="*/ 4568686 w 10768629"/>
              <a:gd name="connsiteY147" fmla="*/ 1786141 h 1978172"/>
              <a:gd name="connsiteX148" fmla="*/ 4418751 w 10768629"/>
              <a:gd name="connsiteY148" fmla="*/ 1796932 h 1978172"/>
              <a:gd name="connsiteX149" fmla="*/ 4378377 w 10768629"/>
              <a:gd name="connsiteY149" fmla="*/ 1815528 h 1978172"/>
              <a:gd name="connsiteX150" fmla="*/ 4320575 w 10768629"/>
              <a:gd name="connsiteY150" fmla="*/ 1832722 h 1978172"/>
              <a:gd name="connsiteX151" fmla="*/ 4211935 w 10768629"/>
              <a:gd name="connsiteY151" fmla="*/ 1860177 h 1978172"/>
              <a:gd name="connsiteX152" fmla="*/ 4101228 w 10768629"/>
              <a:gd name="connsiteY152" fmla="*/ 1868717 h 1978172"/>
              <a:gd name="connsiteX153" fmla="*/ 3973223 w 10768629"/>
              <a:gd name="connsiteY153" fmla="*/ 1881015 h 1978172"/>
              <a:gd name="connsiteX154" fmla="*/ 3900992 w 10768629"/>
              <a:gd name="connsiteY154" fmla="*/ 1880603 h 1978172"/>
              <a:gd name="connsiteX155" fmla="*/ 3662119 w 10768629"/>
              <a:gd name="connsiteY155" fmla="*/ 1889285 h 1978172"/>
              <a:gd name="connsiteX156" fmla="*/ 3496919 w 10768629"/>
              <a:gd name="connsiteY156" fmla="*/ 1873180 h 1978172"/>
              <a:gd name="connsiteX157" fmla="*/ 3449433 w 10768629"/>
              <a:gd name="connsiteY157" fmla="*/ 1889681 h 1978172"/>
              <a:gd name="connsiteX158" fmla="*/ 3369766 w 10768629"/>
              <a:gd name="connsiteY158" fmla="*/ 1916653 h 1978172"/>
              <a:gd name="connsiteX159" fmla="*/ 3269672 w 10768629"/>
              <a:gd name="connsiteY159" fmla="*/ 1938036 h 1978172"/>
              <a:gd name="connsiteX160" fmla="*/ 3224897 w 10768629"/>
              <a:gd name="connsiteY160" fmla="*/ 1943733 h 1978172"/>
              <a:gd name="connsiteX161" fmla="*/ 3161463 w 10768629"/>
              <a:gd name="connsiteY161" fmla="*/ 1946591 h 1978172"/>
              <a:gd name="connsiteX162" fmla="*/ 3112044 w 10768629"/>
              <a:gd name="connsiteY162" fmla="*/ 1935614 h 1978172"/>
              <a:gd name="connsiteX163" fmla="*/ 3069716 w 10768629"/>
              <a:gd name="connsiteY163" fmla="*/ 1930463 h 1978172"/>
              <a:gd name="connsiteX164" fmla="*/ 3005773 w 10768629"/>
              <a:gd name="connsiteY164" fmla="*/ 1915878 h 1978172"/>
              <a:gd name="connsiteX165" fmla="*/ 2897201 w 10768629"/>
              <a:gd name="connsiteY165" fmla="*/ 1926772 h 1978172"/>
              <a:gd name="connsiteX166" fmla="*/ 2783891 w 10768629"/>
              <a:gd name="connsiteY166" fmla="*/ 1931749 h 1978172"/>
              <a:gd name="connsiteX167" fmla="*/ 2712447 w 10768629"/>
              <a:gd name="connsiteY167" fmla="*/ 1933044 h 1978172"/>
              <a:gd name="connsiteX168" fmla="*/ 2560151 w 10768629"/>
              <a:gd name="connsiteY168" fmla="*/ 1963609 h 1978172"/>
              <a:gd name="connsiteX169" fmla="*/ 2367221 w 10768629"/>
              <a:gd name="connsiteY169" fmla="*/ 1971884 h 1978172"/>
              <a:gd name="connsiteX170" fmla="*/ 2272130 w 10768629"/>
              <a:gd name="connsiteY170" fmla="*/ 1961162 h 1978172"/>
              <a:gd name="connsiteX171" fmla="*/ 2189404 w 10768629"/>
              <a:gd name="connsiteY171" fmla="*/ 1978172 h 1978172"/>
              <a:gd name="connsiteX172" fmla="*/ 2077704 w 10768629"/>
              <a:gd name="connsiteY172" fmla="*/ 1965002 h 1978172"/>
              <a:gd name="connsiteX173" fmla="*/ 2033299 w 10768629"/>
              <a:gd name="connsiteY173" fmla="*/ 1969042 h 1978172"/>
              <a:gd name="connsiteX174" fmla="*/ 1967996 w 10768629"/>
              <a:gd name="connsiteY174" fmla="*/ 1953187 h 1978172"/>
              <a:gd name="connsiteX175" fmla="*/ 1855805 w 10768629"/>
              <a:gd name="connsiteY175" fmla="*/ 1926082 h 1978172"/>
              <a:gd name="connsiteX176" fmla="*/ 1790957 w 10768629"/>
              <a:gd name="connsiteY176" fmla="*/ 1919460 h 1978172"/>
              <a:gd name="connsiteX177" fmla="*/ 1613978 w 10768629"/>
              <a:gd name="connsiteY177" fmla="*/ 1891581 h 1978172"/>
              <a:gd name="connsiteX178" fmla="*/ 1436831 w 10768629"/>
              <a:gd name="connsiteY178" fmla="*/ 1856201 h 1978172"/>
              <a:gd name="connsiteX179" fmla="*/ 1357365 w 10768629"/>
              <a:gd name="connsiteY179" fmla="*/ 1832140 h 1978172"/>
              <a:gd name="connsiteX180" fmla="*/ 1232341 w 10768629"/>
              <a:gd name="connsiteY180" fmla="*/ 1785942 h 1978172"/>
              <a:gd name="connsiteX181" fmla="*/ 1162595 w 10768629"/>
              <a:gd name="connsiteY181" fmla="*/ 1758337 h 1978172"/>
              <a:gd name="connsiteX182" fmla="*/ 1128523 w 10768629"/>
              <a:gd name="connsiteY182" fmla="*/ 1763621 h 1978172"/>
              <a:gd name="connsiteX183" fmla="*/ 991903 w 10768629"/>
              <a:gd name="connsiteY183" fmla="*/ 1786741 h 1978172"/>
              <a:gd name="connsiteX184" fmla="*/ 883960 w 10768629"/>
              <a:gd name="connsiteY184" fmla="*/ 1809389 h 1978172"/>
              <a:gd name="connsiteX185" fmla="*/ 766531 w 10768629"/>
              <a:gd name="connsiteY185" fmla="*/ 1805053 h 1978172"/>
              <a:gd name="connsiteX186" fmla="*/ 669779 w 10768629"/>
              <a:gd name="connsiteY186" fmla="*/ 1800537 h 1978172"/>
              <a:gd name="connsiteX187" fmla="*/ 523898 w 10768629"/>
              <a:gd name="connsiteY187" fmla="*/ 1811085 h 1978172"/>
              <a:gd name="connsiteX188" fmla="*/ 360251 w 10768629"/>
              <a:gd name="connsiteY188" fmla="*/ 1830735 h 1978172"/>
              <a:gd name="connsiteX189" fmla="*/ 255207 w 10768629"/>
              <a:gd name="connsiteY189" fmla="*/ 1818275 h 1978172"/>
              <a:gd name="connsiteX190" fmla="*/ 101803 w 10768629"/>
              <a:gd name="connsiteY190" fmla="*/ 1870647 h 1978172"/>
              <a:gd name="connsiteX191" fmla="*/ 25397 w 10768629"/>
              <a:gd name="connsiteY191" fmla="*/ 1888443 h 1978172"/>
              <a:gd name="connsiteX192" fmla="*/ 2370 w 10768629"/>
              <a:gd name="connsiteY192" fmla="*/ 1878311 h 1978172"/>
              <a:gd name="connsiteX193" fmla="*/ 0 w 10768629"/>
              <a:gd name="connsiteY193" fmla="*/ 1878785 h 1978172"/>
              <a:gd name="connsiteX194" fmla="*/ 0 w 10768629"/>
              <a:gd name="connsiteY194" fmla="*/ 0 h 1978172"/>
              <a:gd name="connsiteX0" fmla="*/ 0 w 10768629"/>
              <a:gd name="connsiteY0" fmla="*/ 0 h 1978172"/>
              <a:gd name="connsiteX1" fmla="*/ 10768629 w 10768629"/>
              <a:gd name="connsiteY1" fmla="*/ 0 h 1978172"/>
              <a:gd name="connsiteX2" fmla="*/ 10733254 w 10768629"/>
              <a:gd name="connsiteY2" fmla="*/ 31439 h 1978172"/>
              <a:gd name="connsiteX3" fmla="*/ 10727085 w 10768629"/>
              <a:gd name="connsiteY3" fmla="*/ 37910 h 1978172"/>
              <a:gd name="connsiteX4" fmla="*/ 10675953 w 10768629"/>
              <a:gd name="connsiteY4" fmla="*/ 68623 h 1978172"/>
              <a:gd name="connsiteX5" fmla="*/ 10637091 w 10768629"/>
              <a:gd name="connsiteY5" fmla="*/ 90361 h 1978172"/>
              <a:gd name="connsiteX6" fmla="*/ 10610971 w 10768629"/>
              <a:gd name="connsiteY6" fmla="*/ 110764 h 1978172"/>
              <a:gd name="connsiteX7" fmla="*/ 10532872 w 10768629"/>
              <a:gd name="connsiteY7" fmla="*/ 138028 h 1978172"/>
              <a:gd name="connsiteX8" fmla="*/ 10398558 w 10768629"/>
              <a:gd name="connsiteY8" fmla="*/ 172911 h 1978172"/>
              <a:gd name="connsiteX9" fmla="*/ 10371128 w 10768629"/>
              <a:gd name="connsiteY9" fmla="*/ 182609 h 1978172"/>
              <a:gd name="connsiteX10" fmla="*/ 10352178 w 10768629"/>
              <a:gd name="connsiteY10" fmla="*/ 199976 h 1978172"/>
              <a:gd name="connsiteX11" fmla="*/ 10351815 w 10768629"/>
              <a:gd name="connsiteY11" fmla="*/ 211879 h 1978172"/>
              <a:gd name="connsiteX12" fmla="*/ 10337471 w 10768629"/>
              <a:gd name="connsiteY12" fmla="*/ 218661 h 1978172"/>
              <a:gd name="connsiteX13" fmla="*/ 10334625 w 10768629"/>
              <a:gd name="connsiteY13" fmla="*/ 222351 h 1978172"/>
              <a:gd name="connsiteX14" fmla="*/ 10256365 w 10768629"/>
              <a:gd name="connsiteY14" fmla="*/ 235917 h 1978172"/>
              <a:gd name="connsiteX15" fmla="*/ 10201127 w 10768629"/>
              <a:gd name="connsiteY15" fmla="*/ 267448 h 1978172"/>
              <a:gd name="connsiteX16" fmla="*/ 9961218 w 10768629"/>
              <a:gd name="connsiteY16" fmla="*/ 326720 h 1978172"/>
              <a:gd name="connsiteX17" fmla="*/ 9859715 w 10768629"/>
              <a:gd name="connsiteY17" fmla="*/ 355698 h 1978172"/>
              <a:gd name="connsiteX18" fmla="*/ 9679867 w 10768629"/>
              <a:gd name="connsiteY18" fmla="*/ 399081 h 1978172"/>
              <a:gd name="connsiteX19" fmla="*/ 9490654 w 10768629"/>
              <a:gd name="connsiteY19" fmla="*/ 455225 h 1978172"/>
              <a:gd name="connsiteX20" fmla="*/ 9470837 w 10768629"/>
              <a:gd name="connsiteY20" fmla="*/ 452539 h 1978172"/>
              <a:gd name="connsiteX21" fmla="*/ 9469082 w 10768629"/>
              <a:gd name="connsiteY21" fmla="*/ 454891 h 1978172"/>
              <a:gd name="connsiteX22" fmla="*/ 9448038 w 10768629"/>
              <a:gd name="connsiteY22" fmla="*/ 459733 h 1978172"/>
              <a:gd name="connsiteX23" fmla="*/ 9396821 w 10768629"/>
              <a:gd name="connsiteY23" fmla="*/ 455795 h 1978172"/>
              <a:gd name="connsiteX24" fmla="*/ 9392197 w 10768629"/>
              <a:gd name="connsiteY24" fmla="*/ 459796 h 1978172"/>
              <a:gd name="connsiteX25" fmla="*/ 9347994 w 10768629"/>
              <a:gd name="connsiteY25" fmla="*/ 464462 h 1978172"/>
              <a:gd name="connsiteX26" fmla="*/ 9347889 w 10768629"/>
              <a:gd name="connsiteY26" fmla="*/ 466539 h 1978172"/>
              <a:gd name="connsiteX27" fmla="*/ 9337639 w 10768629"/>
              <a:gd name="connsiteY27" fmla="*/ 476654 h 1978172"/>
              <a:gd name="connsiteX28" fmla="*/ 9287964 w 10768629"/>
              <a:gd name="connsiteY28" fmla="*/ 513052 h 1978172"/>
              <a:gd name="connsiteX29" fmla="*/ 9229283 w 10768629"/>
              <a:gd name="connsiteY29" fmla="*/ 555377 h 1978172"/>
              <a:gd name="connsiteX30" fmla="*/ 9220274 w 10768629"/>
              <a:gd name="connsiteY30" fmla="*/ 557502 h 1978172"/>
              <a:gd name="connsiteX31" fmla="*/ 9220202 w 10768629"/>
              <a:gd name="connsiteY31" fmla="*/ 558001 h 1978172"/>
              <a:gd name="connsiteX32" fmla="*/ 9210908 w 10768629"/>
              <a:gd name="connsiteY32" fmla="*/ 561147 h 1978172"/>
              <a:gd name="connsiteX33" fmla="*/ 9186374 w 10768629"/>
              <a:gd name="connsiteY33" fmla="*/ 565502 h 1978172"/>
              <a:gd name="connsiteX34" fmla="*/ 9181058 w 10768629"/>
              <a:gd name="connsiteY34" fmla="*/ 569943 h 1978172"/>
              <a:gd name="connsiteX35" fmla="*/ 9167549 w 10768629"/>
              <a:gd name="connsiteY35" fmla="*/ 584727 h 1978172"/>
              <a:gd name="connsiteX36" fmla="*/ 9149110 w 10768629"/>
              <a:gd name="connsiteY36" fmla="*/ 598906 h 1978172"/>
              <a:gd name="connsiteX37" fmla="*/ 9078556 w 10768629"/>
              <a:gd name="connsiteY37" fmla="*/ 644039 h 1978172"/>
              <a:gd name="connsiteX38" fmla="*/ 8996399 w 10768629"/>
              <a:gd name="connsiteY38" fmla="*/ 690055 h 1978172"/>
              <a:gd name="connsiteX39" fmla="*/ 8803791 w 10768629"/>
              <a:gd name="connsiteY39" fmla="*/ 813860 h 1978172"/>
              <a:gd name="connsiteX40" fmla="*/ 8636202 w 10768629"/>
              <a:gd name="connsiteY40" fmla="*/ 848463 h 1978172"/>
              <a:gd name="connsiteX41" fmla="*/ 8555372 w 10768629"/>
              <a:gd name="connsiteY41" fmla="*/ 883171 h 1978172"/>
              <a:gd name="connsiteX42" fmla="*/ 8507229 w 10768629"/>
              <a:gd name="connsiteY42" fmla="*/ 901665 h 1978172"/>
              <a:gd name="connsiteX43" fmla="*/ 8428473 w 10768629"/>
              <a:gd name="connsiteY43" fmla="*/ 927985 h 1978172"/>
              <a:gd name="connsiteX44" fmla="*/ 8427914 w 10768629"/>
              <a:gd name="connsiteY44" fmla="*/ 933480 h 1978172"/>
              <a:gd name="connsiteX45" fmla="*/ 8420327 w 10768629"/>
              <a:gd name="connsiteY45" fmla="*/ 941984 h 1978172"/>
              <a:gd name="connsiteX46" fmla="*/ 8394729 w 10768629"/>
              <a:gd name="connsiteY46" fmla="*/ 948347 h 1978172"/>
              <a:gd name="connsiteX47" fmla="*/ 8380548 w 10768629"/>
              <a:gd name="connsiteY47" fmla="*/ 987916 h 1978172"/>
              <a:gd name="connsiteX48" fmla="*/ 8375330 w 10768629"/>
              <a:gd name="connsiteY48" fmla="*/ 965444 h 1978172"/>
              <a:gd name="connsiteX49" fmla="*/ 8340796 w 10768629"/>
              <a:gd name="connsiteY49" fmla="*/ 980522 h 1978172"/>
              <a:gd name="connsiteX50" fmla="*/ 8304438 w 10768629"/>
              <a:gd name="connsiteY50" fmla="*/ 996739 h 1978172"/>
              <a:gd name="connsiteX51" fmla="*/ 8280929 w 10768629"/>
              <a:gd name="connsiteY51" fmla="*/ 1023089 h 1978172"/>
              <a:gd name="connsiteX52" fmla="*/ 8275760 w 10768629"/>
              <a:gd name="connsiteY52" fmla="*/ 1027772 h 1978172"/>
              <a:gd name="connsiteX53" fmla="*/ 8275478 w 10768629"/>
              <a:gd name="connsiteY53" fmla="*/ 1027605 h 1978172"/>
              <a:gd name="connsiteX54" fmla="*/ 8249003 w 10768629"/>
              <a:gd name="connsiteY54" fmla="*/ 1032033 h 1978172"/>
              <a:gd name="connsiteX55" fmla="*/ 8203836 w 10768629"/>
              <a:gd name="connsiteY55" fmla="*/ 1037347 h 1978172"/>
              <a:gd name="connsiteX56" fmla="*/ 8122936 w 10768629"/>
              <a:gd name="connsiteY56" fmla="*/ 1063113 h 1978172"/>
              <a:gd name="connsiteX57" fmla="*/ 8043658 w 10768629"/>
              <a:gd name="connsiteY57" fmla="*/ 1092746 h 1978172"/>
              <a:gd name="connsiteX58" fmla="*/ 8015351 w 10768629"/>
              <a:gd name="connsiteY58" fmla="*/ 1105478 h 1978172"/>
              <a:gd name="connsiteX59" fmla="*/ 7963145 w 10768629"/>
              <a:gd name="connsiteY59" fmla="*/ 1119346 h 1978172"/>
              <a:gd name="connsiteX60" fmla="*/ 7938145 w 10768629"/>
              <a:gd name="connsiteY60" fmla="*/ 1120225 h 1978172"/>
              <a:gd name="connsiteX61" fmla="*/ 7937238 w 10768629"/>
              <a:gd name="connsiteY61" fmla="*/ 1121204 h 1978172"/>
              <a:gd name="connsiteX62" fmla="*/ 7934398 w 10768629"/>
              <a:gd name="connsiteY62" fmla="*/ 1118240 h 1978172"/>
              <a:gd name="connsiteX63" fmla="*/ 7918248 w 10768629"/>
              <a:gd name="connsiteY63" fmla="*/ 1124371 h 1978172"/>
              <a:gd name="connsiteX64" fmla="*/ 7914119 w 10768629"/>
              <a:gd name="connsiteY64" fmla="*/ 1127653 h 1978172"/>
              <a:gd name="connsiteX65" fmla="*/ 7907658 w 10768629"/>
              <a:gd name="connsiteY65" fmla="*/ 1130350 h 1978172"/>
              <a:gd name="connsiteX66" fmla="*/ 7907434 w 10768629"/>
              <a:gd name="connsiteY66" fmla="*/ 1130103 h 1978172"/>
              <a:gd name="connsiteX67" fmla="*/ 7901508 w 10768629"/>
              <a:gd name="connsiteY67" fmla="*/ 1133245 h 1978172"/>
              <a:gd name="connsiteX68" fmla="*/ 7873287 w 10768629"/>
              <a:gd name="connsiteY68" fmla="*/ 1152609 h 1978172"/>
              <a:gd name="connsiteX69" fmla="*/ 7834833 w 10768629"/>
              <a:gd name="connsiteY69" fmla="*/ 1153868 h 1978172"/>
              <a:gd name="connsiteX70" fmla="*/ 7828661 w 10768629"/>
              <a:gd name="connsiteY70" fmla="*/ 1139994 h 1978172"/>
              <a:gd name="connsiteX71" fmla="*/ 7823966 w 10768629"/>
              <a:gd name="connsiteY71" fmla="*/ 1143178 h 1978172"/>
              <a:gd name="connsiteX72" fmla="*/ 7815078 w 10768629"/>
              <a:gd name="connsiteY72" fmla="*/ 1151776 h 1978172"/>
              <a:gd name="connsiteX73" fmla="*/ 7812026 w 10768629"/>
              <a:gd name="connsiteY73" fmla="*/ 1151522 h 1978172"/>
              <a:gd name="connsiteX74" fmla="*/ 7782249 w 10768629"/>
              <a:gd name="connsiteY74" fmla="*/ 1160970 h 1978172"/>
              <a:gd name="connsiteX75" fmla="*/ 7773476 w 10768629"/>
              <a:gd name="connsiteY75" fmla="*/ 1157414 h 1978172"/>
              <a:gd name="connsiteX76" fmla="*/ 7769600 w 10768629"/>
              <a:gd name="connsiteY76" fmla="*/ 1157365 h 1978172"/>
              <a:gd name="connsiteX77" fmla="*/ 7752631 w 10768629"/>
              <a:gd name="connsiteY77" fmla="*/ 1172815 h 1978172"/>
              <a:gd name="connsiteX78" fmla="*/ 7739392 w 10768629"/>
              <a:gd name="connsiteY78" fmla="*/ 1192062 h 1978172"/>
              <a:gd name="connsiteX79" fmla="*/ 7677677 w 10768629"/>
              <a:gd name="connsiteY79" fmla="*/ 1216394 h 1978172"/>
              <a:gd name="connsiteX80" fmla="*/ 7586920 w 10768629"/>
              <a:gd name="connsiteY80" fmla="*/ 1261888 h 1978172"/>
              <a:gd name="connsiteX81" fmla="*/ 7486100 w 10768629"/>
              <a:gd name="connsiteY81" fmla="*/ 1292563 h 1978172"/>
              <a:gd name="connsiteX82" fmla="*/ 7411323 w 10768629"/>
              <a:gd name="connsiteY82" fmla="*/ 1340732 h 1978172"/>
              <a:gd name="connsiteX83" fmla="*/ 7240698 w 10768629"/>
              <a:gd name="connsiteY83" fmla="*/ 1438832 h 1978172"/>
              <a:gd name="connsiteX84" fmla="*/ 7197675 w 10768629"/>
              <a:gd name="connsiteY84" fmla="*/ 1447530 h 1978172"/>
              <a:gd name="connsiteX85" fmla="*/ 7164788 w 10768629"/>
              <a:gd name="connsiteY85" fmla="*/ 1480293 h 1978172"/>
              <a:gd name="connsiteX86" fmla="*/ 7147929 w 10768629"/>
              <a:gd name="connsiteY86" fmla="*/ 1477641 h 1978172"/>
              <a:gd name="connsiteX87" fmla="*/ 7144965 w 10768629"/>
              <a:gd name="connsiteY87" fmla="*/ 1476908 h 1978172"/>
              <a:gd name="connsiteX88" fmla="*/ 7134299 w 10768629"/>
              <a:gd name="connsiteY88" fmla="*/ 1479969 h 1978172"/>
              <a:gd name="connsiteX89" fmla="*/ 7129809 w 10768629"/>
              <a:gd name="connsiteY89" fmla="*/ 1473339 h 1978172"/>
              <a:gd name="connsiteX90" fmla="*/ 7112688 w 10768629"/>
              <a:gd name="connsiteY90" fmla="*/ 1472575 h 1978172"/>
              <a:gd name="connsiteX91" fmla="*/ 7093470 w 10768629"/>
              <a:gd name="connsiteY91" fmla="*/ 1480300 h 1978172"/>
              <a:gd name="connsiteX92" fmla="*/ 7025034 w 10768629"/>
              <a:gd name="connsiteY92" fmla="*/ 1506934 h 1978172"/>
              <a:gd name="connsiteX93" fmla="*/ 7014783 w 10768629"/>
              <a:gd name="connsiteY93" fmla="*/ 1515868 h 1978172"/>
              <a:gd name="connsiteX94" fmla="*/ 6979706 w 10768629"/>
              <a:gd name="connsiteY94" fmla="*/ 1523511 h 1978172"/>
              <a:gd name="connsiteX95" fmla="*/ 6977890 w 10768629"/>
              <a:gd name="connsiteY95" fmla="*/ 1525793 h 1978172"/>
              <a:gd name="connsiteX96" fmla="*/ 6944339 w 10768629"/>
              <a:gd name="connsiteY96" fmla="*/ 1536237 h 1978172"/>
              <a:gd name="connsiteX97" fmla="*/ 6886996 w 10768629"/>
              <a:gd name="connsiteY97" fmla="*/ 1563569 h 1978172"/>
              <a:gd name="connsiteX98" fmla="*/ 6874510 w 10768629"/>
              <a:gd name="connsiteY98" fmla="*/ 1558469 h 1978172"/>
              <a:gd name="connsiteX99" fmla="*/ 6871943 w 10768629"/>
              <a:gd name="connsiteY99" fmla="*/ 1554651 h 1978172"/>
              <a:gd name="connsiteX100" fmla="*/ 6856174 w 10768629"/>
              <a:gd name="connsiteY100" fmla="*/ 1562024 h 1978172"/>
              <a:gd name="connsiteX101" fmla="*/ 6842321 w 10768629"/>
              <a:gd name="connsiteY101" fmla="*/ 1560554 h 1978172"/>
              <a:gd name="connsiteX102" fmla="*/ 6832713 w 10768629"/>
              <a:gd name="connsiteY102" fmla="*/ 1569357 h 1978172"/>
              <a:gd name="connsiteX103" fmla="*/ 6816351 w 10768629"/>
              <a:gd name="connsiteY103" fmla="*/ 1571495 h 1978172"/>
              <a:gd name="connsiteX104" fmla="*/ 6795800 w 10768629"/>
              <a:gd name="connsiteY104" fmla="*/ 1572010 h 1978172"/>
              <a:gd name="connsiteX105" fmla="*/ 6777546 w 10768629"/>
              <a:gd name="connsiteY105" fmla="*/ 1568661 h 1978172"/>
              <a:gd name="connsiteX106" fmla="*/ 6751528 w 10768629"/>
              <a:gd name="connsiteY106" fmla="*/ 1574143 h 1978172"/>
              <a:gd name="connsiteX107" fmla="*/ 6691966 w 10768629"/>
              <a:gd name="connsiteY107" fmla="*/ 1582255 h 1978172"/>
              <a:gd name="connsiteX108" fmla="*/ 6646941 w 10768629"/>
              <a:gd name="connsiteY108" fmla="*/ 1588471 h 1978172"/>
              <a:gd name="connsiteX109" fmla="*/ 6568576 w 10768629"/>
              <a:gd name="connsiteY109" fmla="*/ 1606488 h 1978172"/>
              <a:gd name="connsiteX110" fmla="*/ 6554358 w 10768629"/>
              <a:gd name="connsiteY110" fmla="*/ 1621701 h 1978172"/>
              <a:gd name="connsiteX111" fmla="*/ 6516968 w 10768629"/>
              <a:gd name="connsiteY111" fmla="*/ 1617195 h 1978172"/>
              <a:gd name="connsiteX112" fmla="*/ 6506479 w 10768629"/>
              <a:gd name="connsiteY112" fmla="*/ 1602227 h 1978172"/>
              <a:gd name="connsiteX113" fmla="*/ 6458436 w 10768629"/>
              <a:gd name="connsiteY113" fmla="*/ 1607332 h 1978172"/>
              <a:gd name="connsiteX114" fmla="*/ 6414786 w 10768629"/>
              <a:gd name="connsiteY114" fmla="*/ 1628815 h 1978172"/>
              <a:gd name="connsiteX115" fmla="*/ 6357085 w 10768629"/>
              <a:gd name="connsiteY115" fmla="*/ 1640846 h 1978172"/>
              <a:gd name="connsiteX116" fmla="*/ 6322636 w 10768629"/>
              <a:gd name="connsiteY116" fmla="*/ 1648213 h 1978172"/>
              <a:gd name="connsiteX117" fmla="*/ 6226172 w 10768629"/>
              <a:gd name="connsiteY117" fmla="*/ 1654676 h 1978172"/>
              <a:gd name="connsiteX118" fmla="*/ 6221217 w 10768629"/>
              <a:gd name="connsiteY118" fmla="*/ 1654506 h 1978172"/>
              <a:gd name="connsiteX119" fmla="*/ 6204956 w 10768629"/>
              <a:gd name="connsiteY119" fmla="*/ 1664280 h 1978172"/>
              <a:gd name="connsiteX120" fmla="*/ 6204270 w 10768629"/>
              <a:gd name="connsiteY120" fmla="*/ 1666782 h 1978172"/>
              <a:gd name="connsiteX121" fmla="*/ 6143810 w 10768629"/>
              <a:gd name="connsiteY121" fmla="*/ 1661963 h 1978172"/>
              <a:gd name="connsiteX122" fmla="*/ 6136560 w 10768629"/>
              <a:gd name="connsiteY122" fmla="*/ 1665728 h 1978172"/>
              <a:gd name="connsiteX123" fmla="*/ 6096155 w 10768629"/>
              <a:gd name="connsiteY123" fmla="*/ 1656951 h 1978172"/>
              <a:gd name="connsiteX124" fmla="*/ 6075812 w 10768629"/>
              <a:gd name="connsiteY124" fmla="*/ 1655422 h 1978172"/>
              <a:gd name="connsiteX125" fmla="*/ 6039495 w 10768629"/>
              <a:gd name="connsiteY125" fmla="*/ 1649680 h 1978172"/>
              <a:gd name="connsiteX126" fmla="*/ 6036523 w 10768629"/>
              <a:gd name="connsiteY126" fmla="*/ 1652121 h 1978172"/>
              <a:gd name="connsiteX127" fmla="*/ 6029328 w 10768629"/>
              <a:gd name="connsiteY127" fmla="*/ 1649904 h 1978172"/>
              <a:gd name="connsiteX128" fmla="*/ 6024075 w 10768629"/>
              <a:gd name="connsiteY128" fmla="*/ 1652779 h 1978172"/>
              <a:gd name="connsiteX129" fmla="*/ 6018085 w 10768629"/>
              <a:gd name="connsiteY129" fmla="*/ 1652030 h 1978172"/>
              <a:gd name="connsiteX130" fmla="*/ 5955513 w 10768629"/>
              <a:gd name="connsiteY130" fmla="*/ 1663584 h 1978172"/>
              <a:gd name="connsiteX131" fmla="*/ 5941996 w 10768629"/>
              <a:gd name="connsiteY131" fmla="*/ 1661326 h 1978172"/>
              <a:gd name="connsiteX132" fmla="*/ 5931789 w 10768629"/>
              <a:gd name="connsiteY132" fmla="*/ 1669915 h 1978172"/>
              <a:gd name="connsiteX133" fmla="*/ 5888686 w 10768629"/>
              <a:gd name="connsiteY133" fmla="*/ 1672175 h 1978172"/>
              <a:gd name="connsiteX134" fmla="*/ 5873794 w 10768629"/>
              <a:gd name="connsiteY134" fmla="*/ 1665454 h 1978172"/>
              <a:gd name="connsiteX135" fmla="*/ 5860022 w 10768629"/>
              <a:gd name="connsiteY135" fmla="*/ 1660635 h 1978172"/>
              <a:gd name="connsiteX136" fmla="*/ 5858237 w 10768629"/>
              <a:gd name="connsiteY136" fmla="*/ 1660649 h 1978172"/>
              <a:gd name="connsiteX137" fmla="*/ 5840319 w 10768629"/>
              <a:gd name="connsiteY137" fmla="*/ 1660798 h 1978172"/>
              <a:gd name="connsiteX138" fmla="*/ 5806984 w 10768629"/>
              <a:gd name="connsiteY138" fmla="*/ 1661075 h 1978172"/>
              <a:gd name="connsiteX139" fmla="*/ 5742351 w 10768629"/>
              <a:gd name="connsiteY139" fmla="*/ 1667489 h 1978172"/>
              <a:gd name="connsiteX140" fmla="*/ 5521171 w 10768629"/>
              <a:gd name="connsiteY140" fmla="*/ 1671626 h 1978172"/>
              <a:gd name="connsiteX141" fmla="*/ 5457384 w 10768629"/>
              <a:gd name="connsiteY141" fmla="*/ 1683952 h 1978172"/>
              <a:gd name="connsiteX142" fmla="*/ 4950070 w 10768629"/>
              <a:gd name="connsiteY142" fmla="*/ 1748401 h 1978172"/>
              <a:gd name="connsiteX143" fmla="*/ 4872172 w 10768629"/>
              <a:gd name="connsiteY143" fmla="*/ 1757222 h 1978172"/>
              <a:gd name="connsiteX144" fmla="*/ 4809524 w 10768629"/>
              <a:gd name="connsiteY144" fmla="*/ 1761033 h 1978172"/>
              <a:gd name="connsiteX145" fmla="*/ 4759058 w 10768629"/>
              <a:gd name="connsiteY145" fmla="*/ 1766533 h 1978172"/>
              <a:gd name="connsiteX146" fmla="*/ 4719749 w 10768629"/>
              <a:gd name="connsiteY146" fmla="*/ 1771811 h 1978172"/>
              <a:gd name="connsiteX147" fmla="*/ 4568686 w 10768629"/>
              <a:gd name="connsiteY147" fmla="*/ 1786141 h 1978172"/>
              <a:gd name="connsiteX148" fmla="*/ 4418751 w 10768629"/>
              <a:gd name="connsiteY148" fmla="*/ 1796932 h 1978172"/>
              <a:gd name="connsiteX149" fmla="*/ 4378377 w 10768629"/>
              <a:gd name="connsiteY149" fmla="*/ 1815528 h 1978172"/>
              <a:gd name="connsiteX150" fmla="*/ 4320575 w 10768629"/>
              <a:gd name="connsiteY150" fmla="*/ 1832722 h 1978172"/>
              <a:gd name="connsiteX151" fmla="*/ 4211935 w 10768629"/>
              <a:gd name="connsiteY151" fmla="*/ 1860177 h 1978172"/>
              <a:gd name="connsiteX152" fmla="*/ 4101228 w 10768629"/>
              <a:gd name="connsiteY152" fmla="*/ 1868717 h 1978172"/>
              <a:gd name="connsiteX153" fmla="*/ 3973223 w 10768629"/>
              <a:gd name="connsiteY153" fmla="*/ 1881015 h 1978172"/>
              <a:gd name="connsiteX154" fmla="*/ 3900992 w 10768629"/>
              <a:gd name="connsiteY154" fmla="*/ 1880603 h 1978172"/>
              <a:gd name="connsiteX155" fmla="*/ 3662119 w 10768629"/>
              <a:gd name="connsiteY155" fmla="*/ 1889285 h 1978172"/>
              <a:gd name="connsiteX156" fmla="*/ 3496919 w 10768629"/>
              <a:gd name="connsiteY156" fmla="*/ 1873180 h 1978172"/>
              <a:gd name="connsiteX157" fmla="*/ 3449433 w 10768629"/>
              <a:gd name="connsiteY157" fmla="*/ 1889681 h 1978172"/>
              <a:gd name="connsiteX158" fmla="*/ 3369766 w 10768629"/>
              <a:gd name="connsiteY158" fmla="*/ 1916653 h 1978172"/>
              <a:gd name="connsiteX159" fmla="*/ 3269672 w 10768629"/>
              <a:gd name="connsiteY159" fmla="*/ 1938036 h 1978172"/>
              <a:gd name="connsiteX160" fmla="*/ 3224897 w 10768629"/>
              <a:gd name="connsiteY160" fmla="*/ 1943733 h 1978172"/>
              <a:gd name="connsiteX161" fmla="*/ 3161463 w 10768629"/>
              <a:gd name="connsiteY161" fmla="*/ 1946591 h 1978172"/>
              <a:gd name="connsiteX162" fmla="*/ 3112044 w 10768629"/>
              <a:gd name="connsiteY162" fmla="*/ 1935614 h 1978172"/>
              <a:gd name="connsiteX163" fmla="*/ 3069716 w 10768629"/>
              <a:gd name="connsiteY163" fmla="*/ 1930463 h 1978172"/>
              <a:gd name="connsiteX164" fmla="*/ 3005773 w 10768629"/>
              <a:gd name="connsiteY164" fmla="*/ 1915878 h 1978172"/>
              <a:gd name="connsiteX165" fmla="*/ 2897201 w 10768629"/>
              <a:gd name="connsiteY165" fmla="*/ 1926772 h 1978172"/>
              <a:gd name="connsiteX166" fmla="*/ 2783891 w 10768629"/>
              <a:gd name="connsiteY166" fmla="*/ 1931749 h 1978172"/>
              <a:gd name="connsiteX167" fmla="*/ 2712447 w 10768629"/>
              <a:gd name="connsiteY167" fmla="*/ 1933044 h 1978172"/>
              <a:gd name="connsiteX168" fmla="*/ 2560151 w 10768629"/>
              <a:gd name="connsiteY168" fmla="*/ 1963609 h 1978172"/>
              <a:gd name="connsiteX169" fmla="*/ 2367221 w 10768629"/>
              <a:gd name="connsiteY169" fmla="*/ 1971884 h 1978172"/>
              <a:gd name="connsiteX170" fmla="*/ 2272130 w 10768629"/>
              <a:gd name="connsiteY170" fmla="*/ 1961162 h 1978172"/>
              <a:gd name="connsiteX171" fmla="*/ 2189404 w 10768629"/>
              <a:gd name="connsiteY171" fmla="*/ 1978172 h 1978172"/>
              <a:gd name="connsiteX172" fmla="*/ 2077704 w 10768629"/>
              <a:gd name="connsiteY172" fmla="*/ 1965002 h 1978172"/>
              <a:gd name="connsiteX173" fmla="*/ 2033299 w 10768629"/>
              <a:gd name="connsiteY173" fmla="*/ 1969042 h 1978172"/>
              <a:gd name="connsiteX174" fmla="*/ 1967996 w 10768629"/>
              <a:gd name="connsiteY174" fmla="*/ 1953187 h 1978172"/>
              <a:gd name="connsiteX175" fmla="*/ 1855805 w 10768629"/>
              <a:gd name="connsiteY175" fmla="*/ 1926082 h 1978172"/>
              <a:gd name="connsiteX176" fmla="*/ 1790957 w 10768629"/>
              <a:gd name="connsiteY176" fmla="*/ 1919460 h 1978172"/>
              <a:gd name="connsiteX177" fmla="*/ 1613978 w 10768629"/>
              <a:gd name="connsiteY177" fmla="*/ 1891581 h 1978172"/>
              <a:gd name="connsiteX178" fmla="*/ 1436831 w 10768629"/>
              <a:gd name="connsiteY178" fmla="*/ 1856201 h 1978172"/>
              <a:gd name="connsiteX179" fmla="*/ 1357365 w 10768629"/>
              <a:gd name="connsiteY179" fmla="*/ 1832140 h 1978172"/>
              <a:gd name="connsiteX180" fmla="*/ 1232341 w 10768629"/>
              <a:gd name="connsiteY180" fmla="*/ 1785942 h 1978172"/>
              <a:gd name="connsiteX181" fmla="*/ 1162595 w 10768629"/>
              <a:gd name="connsiteY181" fmla="*/ 1758337 h 1978172"/>
              <a:gd name="connsiteX182" fmla="*/ 1128523 w 10768629"/>
              <a:gd name="connsiteY182" fmla="*/ 1763621 h 1978172"/>
              <a:gd name="connsiteX183" fmla="*/ 991903 w 10768629"/>
              <a:gd name="connsiteY183" fmla="*/ 1786741 h 1978172"/>
              <a:gd name="connsiteX184" fmla="*/ 883960 w 10768629"/>
              <a:gd name="connsiteY184" fmla="*/ 1809389 h 1978172"/>
              <a:gd name="connsiteX185" fmla="*/ 766531 w 10768629"/>
              <a:gd name="connsiteY185" fmla="*/ 1805053 h 1978172"/>
              <a:gd name="connsiteX186" fmla="*/ 669779 w 10768629"/>
              <a:gd name="connsiteY186" fmla="*/ 1800537 h 1978172"/>
              <a:gd name="connsiteX187" fmla="*/ 523898 w 10768629"/>
              <a:gd name="connsiteY187" fmla="*/ 1811085 h 1978172"/>
              <a:gd name="connsiteX188" fmla="*/ 360251 w 10768629"/>
              <a:gd name="connsiteY188" fmla="*/ 1830735 h 1978172"/>
              <a:gd name="connsiteX189" fmla="*/ 255207 w 10768629"/>
              <a:gd name="connsiteY189" fmla="*/ 1818275 h 1978172"/>
              <a:gd name="connsiteX190" fmla="*/ 101803 w 10768629"/>
              <a:gd name="connsiteY190" fmla="*/ 1870647 h 1978172"/>
              <a:gd name="connsiteX191" fmla="*/ 25397 w 10768629"/>
              <a:gd name="connsiteY191" fmla="*/ 1888443 h 1978172"/>
              <a:gd name="connsiteX192" fmla="*/ 2370 w 10768629"/>
              <a:gd name="connsiteY192" fmla="*/ 1878311 h 1978172"/>
              <a:gd name="connsiteX193" fmla="*/ 0 w 10768629"/>
              <a:gd name="connsiteY193" fmla="*/ 1878785 h 1978172"/>
              <a:gd name="connsiteX194" fmla="*/ 0 w 10768629"/>
              <a:gd name="connsiteY194" fmla="*/ 0 h 1978172"/>
              <a:gd name="connsiteX0" fmla="*/ 0 w 10768629"/>
              <a:gd name="connsiteY0" fmla="*/ 0 h 1978172"/>
              <a:gd name="connsiteX1" fmla="*/ 10768629 w 10768629"/>
              <a:gd name="connsiteY1" fmla="*/ 0 h 1978172"/>
              <a:gd name="connsiteX2" fmla="*/ 10733254 w 10768629"/>
              <a:gd name="connsiteY2" fmla="*/ 31439 h 1978172"/>
              <a:gd name="connsiteX3" fmla="*/ 10727085 w 10768629"/>
              <a:gd name="connsiteY3" fmla="*/ 37910 h 1978172"/>
              <a:gd name="connsiteX4" fmla="*/ 10675953 w 10768629"/>
              <a:gd name="connsiteY4" fmla="*/ 68623 h 1978172"/>
              <a:gd name="connsiteX5" fmla="*/ 10637091 w 10768629"/>
              <a:gd name="connsiteY5" fmla="*/ 90361 h 1978172"/>
              <a:gd name="connsiteX6" fmla="*/ 10610971 w 10768629"/>
              <a:gd name="connsiteY6" fmla="*/ 110764 h 1978172"/>
              <a:gd name="connsiteX7" fmla="*/ 10532872 w 10768629"/>
              <a:gd name="connsiteY7" fmla="*/ 138028 h 1978172"/>
              <a:gd name="connsiteX8" fmla="*/ 10398558 w 10768629"/>
              <a:gd name="connsiteY8" fmla="*/ 172911 h 1978172"/>
              <a:gd name="connsiteX9" fmla="*/ 10371128 w 10768629"/>
              <a:gd name="connsiteY9" fmla="*/ 182609 h 1978172"/>
              <a:gd name="connsiteX10" fmla="*/ 10352178 w 10768629"/>
              <a:gd name="connsiteY10" fmla="*/ 199976 h 1978172"/>
              <a:gd name="connsiteX11" fmla="*/ 10351815 w 10768629"/>
              <a:gd name="connsiteY11" fmla="*/ 211879 h 1978172"/>
              <a:gd name="connsiteX12" fmla="*/ 10337471 w 10768629"/>
              <a:gd name="connsiteY12" fmla="*/ 218661 h 1978172"/>
              <a:gd name="connsiteX13" fmla="*/ 10334625 w 10768629"/>
              <a:gd name="connsiteY13" fmla="*/ 222351 h 1978172"/>
              <a:gd name="connsiteX14" fmla="*/ 10256365 w 10768629"/>
              <a:gd name="connsiteY14" fmla="*/ 235917 h 1978172"/>
              <a:gd name="connsiteX15" fmla="*/ 10201127 w 10768629"/>
              <a:gd name="connsiteY15" fmla="*/ 267448 h 1978172"/>
              <a:gd name="connsiteX16" fmla="*/ 9961218 w 10768629"/>
              <a:gd name="connsiteY16" fmla="*/ 326720 h 1978172"/>
              <a:gd name="connsiteX17" fmla="*/ 9859715 w 10768629"/>
              <a:gd name="connsiteY17" fmla="*/ 355698 h 1978172"/>
              <a:gd name="connsiteX18" fmla="*/ 9679867 w 10768629"/>
              <a:gd name="connsiteY18" fmla="*/ 399081 h 1978172"/>
              <a:gd name="connsiteX19" fmla="*/ 9490654 w 10768629"/>
              <a:gd name="connsiteY19" fmla="*/ 455225 h 1978172"/>
              <a:gd name="connsiteX20" fmla="*/ 9470837 w 10768629"/>
              <a:gd name="connsiteY20" fmla="*/ 452539 h 1978172"/>
              <a:gd name="connsiteX21" fmla="*/ 9469082 w 10768629"/>
              <a:gd name="connsiteY21" fmla="*/ 454891 h 1978172"/>
              <a:gd name="connsiteX22" fmla="*/ 9448038 w 10768629"/>
              <a:gd name="connsiteY22" fmla="*/ 459733 h 1978172"/>
              <a:gd name="connsiteX23" fmla="*/ 9396821 w 10768629"/>
              <a:gd name="connsiteY23" fmla="*/ 455795 h 1978172"/>
              <a:gd name="connsiteX24" fmla="*/ 9392197 w 10768629"/>
              <a:gd name="connsiteY24" fmla="*/ 459796 h 1978172"/>
              <a:gd name="connsiteX25" fmla="*/ 9347994 w 10768629"/>
              <a:gd name="connsiteY25" fmla="*/ 464462 h 1978172"/>
              <a:gd name="connsiteX26" fmla="*/ 9347889 w 10768629"/>
              <a:gd name="connsiteY26" fmla="*/ 466539 h 1978172"/>
              <a:gd name="connsiteX27" fmla="*/ 9337639 w 10768629"/>
              <a:gd name="connsiteY27" fmla="*/ 476654 h 1978172"/>
              <a:gd name="connsiteX28" fmla="*/ 9287964 w 10768629"/>
              <a:gd name="connsiteY28" fmla="*/ 513052 h 1978172"/>
              <a:gd name="connsiteX29" fmla="*/ 9229283 w 10768629"/>
              <a:gd name="connsiteY29" fmla="*/ 555377 h 1978172"/>
              <a:gd name="connsiteX30" fmla="*/ 9220274 w 10768629"/>
              <a:gd name="connsiteY30" fmla="*/ 557502 h 1978172"/>
              <a:gd name="connsiteX31" fmla="*/ 9220202 w 10768629"/>
              <a:gd name="connsiteY31" fmla="*/ 558001 h 1978172"/>
              <a:gd name="connsiteX32" fmla="*/ 9210908 w 10768629"/>
              <a:gd name="connsiteY32" fmla="*/ 561147 h 1978172"/>
              <a:gd name="connsiteX33" fmla="*/ 9186374 w 10768629"/>
              <a:gd name="connsiteY33" fmla="*/ 565502 h 1978172"/>
              <a:gd name="connsiteX34" fmla="*/ 9181058 w 10768629"/>
              <a:gd name="connsiteY34" fmla="*/ 569943 h 1978172"/>
              <a:gd name="connsiteX35" fmla="*/ 9167549 w 10768629"/>
              <a:gd name="connsiteY35" fmla="*/ 584727 h 1978172"/>
              <a:gd name="connsiteX36" fmla="*/ 9149110 w 10768629"/>
              <a:gd name="connsiteY36" fmla="*/ 598906 h 1978172"/>
              <a:gd name="connsiteX37" fmla="*/ 9078556 w 10768629"/>
              <a:gd name="connsiteY37" fmla="*/ 644039 h 1978172"/>
              <a:gd name="connsiteX38" fmla="*/ 8996399 w 10768629"/>
              <a:gd name="connsiteY38" fmla="*/ 690055 h 1978172"/>
              <a:gd name="connsiteX39" fmla="*/ 8803791 w 10768629"/>
              <a:gd name="connsiteY39" fmla="*/ 813860 h 1978172"/>
              <a:gd name="connsiteX40" fmla="*/ 8636202 w 10768629"/>
              <a:gd name="connsiteY40" fmla="*/ 848463 h 1978172"/>
              <a:gd name="connsiteX41" fmla="*/ 8555372 w 10768629"/>
              <a:gd name="connsiteY41" fmla="*/ 883171 h 1978172"/>
              <a:gd name="connsiteX42" fmla="*/ 8507229 w 10768629"/>
              <a:gd name="connsiteY42" fmla="*/ 901665 h 1978172"/>
              <a:gd name="connsiteX43" fmla="*/ 8428473 w 10768629"/>
              <a:gd name="connsiteY43" fmla="*/ 927985 h 1978172"/>
              <a:gd name="connsiteX44" fmla="*/ 8427914 w 10768629"/>
              <a:gd name="connsiteY44" fmla="*/ 933480 h 1978172"/>
              <a:gd name="connsiteX45" fmla="*/ 8420327 w 10768629"/>
              <a:gd name="connsiteY45" fmla="*/ 941984 h 1978172"/>
              <a:gd name="connsiteX46" fmla="*/ 8394729 w 10768629"/>
              <a:gd name="connsiteY46" fmla="*/ 948347 h 1978172"/>
              <a:gd name="connsiteX47" fmla="*/ 8380548 w 10768629"/>
              <a:gd name="connsiteY47" fmla="*/ 987916 h 1978172"/>
              <a:gd name="connsiteX48" fmla="*/ 8375330 w 10768629"/>
              <a:gd name="connsiteY48" fmla="*/ 965444 h 1978172"/>
              <a:gd name="connsiteX49" fmla="*/ 8340796 w 10768629"/>
              <a:gd name="connsiteY49" fmla="*/ 980522 h 1978172"/>
              <a:gd name="connsiteX50" fmla="*/ 8304438 w 10768629"/>
              <a:gd name="connsiteY50" fmla="*/ 996739 h 1978172"/>
              <a:gd name="connsiteX51" fmla="*/ 8280929 w 10768629"/>
              <a:gd name="connsiteY51" fmla="*/ 1023089 h 1978172"/>
              <a:gd name="connsiteX52" fmla="*/ 8275760 w 10768629"/>
              <a:gd name="connsiteY52" fmla="*/ 1027772 h 1978172"/>
              <a:gd name="connsiteX53" fmla="*/ 8275478 w 10768629"/>
              <a:gd name="connsiteY53" fmla="*/ 1027605 h 1978172"/>
              <a:gd name="connsiteX54" fmla="*/ 8249003 w 10768629"/>
              <a:gd name="connsiteY54" fmla="*/ 1032033 h 1978172"/>
              <a:gd name="connsiteX55" fmla="*/ 8203836 w 10768629"/>
              <a:gd name="connsiteY55" fmla="*/ 1037347 h 1978172"/>
              <a:gd name="connsiteX56" fmla="*/ 8122936 w 10768629"/>
              <a:gd name="connsiteY56" fmla="*/ 1063113 h 1978172"/>
              <a:gd name="connsiteX57" fmla="*/ 8043658 w 10768629"/>
              <a:gd name="connsiteY57" fmla="*/ 1092746 h 1978172"/>
              <a:gd name="connsiteX58" fmla="*/ 8015351 w 10768629"/>
              <a:gd name="connsiteY58" fmla="*/ 1105478 h 1978172"/>
              <a:gd name="connsiteX59" fmla="*/ 7963145 w 10768629"/>
              <a:gd name="connsiteY59" fmla="*/ 1119346 h 1978172"/>
              <a:gd name="connsiteX60" fmla="*/ 7938145 w 10768629"/>
              <a:gd name="connsiteY60" fmla="*/ 1120225 h 1978172"/>
              <a:gd name="connsiteX61" fmla="*/ 7937238 w 10768629"/>
              <a:gd name="connsiteY61" fmla="*/ 1121204 h 1978172"/>
              <a:gd name="connsiteX62" fmla="*/ 7934398 w 10768629"/>
              <a:gd name="connsiteY62" fmla="*/ 1118240 h 1978172"/>
              <a:gd name="connsiteX63" fmla="*/ 7918248 w 10768629"/>
              <a:gd name="connsiteY63" fmla="*/ 1124371 h 1978172"/>
              <a:gd name="connsiteX64" fmla="*/ 7914119 w 10768629"/>
              <a:gd name="connsiteY64" fmla="*/ 1127653 h 1978172"/>
              <a:gd name="connsiteX65" fmla="*/ 7907658 w 10768629"/>
              <a:gd name="connsiteY65" fmla="*/ 1130350 h 1978172"/>
              <a:gd name="connsiteX66" fmla="*/ 7907434 w 10768629"/>
              <a:gd name="connsiteY66" fmla="*/ 1130103 h 1978172"/>
              <a:gd name="connsiteX67" fmla="*/ 7901508 w 10768629"/>
              <a:gd name="connsiteY67" fmla="*/ 1133245 h 1978172"/>
              <a:gd name="connsiteX68" fmla="*/ 7873287 w 10768629"/>
              <a:gd name="connsiteY68" fmla="*/ 1152609 h 1978172"/>
              <a:gd name="connsiteX69" fmla="*/ 7834833 w 10768629"/>
              <a:gd name="connsiteY69" fmla="*/ 1153868 h 1978172"/>
              <a:gd name="connsiteX70" fmla="*/ 7828661 w 10768629"/>
              <a:gd name="connsiteY70" fmla="*/ 1139994 h 1978172"/>
              <a:gd name="connsiteX71" fmla="*/ 7823966 w 10768629"/>
              <a:gd name="connsiteY71" fmla="*/ 1143178 h 1978172"/>
              <a:gd name="connsiteX72" fmla="*/ 7815078 w 10768629"/>
              <a:gd name="connsiteY72" fmla="*/ 1151776 h 1978172"/>
              <a:gd name="connsiteX73" fmla="*/ 7812026 w 10768629"/>
              <a:gd name="connsiteY73" fmla="*/ 1151522 h 1978172"/>
              <a:gd name="connsiteX74" fmla="*/ 7782249 w 10768629"/>
              <a:gd name="connsiteY74" fmla="*/ 1160970 h 1978172"/>
              <a:gd name="connsiteX75" fmla="*/ 7773476 w 10768629"/>
              <a:gd name="connsiteY75" fmla="*/ 1157414 h 1978172"/>
              <a:gd name="connsiteX76" fmla="*/ 7769600 w 10768629"/>
              <a:gd name="connsiteY76" fmla="*/ 1157365 h 1978172"/>
              <a:gd name="connsiteX77" fmla="*/ 7752631 w 10768629"/>
              <a:gd name="connsiteY77" fmla="*/ 1172815 h 1978172"/>
              <a:gd name="connsiteX78" fmla="*/ 7739392 w 10768629"/>
              <a:gd name="connsiteY78" fmla="*/ 1192062 h 1978172"/>
              <a:gd name="connsiteX79" fmla="*/ 7677677 w 10768629"/>
              <a:gd name="connsiteY79" fmla="*/ 1216394 h 1978172"/>
              <a:gd name="connsiteX80" fmla="*/ 7586920 w 10768629"/>
              <a:gd name="connsiteY80" fmla="*/ 1261888 h 1978172"/>
              <a:gd name="connsiteX81" fmla="*/ 7486100 w 10768629"/>
              <a:gd name="connsiteY81" fmla="*/ 1292563 h 1978172"/>
              <a:gd name="connsiteX82" fmla="*/ 7411323 w 10768629"/>
              <a:gd name="connsiteY82" fmla="*/ 1340732 h 1978172"/>
              <a:gd name="connsiteX83" fmla="*/ 7240698 w 10768629"/>
              <a:gd name="connsiteY83" fmla="*/ 1438832 h 1978172"/>
              <a:gd name="connsiteX84" fmla="*/ 7197675 w 10768629"/>
              <a:gd name="connsiteY84" fmla="*/ 1447530 h 1978172"/>
              <a:gd name="connsiteX85" fmla="*/ 7164788 w 10768629"/>
              <a:gd name="connsiteY85" fmla="*/ 1480293 h 1978172"/>
              <a:gd name="connsiteX86" fmla="*/ 7147929 w 10768629"/>
              <a:gd name="connsiteY86" fmla="*/ 1477641 h 1978172"/>
              <a:gd name="connsiteX87" fmla="*/ 7144965 w 10768629"/>
              <a:gd name="connsiteY87" fmla="*/ 1476908 h 1978172"/>
              <a:gd name="connsiteX88" fmla="*/ 7134299 w 10768629"/>
              <a:gd name="connsiteY88" fmla="*/ 1479969 h 1978172"/>
              <a:gd name="connsiteX89" fmla="*/ 7129809 w 10768629"/>
              <a:gd name="connsiteY89" fmla="*/ 1473339 h 1978172"/>
              <a:gd name="connsiteX90" fmla="*/ 7112688 w 10768629"/>
              <a:gd name="connsiteY90" fmla="*/ 1472575 h 1978172"/>
              <a:gd name="connsiteX91" fmla="*/ 7093470 w 10768629"/>
              <a:gd name="connsiteY91" fmla="*/ 1480300 h 1978172"/>
              <a:gd name="connsiteX92" fmla="*/ 7025034 w 10768629"/>
              <a:gd name="connsiteY92" fmla="*/ 1506934 h 1978172"/>
              <a:gd name="connsiteX93" fmla="*/ 7014783 w 10768629"/>
              <a:gd name="connsiteY93" fmla="*/ 1515868 h 1978172"/>
              <a:gd name="connsiteX94" fmla="*/ 6979706 w 10768629"/>
              <a:gd name="connsiteY94" fmla="*/ 1523511 h 1978172"/>
              <a:gd name="connsiteX95" fmla="*/ 6977890 w 10768629"/>
              <a:gd name="connsiteY95" fmla="*/ 1525793 h 1978172"/>
              <a:gd name="connsiteX96" fmla="*/ 6944339 w 10768629"/>
              <a:gd name="connsiteY96" fmla="*/ 1536237 h 1978172"/>
              <a:gd name="connsiteX97" fmla="*/ 6886996 w 10768629"/>
              <a:gd name="connsiteY97" fmla="*/ 1563569 h 1978172"/>
              <a:gd name="connsiteX98" fmla="*/ 6874510 w 10768629"/>
              <a:gd name="connsiteY98" fmla="*/ 1558469 h 1978172"/>
              <a:gd name="connsiteX99" fmla="*/ 6871943 w 10768629"/>
              <a:gd name="connsiteY99" fmla="*/ 1554651 h 1978172"/>
              <a:gd name="connsiteX100" fmla="*/ 6856174 w 10768629"/>
              <a:gd name="connsiteY100" fmla="*/ 1562024 h 1978172"/>
              <a:gd name="connsiteX101" fmla="*/ 6842321 w 10768629"/>
              <a:gd name="connsiteY101" fmla="*/ 1560554 h 1978172"/>
              <a:gd name="connsiteX102" fmla="*/ 6832713 w 10768629"/>
              <a:gd name="connsiteY102" fmla="*/ 1569357 h 1978172"/>
              <a:gd name="connsiteX103" fmla="*/ 6816351 w 10768629"/>
              <a:gd name="connsiteY103" fmla="*/ 1571495 h 1978172"/>
              <a:gd name="connsiteX104" fmla="*/ 6795800 w 10768629"/>
              <a:gd name="connsiteY104" fmla="*/ 1572010 h 1978172"/>
              <a:gd name="connsiteX105" fmla="*/ 6777546 w 10768629"/>
              <a:gd name="connsiteY105" fmla="*/ 1568661 h 1978172"/>
              <a:gd name="connsiteX106" fmla="*/ 6751528 w 10768629"/>
              <a:gd name="connsiteY106" fmla="*/ 1574143 h 1978172"/>
              <a:gd name="connsiteX107" fmla="*/ 6691966 w 10768629"/>
              <a:gd name="connsiteY107" fmla="*/ 1582255 h 1978172"/>
              <a:gd name="connsiteX108" fmla="*/ 6646941 w 10768629"/>
              <a:gd name="connsiteY108" fmla="*/ 1588471 h 1978172"/>
              <a:gd name="connsiteX109" fmla="*/ 6568576 w 10768629"/>
              <a:gd name="connsiteY109" fmla="*/ 1606488 h 1978172"/>
              <a:gd name="connsiteX110" fmla="*/ 6554358 w 10768629"/>
              <a:gd name="connsiteY110" fmla="*/ 1621701 h 1978172"/>
              <a:gd name="connsiteX111" fmla="*/ 6516968 w 10768629"/>
              <a:gd name="connsiteY111" fmla="*/ 1617195 h 1978172"/>
              <a:gd name="connsiteX112" fmla="*/ 6506479 w 10768629"/>
              <a:gd name="connsiteY112" fmla="*/ 1602227 h 1978172"/>
              <a:gd name="connsiteX113" fmla="*/ 6458436 w 10768629"/>
              <a:gd name="connsiteY113" fmla="*/ 1607332 h 1978172"/>
              <a:gd name="connsiteX114" fmla="*/ 6414786 w 10768629"/>
              <a:gd name="connsiteY114" fmla="*/ 1628815 h 1978172"/>
              <a:gd name="connsiteX115" fmla="*/ 6357085 w 10768629"/>
              <a:gd name="connsiteY115" fmla="*/ 1640846 h 1978172"/>
              <a:gd name="connsiteX116" fmla="*/ 6322636 w 10768629"/>
              <a:gd name="connsiteY116" fmla="*/ 1648213 h 1978172"/>
              <a:gd name="connsiteX117" fmla="*/ 6226172 w 10768629"/>
              <a:gd name="connsiteY117" fmla="*/ 1654676 h 1978172"/>
              <a:gd name="connsiteX118" fmla="*/ 6221217 w 10768629"/>
              <a:gd name="connsiteY118" fmla="*/ 1654506 h 1978172"/>
              <a:gd name="connsiteX119" fmla="*/ 6204956 w 10768629"/>
              <a:gd name="connsiteY119" fmla="*/ 1664280 h 1978172"/>
              <a:gd name="connsiteX120" fmla="*/ 6204270 w 10768629"/>
              <a:gd name="connsiteY120" fmla="*/ 1666782 h 1978172"/>
              <a:gd name="connsiteX121" fmla="*/ 6143810 w 10768629"/>
              <a:gd name="connsiteY121" fmla="*/ 1661963 h 1978172"/>
              <a:gd name="connsiteX122" fmla="*/ 6136560 w 10768629"/>
              <a:gd name="connsiteY122" fmla="*/ 1665728 h 1978172"/>
              <a:gd name="connsiteX123" fmla="*/ 6096155 w 10768629"/>
              <a:gd name="connsiteY123" fmla="*/ 1656951 h 1978172"/>
              <a:gd name="connsiteX124" fmla="*/ 6075812 w 10768629"/>
              <a:gd name="connsiteY124" fmla="*/ 1655422 h 1978172"/>
              <a:gd name="connsiteX125" fmla="*/ 6039495 w 10768629"/>
              <a:gd name="connsiteY125" fmla="*/ 1649680 h 1978172"/>
              <a:gd name="connsiteX126" fmla="*/ 6036523 w 10768629"/>
              <a:gd name="connsiteY126" fmla="*/ 1652121 h 1978172"/>
              <a:gd name="connsiteX127" fmla="*/ 6029328 w 10768629"/>
              <a:gd name="connsiteY127" fmla="*/ 1649904 h 1978172"/>
              <a:gd name="connsiteX128" fmla="*/ 6024075 w 10768629"/>
              <a:gd name="connsiteY128" fmla="*/ 1652779 h 1978172"/>
              <a:gd name="connsiteX129" fmla="*/ 6018085 w 10768629"/>
              <a:gd name="connsiteY129" fmla="*/ 1652030 h 1978172"/>
              <a:gd name="connsiteX130" fmla="*/ 5955513 w 10768629"/>
              <a:gd name="connsiteY130" fmla="*/ 1663584 h 1978172"/>
              <a:gd name="connsiteX131" fmla="*/ 5941996 w 10768629"/>
              <a:gd name="connsiteY131" fmla="*/ 1661326 h 1978172"/>
              <a:gd name="connsiteX132" fmla="*/ 5931789 w 10768629"/>
              <a:gd name="connsiteY132" fmla="*/ 1669915 h 1978172"/>
              <a:gd name="connsiteX133" fmla="*/ 5888686 w 10768629"/>
              <a:gd name="connsiteY133" fmla="*/ 1672175 h 1978172"/>
              <a:gd name="connsiteX134" fmla="*/ 5873794 w 10768629"/>
              <a:gd name="connsiteY134" fmla="*/ 1665454 h 1978172"/>
              <a:gd name="connsiteX135" fmla="*/ 5860022 w 10768629"/>
              <a:gd name="connsiteY135" fmla="*/ 1660635 h 1978172"/>
              <a:gd name="connsiteX136" fmla="*/ 5858237 w 10768629"/>
              <a:gd name="connsiteY136" fmla="*/ 1660649 h 1978172"/>
              <a:gd name="connsiteX137" fmla="*/ 5840319 w 10768629"/>
              <a:gd name="connsiteY137" fmla="*/ 1660798 h 1978172"/>
              <a:gd name="connsiteX138" fmla="*/ 5806984 w 10768629"/>
              <a:gd name="connsiteY138" fmla="*/ 1661075 h 1978172"/>
              <a:gd name="connsiteX139" fmla="*/ 5742351 w 10768629"/>
              <a:gd name="connsiteY139" fmla="*/ 1667489 h 1978172"/>
              <a:gd name="connsiteX140" fmla="*/ 5521171 w 10768629"/>
              <a:gd name="connsiteY140" fmla="*/ 1671626 h 1978172"/>
              <a:gd name="connsiteX141" fmla="*/ 5457384 w 10768629"/>
              <a:gd name="connsiteY141" fmla="*/ 1683952 h 1978172"/>
              <a:gd name="connsiteX142" fmla="*/ 4950070 w 10768629"/>
              <a:gd name="connsiteY142" fmla="*/ 1748401 h 1978172"/>
              <a:gd name="connsiteX143" fmla="*/ 4872172 w 10768629"/>
              <a:gd name="connsiteY143" fmla="*/ 1757222 h 1978172"/>
              <a:gd name="connsiteX144" fmla="*/ 4809524 w 10768629"/>
              <a:gd name="connsiteY144" fmla="*/ 1761033 h 1978172"/>
              <a:gd name="connsiteX145" fmla="*/ 4759058 w 10768629"/>
              <a:gd name="connsiteY145" fmla="*/ 1766533 h 1978172"/>
              <a:gd name="connsiteX146" fmla="*/ 4719749 w 10768629"/>
              <a:gd name="connsiteY146" fmla="*/ 1771811 h 1978172"/>
              <a:gd name="connsiteX147" fmla="*/ 4568686 w 10768629"/>
              <a:gd name="connsiteY147" fmla="*/ 1786141 h 1978172"/>
              <a:gd name="connsiteX148" fmla="*/ 4418751 w 10768629"/>
              <a:gd name="connsiteY148" fmla="*/ 1796932 h 1978172"/>
              <a:gd name="connsiteX149" fmla="*/ 4378377 w 10768629"/>
              <a:gd name="connsiteY149" fmla="*/ 1815528 h 1978172"/>
              <a:gd name="connsiteX150" fmla="*/ 4320575 w 10768629"/>
              <a:gd name="connsiteY150" fmla="*/ 1832722 h 1978172"/>
              <a:gd name="connsiteX151" fmla="*/ 4211935 w 10768629"/>
              <a:gd name="connsiteY151" fmla="*/ 1860177 h 1978172"/>
              <a:gd name="connsiteX152" fmla="*/ 4101228 w 10768629"/>
              <a:gd name="connsiteY152" fmla="*/ 1868717 h 1978172"/>
              <a:gd name="connsiteX153" fmla="*/ 3973223 w 10768629"/>
              <a:gd name="connsiteY153" fmla="*/ 1881015 h 1978172"/>
              <a:gd name="connsiteX154" fmla="*/ 3900992 w 10768629"/>
              <a:gd name="connsiteY154" fmla="*/ 1880603 h 1978172"/>
              <a:gd name="connsiteX155" fmla="*/ 3662119 w 10768629"/>
              <a:gd name="connsiteY155" fmla="*/ 1889285 h 1978172"/>
              <a:gd name="connsiteX156" fmla="*/ 3496919 w 10768629"/>
              <a:gd name="connsiteY156" fmla="*/ 1873180 h 1978172"/>
              <a:gd name="connsiteX157" fmla="*/ 3449433 w 10768629"/>
              <a:gd name="connsiteY157" fmla="*/ 1889681 h 1978172"/>
              <a:gd name="connsiteX158" fmla="*/ 3369766 w 10768629"/>
              <a:gd name="connsiteY158" fmla="*/ 1916653 h 1978172"/>
              <a:gd name="connsiteX159" fmla="*/ 3269672 w 10768629"/>
              <a:gd name="connsiteY159" fmla="*/ 1938036 h 1978172"/>
              <a:gd name="connsiteX160" fmla="*/ 3224897 w 10768629"/>
              <a:gd name="connsiteY160" fmla="*/ 1943733 h 1978172"/>
              <a:gd name="connsiteX161" fmla="*/ 3161463 w 10768629"/>
              <a:gd name="connsiteY161" fmla="*/ 1946591 h 1978172"/>
              <a:gd name="connsiteX162" fmla="*/ 3112044 w 10768629"/>
              <a:gd name="connsiteY162" fmla="*/ 1935614 h 1978172"/>
              <a:gd name="connsiteX163" fmla="*/ 3069716 w 10768629"/>
              <a:gd name="connsiteY163" fmla="*/ 1930463 h 1978172"/>
              <a:gd name="connsiteX164" fmla="*/ 3005773 w 10768629"/>
              <a:gd name="connsiteY164" fmla="*/ 1915878 h 1978172"/>
              <a:gd name="connsiteX165" fmla="*/ 2897201 w 10768629"/>
              <a:gd name="connsiteY165" fmla="*/ 1926772 h 1978172"/>
              <a:gd name="connsiteX166" fmla="*/ 2783891 w 10768629"/>
              <a:gd name="connsiteY166" fmla="*/ 1931749 h 1978172"/>
              <a:gd name="connsiteX167" fmla="*/ 2712447 w 10768629"/>
              <a:gd name="connsiteY167" fmla="*/ 1933044 h 1978172"/>
              <a:gd name="connsiteX168" fmla="*/ 2560151 w 10768629"/>
              <a:gd name="connsiteY168" fmla="*/ 1963609 h 1978172"/>
              <a:gd name="connsiteX169" fmla="*/ 2367221 w 10768629"/>
              <a:gd name="connsiteY169" fmla="*/ 1971884 h 1978172"/>
              <a:gd name="connsiteX170" fmla="*/ 2272130 w 10768629"/>
              <a:gd name="connsiteY170" fmla="*/ 1961162 h 1978172"/>
              <a:gd name="connsiteX171" fmla="*/ 2189404 w 10768629"/>
              <a:gd name="connsiteY171" fmla="*/ 1978172 h 1978172"/>
              <a:gd name="connsiteX172" fmla="*/ 2077704 w 10768629"/>
              <a:gd name="connsiteY172" fmla="*/ 1965002 h 1978172"/>
              <a:gd name="connsiteX173" fmla="*/ 2033299 w 10768629"/>
              <a:gd name="connsiteY173" fmla="*/ 1969042 h 1978172"/>
              <a:gd name="connsiteX174" fmla="*/ 1967996 w 10768629"/>
              <a:gd name="connsiteY174" fmla="*/ 1953187 h 1978172"/>
              <a:gd name="connsiteX175" fmla="*/ 1855805 w 10768629"/>
              <a:gd name="connsiteY175" fmla="*/ 1926082 h 1978172"/>
              <a:gd name="connsiteX176" fmla="*/ 1790957 w 10768629"/>
              <a:gd name="connsiteY176" fmla="*/ 1919460 h 1978172"/>
              <a:gd name="connsiteX177" fmla="*/ 1613978 w 10768629"/>
              <a:gd name="connsiteY177" fmla="*/ 1891581 h 1978172"/>
              <a:gd name="connsiteX178" fmla="*/ 1436831 w 10768629"/>
              <a:gd name="connsiteY178" fmla="*/ 1856201 h 1978172"/>
              <a:gd name="connsiteX179" fmla="*/ 1357365 w 10768629"/>
              <a:gd name="connsiteY179" fmla="*/ 1832140 h 1978172"/>
              <a:gd name="connsiteX180" fmla="*/ 1232341 w 10768629"/>
              <a:gd name="connsiteY180" fmla="*/ 1785942 h 1978172"/>
              <a:gd name="connsiteX181" fmla="*/ 1162595 w 10768629"/>
              <a:gd name="connsiteY181" fmla="*/ 1758337 h 1978172"/>
              <a:gd name="connsiteX182" fmla="*/ 1128523 w 10768629"/>
              <a:gd name="connsiteY182" fmla="*/ 1763621 h 1978172"/>
              <a:gd name="connsiteX183" fmla="*/ 991903 w 10768629"/>
              <a:gd name="connsiteY183" fmla="*/ 1786741 h 1978172"/>
              <a:gd name="connsiteX184" fmla="*/ 883960 w 10768629"/>
              <a:gd name="connsiteY184" fmla="*/ 1809389 h 1978172"/>
              <a:gd name="connsiteX185" fmla="*/ 766531 w 10768629"/>
              <a:gd name="connsiteY185" fmla="*/ 1805053 h 1978172"/>
              <a:gd name="connsiteX186" fmla="*/ 669779 w 10768629"/>
              <a:gd name="connsiteY186" fmla="*/ 1800537 h 1978172"/>
              <a:gd name="connsiteX187" fmla="*/ 523898 w 10768629"/>
              <a:gd name="connsiteY187" fmla="*/ 1811085 h 1978172"/>
              <a:gd name="connsiteX188" fmla="*/ 360251 w 10768629"/>
              <a:gd name="connsiteY188" fmla="*/ 1830735 h 1978172"/>
              <a:gd name="connsiteX189" fmla="*/ 255207 w 10768629"/>
              <a:gd name="connsiteY189" fmla="*/ 1818275 h 1978172"/>
              <a:gd name="connsiteX190" fmla="*/ 101803 w 10768629"/>
              <a:gd name="connsiteY190" fmla="*/ 1870647 h 1978172"/>
              <a:gd name="connsiteX191" fmla="*/ 25397 w 10768629"/>
              <a:gd name="connsiteY191" fmla="*/ 1888443 h 1978172"/>
              <a:gd name="connsiteX192" fmla="*/ 2370 w 10768629"/>
              <a:gd name="connsiteY192" fmla="*/ 1878311 h 1978172"/>
              <a:gd name="connsiteX193" fmla="*/ 0 w 10768629"/>
              <a:gd name="connsiteY193" fmla="*/ 1878785 h 1978172"/>
              <a:gd name="connsiteX194" fmla="*/ 0 w 10768629"/>
              <a:gd name="connsiteY194" fmla="*/ 0 h 1978172"/>
              <a:gd name="connsiteX0" fmla="*/ 0 w 10768629"/>
              <a:gd name="connsiteY0" fmla="*/ 0 h 1978172"/>
              <a:gd name="connsiteX1" fmla="*/ 10768629 w 10768629"/>
              <a:gd name="connsiteY1" fmla="*/ 0 h 1978172"/>
              <a:gd name="connsiteX2" fmla="*/ 10733254 w 10768629"/>
              <a:gd name="connsiteY2" fmla="*/ 31439 h 1978172"/>
              <a:gd name="connsiteX3" fmla="*/ 10727085 w 10768629"/>
              <a:gd name="connsiteY3" fmla="*/ 37910 h 1978172"/>
              <a:gd name="connsiteX4" fmla="*/ 10675953 w 10768629"/>
              <a:gd name="connsiteY4" fmla="*/ 68623 h 1978172"/>
              <a:gd name="connsiteX5" fmla="*/ 10637091 w 10768629"/>
              <a:gd name="connsiteY5" fmla="*/ 90361 h 1978172"/>
              <a:gd name="connsiteX6" fmla="*/ 10610971 w 10768629"/>
              <a:gd name="connsiteY6" fmla="*/ 110764 h 1978172"/>
              <a:gd name="connsiteX7" fmla="*/ 10532872 w 10768629"/>
              <a:gd name="connsiteY7" fmla="*/ 138028 h 1978172"/>
              <a:gd name="connsiteX8" fmla="*/ 10398558 w 10768629"/>
              <a:gd name="connsiteY8" fmla="*/ 172911 h 1978172"/>
              <a:gd name="connsiteX9" fmla="*/ 10371128 w 10768629"/>
              <a:gd name="connsiteY9" fmla="*/ 182609 h 1978172"/>
              <a:gd name="connsiteX10" fmla="*/ 10352178 w 10768629"/>
              <a:gd name="connsiteY10" fmla="*/ 199976 h 1978172"/>
              <a:gd name="connsiteX11" fmla="*/ 10351815 w 10768629"/>
              <a:gd name="connsiteY11" fmla="*/ 211879 h 1978172"/>
              <a:gd name="connsiteX12" fmla="*/ 10337471 w 10768629"/>
              <a:gd name="connsiteY12" fmla="*/ 218661 h 1978172"/>
              <a:gd name="connsiteX13" fmla="*/ 10334625 w 10768629"/>
              <a:gd name="connsiteY13" fmla="*/ 222351 h 1978172"/>
              <a:gd name="connsiteX14" fmla="*/ 10256365 w 10768629"/>
              <a:gd name="connsiteY14" fmla="*/ 235917 h 1978172"/>
              <a:gd name="connsiteX15" fmla="*/ 10201127 w 10768629"/>
              <a:gd name="connsiteY15" fmla="*/ 267448 h 1978172"/>
              <a:gd name="connsiteX16" fmla="*/ 9961218 w 10768629"/>
              <a:gd name="connsiteY16" fmla="*/ 326720 h 1978172"/>
              <a:gd name="connsiteX17" fmla="*/ 9859715 w 10768629"/>
              <a:gd name="connsiteY17" fmla="*/ 355698 h 1978172"/>
              <a:gd name="connsiteX18" fmla="*/ 9679867 w 10768629"/>
              <a:gd name="connsiteY18" fmla="*/ 399081 h 1978172"/>
              <a:gd name="connsiteX19" fmla="*/ 9490654 w 10768629"/>
              <a:gd name="connsiteY19" fmla="*/ 455225 h 1978172"/>
              <a:gd name="connsiteX20" fmla="*/ 9470837 w 10768629"/>
              <a:gd name="connsiteY20" fmla="*/ 452539 h 1978172"/>
              <a:gd name="connsiteX21" fmla="*/ 9469082 w 10768629"/>
              <a:gd name="connsiteY21" fmla="*/ 454891 h 1978172"/>
              <a:gd name="connsiteX22" fmla="*/ 9448038 w 10768629"/>
              <a:gd name="connsiteY22" fmla="*/ 459733 h 1978172"/>
              <a:gd name="connsiteX23" fmla="*/ 9396821 w 10768629"/>
              <a:gd name="connsiteY23" fmla="*/ 455795 h 1978172"/>
              <a:gd name="connsiteX24" fmla="*/ 9392197 w 10768629"/>
              <a:gd name="connsiteY24" fmla="*/ 459796 h 1978172"/>
              <a:gd name="connsiteX25" fmla="*/ 9347994 w 10768629"/>
              <a:gd name="connsiteY25" fmla="*/ 464462 h 1978172"/>
              <a:gd name="connsiteX26" fmla="*/ 9347889 w 10768629"/>
              <a:gd name="connsiteY26" fmla="*/ 466539 h 1978172"/>
              <a:gd name="connsiteX27" fmla="*/ 9337639 w 10768629"/>
              <a:gd name="connsiteY27" fmla="*/ 476654 h 1978172"/>
              <a:gd name="connsiteX28" fmla="*/ 9287964 w 10768629"/>
              <a:gd name="connsiteY28" fmla="*/ 513052 h 1978172"/>
              <a:gd name="connsiteX29" fmla="*/ 9229283 w 10768629"/>
              <a:gd name="connsiteY29" fmla="*/ 555377 h 1978172"/>
              <a:gd name="connsiteX30" fmla="*/ 9220274 w 10768629"/>
              <a:gd name="connsiteY30" fmla="*/ 557502 h 1978172"/>
              <a:gd name="connsiteX31" fmla="*/ 9220202 w 10768629"/>
              <a:gd name="connsiteY31" fmla="*/ 558001 h 1978172"/>
              <a:gd name="connsiteX32" fmla="*/ 9210908 w 10768629"/>
              <a:gd name="connsiteY32" fmla="*/ 561147 h 1978172"/>
              <a:gd name="connsiteX33" fmla="*/ 9186374 w 10768629"/>
              <a:gd name="connsiteY33" fmla="*/ 565502 h 1978172"/>
              <a:gd name="connsiteX34" fmla="*/ 9181058 w 10768629"/>
              <a:gd name="connsiteY34" fmla="*/ 569943 h 1978172"/>
              <a:gd name="connsiteX35" fmla="*/ 9167549 w 10768629"/>
              <a:gd name="connsiteY35" fmla="*/ 584727 h 1978172"/>
              <a:gd name="connsiteX36" fmla="*/ 9149110 w 10768629"/>
              <a:gd name="connsiteY36" fmla="*/ 598906 h 1978172"/>
              <a:gd name="connsiteX37" fmla="*/ 9078556 w 10768629"/>
              <a:gd name="connsiteY37" fmla="*/ 644039 h 1978172"/>
              <a:gd name="connsiteX38" fmla="*/ 8996399 w 10768629"/>
              <a:gd name="connsiteY38" fmla="*/ 690055 h 1978172"/>
              <a:gd name="connsiteX39" fmla="*/ 8803791 w 10768629"/>
              <a:gd name="connsiteY39" fmla="*/ 813860 h 1978172"/>
              <a:gd name="connsiteX40" fmla="*/ 8636202 w 10768629"/>
              <a:gd name="connsiteY40" fmla="*/ 848463 h 1978172"/>
              <a:gd name="connsiteX41" fmla="*/ 8555372 w 10768629"/>
              <a:gd name="connsiteY41" fmla="*/ 883171 h 1978172"/>
              <a:gd name="connsiteX42" fmla="*/ 8507229 w 10768629"/>
              <a:gd name="connsiteY42" fmla="*/ 901665 h 1978172"/>
              <a:gd name="connsiteX43" fmla="*/ 8428473 w 10768629"/>
              <a:gd name="connsiteY43" fmla="*/ 927985 h 1978172"/>
              <a:gd name="connsiteX44" fmla="*/ 8427914 w 10768629"/>
              <a:gd name="connsiteY44" fmla="*/ 933480 h 1978172"/>
              <a:gd name="connsiteX45" fmla="*/ 8420327 w 10768629"/>
              <a:gd name="connsiteY45" fmla="*/ 941984 h 1978172"/>
              <a:gd name="connsiteX46" fmla="*/ 8394729 w 10768629"/>
              <a:gd name="connsiteY46" fmla="*/ 948347 h 1978172"/>
              <a:gd name="connsiteX47" fmla="*/ 8380548 w 10768629"/>
              <a:gd name="connsiteY47" fmla="*/ 987916 h 1978172"/>
              <a:gd name="connsiteX48" fmla="*/ 8375330 w 10768629"/>
              <a:gd name="connsiteY48" fmla="*/ 965444 h 1978172"/>
              <a:gd name="connsiteX49" fmla="*/ 8340796 w 10768629"/>
              <a:gd name="connsiteY49" fmla="*/ 980522 h 1978172"/>
              <a:gd name="connsiteX50" fmla="*/ 8304438 w 10768629"/>
              <a:gd name="connsiteY50" fmla="*/ 996739 h 1978172"/>
              <a:gd name="connsiteX51" fmla="*/ 8280929 w 10768629"/>
              <a:gd name="connsiteY51" fmla="*/ 1023089 h 1978172"/>
              <a:gd name="connsiteX52" fmla="*/ 8275760 w 10768629"/>
              <a:gd name="connsiteY52" fmla="*/ 1027772 h 1978172"/>
              <a:gd name="connsiteX53" fmla="*/ 8275478 w 10768629"/>
              <a:gd name="connsiteY53" fmla="*/ 1027605 h 1978172"/>
              <a:gd name="connsiteX54" fmla="*/ 8249003 w 10768629"/>
              <a:gd name="connsiteY54" fmla="*/ 1032033 h 1978172"/>
              <a:gd name="connsiteX55" fmla="*/ 8203836 w 10768629"/>
              <a:gd name="connsiteY55" fmla="*/ 1037347 h 1978172"/>
              <a:gd name="connsiteX56" fmla="*/ 8122936 w 10768629"/>
              <a:gd name="connsiteY56" fmla="*/ 1063113 h 1978172"/>
              <a:gd name="connsiteX57" fmla="*/ 8043658 w 10768629"/>
              <a:gd name="connsiteY57" fmla="*/ 1092746 h 1978172"/>
              <a:gd name="connsiteX58" fmla="*/ 8015351 w 10768629"/>
              <a:gd name="connsiteY58" fmla="*/ 1105478 h 1978172"/>
              <a:gd name="connsiteX59" fmla="*/ 7963145 w 10768629"/>
              <a:gd name="connsiteY59" fmla="*/ 1119346 h 1978172"/>
              <a:gd name="connsiteX60" fmla="*/ 7938145 w 10768629"/>
              <a:gd name="connsiteY60" fmla="*/ 1120225 h 1978172"/>
              <a:gd name="connsiteX61" fmla="*/ 7937238 w 10768629"/>
              <a:gd name="connsiteY61" fmla="*/ 1121204 h 1978172"/>
              <a:gd name="connsiteX62" fmla="*/ 7934398 w 10768629"/>
              <a:gd name="connsiteY62" fmla="*/ 1118240 h 1978172"/>
              <a:gd name="connsiteX63" fmla="*/ 7918248 w 10768629"/>
              <a:gd name="connsiteY63" fmla="*/ 1124371 h 1978172"/>
              <a:gd name="connsiteX64" fmla="*/ 7914119 w 10768629"/>
              <a:gd name="connsiteY64" fmla="*/ 1127653 h 1978172"/>
              <a:gd name="connsiteX65" fmla="*/ 7907658 w 10768629"/>
              <a:gd name="connsiteY65" fmla="*/ 1130350 h 1978172"/>
              <a:gd name="connsiteX66" fmla="*/ 7907434 w 10768629"/>
              <a:gd name="connsiteY66" fmla="*/ 1130103 h 1978172"/>
              <a:gd name="connsiteX67" fmla="*/ 7901508 w 10768629"/>
              <a:gd name="connsiteY67" fmla="*/ 1133245 h 1978172"/>
              <a:gd name="connsiteX68" fmla="*/ 7873287 w 10768629"/>
              <a:gd name="connsiteY68" fmla="*/ 1152609 h 1978172"/>
              <a:gd name="connsiteX69" fmla="*/ 7834833 w 10768629"/>
              <a:gd name="connsiteY69" fmla="*/ 1153868 h 1978172"/>
              <a:gd name="connsiteX70" fmla="*/ 7828661 w 10768629"/>
              <a:gd name="connsiteY70" fmla="*/ 1139994 h 1978172"/>
              <a:gd name="connsiteX71" fmla="*/ 7823966 w 10768629"/>
              <a:gd name="connsiteY71" fmla="*/ 1143178 h 1978172"/>
              <a:gd name="connsiteX72" fmla="*/ 7815078 w 10768629"/>
              <a:gd name="connsiteY72" fmla="*/ 1151776 h 1978172"/>
              <a:gd name="connsiteX73" fmla="*/ 7812026 w 10768629"/>
              <a:gd name="connsiteY73" fmla="*/ 1151522 h 1978172"/>
              <a:gd name="connsiteX74" fmla="*/ 7782249 w 10768629"/>
              <a:gd name="connsiteY74" fmla="*/ 1160970 h 1978172"/>
              <a:gd name="connsiteX75" fmla="*/ 7773476 w 10768629"/>
              <a:gd name="connsiteY75" fmla="*/ 1157414 h 1978172"/>
              <a:gd name="connsiteX76" fmla="*/ 7769600 w 10768629"/>
              <a:gd name="connsiteY76" fmla="*/ 1157365 h 1978172"/>
              <a:gd name="connsiteX77" fmla="*/ 7752631 w 10768629"/>
              <a:gd name="connsiteY77" fmla="*/ 1172815 h 1978172"/>
              <a:gd name="connsiteX78" fmla="*/ 7739392 w 10768629"/>
              <a:gd name="connsiteY78" fmla="*/ 1192062 h 1978172"/>
              <a:gd name="connsiteX79" fmla="*/ 7677677 w 10768629"/>
              <a:gd name="connsiteY79" fmla="*/ 1216394 h 1978172"/>
              <a:gd name="connsiteX80" fmla="*/ 7586920 w 10768629"/>
              <a:gd name="connsiteY80" fmla="*/ 1261888 h 1978172"/>
              <a:gd name="connsiteX81" fmla="*/ 7486100 w 10768629"/>
              <a:gd name="connsiteY81" fmla="*/ 1292563 h 1978172"/>
              <a:gd name="connsiteX82" fmla="*/ 7411323 w 10768629"/>
              <a:gd name="connsiteY82" fmla="*/ 1340732 h 1978172"/>
              <a:gd name="connsiteX83" fmla="*/ 7240698 w 10768629"/>
              <a:gd name="connsiteY83" fmla="*/ 1438832 h 1978172"/>
              <a:gd name="connsiteX84" fmla="*/ 7197675 w 10768629"/>
              <a:gd name="connsiteY84" fmla="*/ 1447530 h 1978172"/>
              <a:gd name="connsiteX85" fmla="*/ 7164788 w 10768629"/>
              <a:gd name="connsiteY85" fmla="*/ 1480293 h 1978172"/>
              <a:gd name="connsiteX86" fmla="*/ 7147929 w 10768629"/>
              <a:gd name="connsiteY86" fmla="*/ 1477641 h 1978172"/>
              <a:gd name="connsiteX87" fmla="*/ 7144965 w 10768629"/>
              <a:gd name="connsiteY87" fmla="*/ 1476908 h 1978172"/>
              <a:gd name="connsiteX88" fmla="*/ 7134299 w 10768629"/>
              <a:gd name="connsiteY88" fmla="*/ 1479969 h 1978172"/>
              <a:gd name="connsiteX89" fmla="*/ 7129809 w 10768629"/>
              <a:gd name="connsiteY89" fmla="*/ 1473339 h 1978172"/>
              <a:gd name="connsiteX90" fmla="*/ 7112688 w 10768629"/>
              <a:gd name="connsiteY90" fmla="*/ 1472575 h 1978172"/>
              <a:gd name="connsiteX91" fmla="*/ 7093470 w 10768629"/>
              <a:gd name="connsiteY91" fmla="*/ 1480300 h 1978172"/>
              <a:gd name="connsiteX92" fmla="*/ 7025034 w 10768629"/>
              <a:gd name="connsiteY92" fmla="*/ 1506934 h 1978172"/>
              <a:gd name="connsiteX93" fmla="*/ 7014783 w 10768629"/>
              <a:gd name="connsiteY93" fmla="*/ 1515868 h 1978172"/>
              <a:gd name="connsiteX94" fmla="*/ 6979706 w 10768629"/>
              <a:gd name="connsiteY94" fmla="*/ 1523511 h 1978172"/>
              <a:gd name="connsiteX95" fmla="*/ 6977890 w 10768629"/>
              <a:gd name="connsiteY95" fmla="*/ 1525793 h 1978172"/>
              <a:gd name="connsiteX96" fmla="*/ 6944339 w 10768629"/>
              <a:gd name="connsiteY96" fmla="*/ 1536237 h 1978172"/>
              <a:gd name="connsiteX97" fmla="*/ 6886996 w 10768629"/>
              <a:gd name="connsiteY97" fmla="*/ 1563569 h 1978172"/>
              <a:gd name="connsiteX98" fmla="*/ 6874510 w 10768629"/>
              <a:gd name="connsiteY98" fmla="*/ 1558469 h 1978172"/>
              <a:gd name="connsiteX99" fmla="*/ 6871943 w 10768629"/>
              <a:gd name="connsiteY99" fmla="*/ 1554651 h 1978172"/>
              <a:gd name="connsiteX100" fmla="*/ 6856174 w 10768629"/>
              <a:gd name="connsiteY100" fmla="*/ 1562024 h 1978172"/>
              <a:gd name="connsiteX101" fmla="*/ 6842321 w 10768629"/>
              <a:gd name="connsiteY101" fmla="*/ 1560554 h 1978172"/>
              <a:gd name="connsiteX102" fmla="*/ 6832713 w 10768629"/>
              <a:gd name="connsiteY102" fmla="*/ 1569357 h 1978172"/>
              <a:gd name="connsiteX103" fmla="*/ 6816351 w 10768629"/>
              <a:gd name="connsiteY103" fmla="*/ 1571495 h 1978172"/>
              <a:gd name="connsiteX104" fmla="*/ 6795800 w 10768629"/>
              <a:gd name="connsiteY104" fmla="*/ 1572010 h 1978172"/>
              <a:gd name="connsiteX105" fmla="*/ 6777546 w 10768629"/>
              <a:gd name="connsiteY105" fmla="*/ 1568661 h 1978172"/>
              <a:gd name="connsiteX106" fmla="*/ 6751528 w 10768629"/>
              <a:gd name="connsiteY106" fmla="*/ 1574143 h 1978172"/>
              <a:gd name="connsiteX107" fmla="*/ 6691966 w 10768629"/>
              <a:gd name="connsiteY107" fmla="*/ 1582255 h 1978172"/>
              <a:gd name="connsiteX108" fmla="*/ 6646941 w 10768629"/>
              <a:gd name="connsiteY108" fmla="*/ 1588471 h 1978172"/>
              <a:gd name="connsiteX109" fmla="*/ 6568576 w 10768629"/>
              <a:gd name="connsiteY109" fmla="*/ 1606488 h 1978172"/>
              <a:gd name="connsiteX110" fmla="*/ 6554358 w 10768629"/>
              <a:gd name="connsiteY110" fmla="*/ 1621701 h 1978172"/>
              <a:gd name="connsiteX111" fmla="*/ 6516968 w 10768629"/>
              <a:gd name="connsiteY111" fmla="*/ 1617195 h 1978172"/>
              <a:gd name="connsiteX112" fmla="*/ 6506479 w 10768629"/>
              <a:gd name="connsiteY112" fmla="*/ 1602227 h 1978172"/>
              <a:gd name="connsiteX113" fmla="*/ 6458436 w 10768629"/>
              <a:gd name="connsiteY113" fmla="*/ 1607332 h 1978172"/>
              <a:gd name="connsiteX114" fmla="*/ 6414786 w 10768629"/>
              <a:gd name="connsiteY114" fmla="*/ 1628815 h 1978172"/>
              <a:gd name="connsiteX115" fmla="*/ 6357085 w 10768629"/>
              <a:gd name="connsiteY115" fmla="*/ 1640846 h 1978172"/>
              <a:gd name="connsiteX116" fmla="*/ 6322636 w 10768629"/>
              <a:gd name="connsiteY116" fmla="*/ 1648213 h 1978172"/>
              <a:gd name="connsiteX117" fmla="*/ 6226172 w 10768629"/>
              <a:gd name="connsiteY117" fmla="*/ 1654676 h 1978172"/>
              <a:gd name="connsiteX118" fmla="*/ 6221217 w 10768629"/>
              <a:gd name="connsiteY118" fmla="*/ 1654506 h 1978172"/>
              <a:gd name="connsiteX119" fmla="*/ 6204956 w 10768629"/>
              <a:gd name="connsiteY119" fmla="*/ 1664280 h 1978172"/>
              <a:gd name="connsiteX120" fmla="*/ 6204270 w 10768629"/>
              <a:gd name="connsiteY120" fmla="*/ 1666782 h 1978172"/>
              <a:gd name="connsiteX121" fmla="*/ 6143810 w 10768629"/>
              <a:gd name="connsiteY121" fmla="*/ 1661963 h 1978172"/>
              <a:gd name="connsiteX122" fmla="*/ 6136560 w 10768629"/>
              <a:gd name="connsiteY122" fmla="*/ 1665728 h 1978172"/>
              <a:gd name="connsiteX123" fmla="*/ 6096155 w 10768629"/>
              <a:gd name="connsiteY123" fmla="*/ 1656951 h 1978172"/>
              <a:gd name="connsiteX124" fmla="*/ 6075812 w 10768629"/>
              <a:gd name="connsiteY124" fmla="*/ 1655422 h 1978172"/>
              <a:gd name="connsiteX125" fmla="*/ 6039495 w 10768629"/>
              <a:gd name="connsiteY125" fmla="*/ 1649680 h 1978172"/>
              <a:gd name="connsiteX126" fmla="*/ 6036523 w 10768629"/>
              <a:gd name="connsiteY126" fmla="*/ 1652121 h 1978172"/>
              <a:gd name="connsiteX127" fmla="*/ 6029328 w 10768629"/>
              <a:gd name="connsiteY127" fmla="*/ 1649904 h 1978172"/>
              <a:gd name="connsiteX128" fmla="*/ 6024075 w 10768629"/>
              <a:gd name="connsiteY128" fmla="*/ 1652779 h 1978172"/>
              <a:gd name="connsiteX129" fmla="*/ 6018085 w 10768629"/>
              <a:gd name="connsiteY129" fmla="*/ 1652030 h 1978172"/>
              <a:gd name="connsiteX130" fmla="*/ 5955513 w 10768629"/>
              <a:gd name="connsiteY130" fmla="*/ 1663584 h 1978172"/>
              <a:gd name="connsiteX131" fmla="*/ 5941996 w 10768629"/>
              <a:gd name="connsiteY131" fmla="*/ 1661326 h 1978172"/>
              <a:gd name="connsiteX132" fmla="*/ 5931789 w 10768629"/>
              <a:gd name="connsiteY132" fmla="*/ 1669915 h 1978172"/>
              <a:gd name="connsiteX133" fmla="*/ 5888686 w 10768629"/>
              <a:gd name="connsiteY133" fmla="*/ 1672175 h 1978172"/>
              <a:gd name="connsiteX134" fmla="*/ 5873794 w 10768629"/>
              <a:gd name="connsiteY134" fmla="*/ 1665454 h 1978172"/>
              <a:gd name="connsiteX135" fmla="*/ 5860022 w 10768629"/>
              <a:gd name="connsiteY135" fmla="*/ 1660635 h 1978172"/>
              <a:gd name="connsiteX136" fmla="*/ 5858237 w 10768629"/>
              <a:gd name="connsiteY136" fmla="*/ 1660649 h 1978172"/>
              <a:gd name="connsiteX137" fmla="*/ 5840319 w 10768629"/>
              <a:gd name="connsiteY137" fmla="*/ 1660798 h 1978172"/>
              <a:gd name="connsiteX138" fmla="*/ 5806984 w 10768629"/>
              <a:gd name="connsiteY138" fmla="*/ 1661075 h 1978172"/>
              <a:gd name="connsiteX139" fmla="*/ 5742351 w 10768629"/>
              <a:gd name="connsiteY139" fmla="*/ 1667489 h 1978172"/>
              <a:gd name="connsiteX140" fmla="*/ 5521171 w 10768629"/>
              <a:gd name="connsiteY140" fmla="*/ 1671626 h 1978172"/>
              <a:gd name="connsiteX141" fmla="*/ 5457384 w 10768629"/>
              <a:gd name="connsiteY141" fmla="*/ 1683952 h 1978172"/>
              <a:gd name="connsiteX142" fmla="*/ 4950070 w 10768629"/>
              <a:gd name="connsiteY142" fmla="*/ 1748401 h 1978172"/>
              <a:gd name="connsiteX143" fmla="*/ 4872172 w 10768629"/>
              <a:gd name="connsiteY143" fmla="*/ 1757222 h 1978172"/>
              <a:gd name="connsiteX144" fmla="*/ 4809524 w 10768629"/>
              <a:gd name="connsiteY144" fmla="*/ 1761033 h 1978172"/>
              <a:gd name="connsiteX145" fmla="*/ 4759058 w 10768629"/>
              <a:gd name="connsiteY145" fmla="*/ 1766533 h 1978172"/>
              <a:gd name="connsiteX146" fmla="*/ 4719749 w 10768629"/>
              <a:gd name="connsiteY146" fmla="*/ 1771811 h 1978172"/>
              <a:gd name="connsiteX147" fmla="*/ 4568686 w 10768629"/>
              <a:gd name="connsiteY147" fmla="*/ 1786141 h 1978172"/>
              <a:gd name="connsiteX148" fmla="*/ 4418751 w 10768629"/>
              <a:gd name="connsiteY148" fmla="*/ 1796932 h 1978172"/>
              <a:gd name="connsiteX149" fmla="*/ 4378377 w 10768629"/>
              <a:gd name="connsiteY149" fmla="*/ 1815528 h 1978172"/>
              <a:gd name="connsiteX150" fmla="*/ 4320575 w 10768629"/>
              <a:gd name="connsiteY150" fmla="*/ 1832722 h 1978172"/>
              <a:gd name="connsiteX151" fmla="*/ 4211935 w 10768629"/>
              <a:gd name="connsiteY151" fmla="*/ 1860177 h 1978172"/>
              <a:gd name="connsiteX152" fmla="*/ 4101228 w 10768629"/>
              <a:gd name="connsiteY152" fmla="*/ 1868717 h 1978172"/>
              <a:gd name="connsiteX153" fmla="*/ 3973223 w 10768629"/>
              <a:gd name="connsiteY153" fmla="*/ 1881015 h 1978172"/>
              <a:gd name="connsiteX154" fmla="*/ 3900992 w 10768629"/>
              <a:gd name="connsiteY154" fmla="*/ 1880603 h 1978172"/>
              <a:gd name="connsiteX155" fmla="*/ 3662119 w 10768629"/>
              <a:gd name="connsiteY155" fmla="*/ 1889285 h 1978172"/>
              <a:gd name="connsiteX156" fmla="*/ 3496919 w 10768629"/>
              <a:gd name="connsiteY156" fmla="*/ 1873180 h 1978172"/>
              <a:gd name="connsiteX157" fmla="*/ 3449433 w 10768629"/>
              <a:gd name="connsiteY157" fmla="*/ 1889681 h 1978172"/>
              <a:gd name="connsiteX158" fmla="*/ 3369766 w 10768629"/>
              <a:gd name="connsiteY158" fmla="*/ 1916653 h 1978172"/>
              <a:gd name="connsiteX159" fmla="*/ 3269672 w 10768629"/>
              <a:gd name="connsiteY159" fmla="*/ 1938036 h 1978172"/>
              <a:gd name="connsiteX160" fmla="*/ 3224897 w 10768629"/>
              <a:gd name="connsiteY160" fmla="*/ 1943733 h 1978172"/>
              <a:gd name="connsiteX161" fmla="*/ 3161463 w 10768629"/>
              <a:gd name="connsiteY161" fmla="*/ 1946591 h 1978172"/>
              <a:gd name="connsiteX162" fmla="*/ 3112044 w 10768629"/>
              <a:gd name="connsiteY162" fmla="*/ 1935614 h 1978172"/>
              <a:gd name="connsiteX163" fmla="*/ 3069716 w 10768629"/>
              <a:gd name="connsiteY163" fmla="*/ 1930463 h 1978172"/>
              <a:gd name="connsiteX164" fmla="*/ 3005773 w 10768629"/>
              <a:gd name="connsiteY164" fmla="*/ 1915878 h 1978172"/>
              <a:gd name="connsiteX165" fmla="*/ 2897201 w 10768629"/>
              <a:gd name="connsiteY165" fmla="*/ 1926772 h 1978172"/>
              <a:gd name="connsiteX166" fmla="*/ 2783891 w 10768629"/>
              <a:gd name="connsiteY166" fmla="*/ 1931749 h 1978172"/>
              <a:gd name="connsiteX167" fmla="*/ 2712447 w 10768629"/>
              <a:gd name="connsiteY167" fmla="*/ 1933044 h 1978172"/>
              <a:gd name="connsiteX168" fmla="*/ 2560151 w 10768629"/>
              <a:gd name="connsiteY168" fmla="*/ 1963609 h 1978172"/>
              <a:gd name="connsiteX169" fmla="*/ 2367221 w 10768629"/>
              <a:gd name="connsiteY169" fmla="*/ 1971884 h 1978172"/>
              <a:gd name="connsiteX170" fmla="*/ 2272130 w 10768629"/>
              <a:gd name="connsiteY170" fmla="*/ 1961162 h 1978172"/>
              <a:gd name="connsiteX171" fmla="*/ 2189404 w 10768629"/>
              <a:gd name="connsiteY171" fmla="*/ 1978172 h 1978172"/>
              <a:gd name="connsiteX172" fmla="*/ 2077704 w 10768629"/>
              <a:gd name="connsiteY172" fmla="*/ 1965002 h 1978172"/>
              <a:gd name="connsiteX173" fmla="*/ 2033299 w 10768629"/>
              <a:gd name="connsiteY173" fmla="*/ 1969042 h 1978172"/>
              <a:gd name="connsiteX174" fmla="*/ 1967996 w 10768629"/>
              <a:gd name="connsiteY174" fmla="*/ 1953187 h 1978172"/>
              <a:gd name="connsiteX175" fmla="*/ 1855805 w 10768629"/>
              <a:gd name="connsiteY175" fmla="*/ 1926082 h 1978172"/>
              <a:gd name="connsiteX176" fmla="*/ 1790957 w 10768629"/>
              <a:gd name="connsiteY176" fmla="*/ 1919460 h 1978172"/>
              <a:gd name="connsiteX177" fmla="*/ 1613978 w 10768629"/>
              <a:gd name="connsiteY177" fmla="*/ 1891581 h 1978172"/>
              <a:gd name="connsiteX178" fmla="*/ 1436831 w 10768629"/>
              <a:gd name="connsiteY178" fmla="*/ 1856201 h 1978172"/>
              <a:gd name="connsiteX179" fmla="*/ 1357365 w 10768629"/>
              <a:gd name="connsiteY179" fmla="*/ 1832140 h 1978172"/>
              <a:gd name="connsiteX180" fmla="*/ 1232341 w 10768629"/>
              <a:gd name="connsiteY180" fmla="*/ 1785942 h 1978172"/>
              <a:gd name="connsiteX181" fmla="*/ 1162595 w 10768629"/>
              <a:gd name="connsiteY181" fmla="*/ 1758337 h 1978172"/>
              <a:gd name="connsiteX182" fmla="*/ 1120257 w 10768629"/>
              <a:gd name="connsiteY182" fmla="*/ 1789615 h 1978172"/>
              <a:gd name="connsiteX183" fmla="*/ 991903 w 10768629"/>
              <a:gd name="connsiteY183" fmla="*/ 1786741 h 1978172"/>
              <a:gd name="connsiteX184" fmla="*/ 883960 w 10768629"/>
              <a:gd name="connsiteY184" fmla="*/ 1809389 h 1978172"/>
              <a:gd name="connsiteX185" fmla="*/ 766531 w 10768629"/>
              <a:gd name="connsiteY185" fmla="*/ 1805053 h 1978172"/>
              <a:gd name="connsiteX186" fmla="*/ 669779 w 10768629"/>
              <a:gd name="connsiteY186" fmla="*/ 1800537 h 1978172"/>
              <a:gd name="connsiteX187" fmla="*/ 523898 w 10768629"/>
              <a:gd name="connsiteY187" fmla="*/ 1811085 h 1978172"/>
              <a:gd name="connsiteX188" fmla="*/ 360251 w 10768629"/>
              <a:gd name="connsiteY188" fmla="*/ 1830735 h 1978172"/>
              <a:gd name="connsiteX189" fmla="*/ 255207 w 10768629"/>
              <a:gd name="connsiteY189" fmla="*/ 1818275 h 1978172"/>
              <a:gd name="connsiteX190" fmla="*/ 101803 w 10768629"/>
              <a:gd name="connsiteY190" fmla="*/ 1870647 h 1978172"/>
              <a:gd name="connsiteX191" fmla="*/ 25397 w 10768629"/>
              <a:gd name="connsiteY191" fmla="*/ 1888443 h 1978172"/>
              <a:gd name="connsiteX192" fmla="*/ 2370 w 10768629"/>
              <a:gd name="connsiteY192" fmla="*/ 1878311 h 1978172"/>
              <a:gd name="connsiteX193" fmla="*/ 0 w 10768629"/>
              <a:gd name="connsiteY193" fmla="*/ 1878785 h 1978172"/>
              <a:gd name="connsiteX194" fmla="*/ 0 w 10768629"/>
              <a:gd name="connsiteY194" fmla="*/ 0 h 1978172"/>
              <a:gd name="connsiteX0" fmla="*/ 0 w 10768629"/>
              <a:gd name="connsiteY0" fmla="*/ 0 h 1978172"/>
              <a:gd name="connsiteX1" fmla="*/ 10768629 w 10768629"/>
              <a:gd name="connsiteY1" fmla="*/ 0 h 1978172"/>
              <a:gd name="connsiteX2" fmla="*/ 10733254 w 10768629"/>
              <a:gd name="connsiteY2" fmla="*/ 31439 h 1978172"/>
              <a:gd name="connsiteX3" fmla="*/ 10727085 w 10768629"/>
              <a:gd name="connsiteY3" fmla="*/ 37910 h 1978172"/>
              <a:gd name="connsiteX4" fmla="*/ 10675953 w 10768629"/>
              <a:gd name="connsiteY4" fmla="*/ 68623 h 1978172"/>
              <a:gd name="connsiteX5" fmla="*/ 10637091 w 10768629"/>
              <a:gd name="connsiteY5" fmla="*/ 90361 h 1978172"/>
              <a:gd name="connsiteX6" fmla="*/ 10610971 w 10768629"/>
              <a:gd name="connsiteY6" fmla="*/ 110764 h 1978172"/>
              <a:gd name="connsiteX7" fmla="*/ 10532872 w 10768629"/>
              <a:gd name="connsiteY7" fmla="*/ 138028 h 1978172"/>
              <a:gd name="connsiteX8" fmla="*/ 10398558 w 10768629"/>
              <a:gd name="connsiteY8" fmla="*/ 172911 h 1978172"/>
              <a:gd name="connsiteX9" fmla="*/ 10371128 w 10768629"/>
              <a:gd name="connsiteY9" fmla="*/ 182609 h 1978172"/>
              <a:gd name="connsiteX10" fmla="*/ 10352178 w 10768629"/>
              <a:gd name="connsiteY10" fmla="*/ 199976 h 1978172"/>
              <a:gd name="connsiteX11" fmla="*/ 10351815 w 10768629"/>
              <a:gd name="connsiteY11" fmla="*/ 211879 h 1978172"/>
              <a:gd name="connsiteX12" fmla="*/ 10337471 w 10768629"/>
              <a:gd name="connsiteY12" fmla="*/ 218661 h 1978172"/>
              <a:gd name="connsiteX13" fmla="*/ 10334625 w 10768629"/>
              <a:gd name="connsiteY13" fmla="*/ 222351 h 1978172"/>
              <a:gd name="connsiteX14" fmla="*/ 10256365 w 10768629"/>
              <a:gd name="connsiteY14" fmla="*/ 235917 h 1978172"/>
              <a:gd name="connsiteX15" fmla="*/ 10201127 w 10768629"/>
              <a:gd name="connsiteY15" fmla="*/ 267448 h 1978172"/>
              <a:gd name="connsiteX16" fmla="*/ 9961218 w 10768629"/>
              <a:gd name="connsiteY16" fmla="*/ 326720 h 1978172"/>
              <a:gd name="connsiteX17" fmla="*/ 9859715 w 10768629"/>
              <a:gd name="connsiteY17" fmla="*/ 355698 h 1978172"/>
              <a:gd name="connsiteX18" fmla="*/ 9679867 w 10768629"/>
              <a:gd name="connsiteY18" fmla="*/ 399081 h 1978172"/>
              <a:gd name="connsiteX19" fmla="*/ 9490654 w 10768629"/>
              <a:gd name="connsiteY19" fmla="*/ 455225 h 1978172"/>
              <a:gd name="connsiteX20" fmla="*/ 9470837 w 10768629"/>
              <a:gd name="connsiteY20" fmla="*/ 452539 h 1978172"/>
              <a:gd name="connsiteX21" fmla="*/ 9469082 w 10768629"/>
              <a:gd name="connsiteY21" fmla="*/ 454891 h 1978172"/>
              <a:gd name="connsiteX22" fmla="*/ 9448038 w 10768629"/>
              <a:gd name="connsiteY22" fmla="*/ 459733 h 1978172"/>
              <a:gd name="connsiteX23" fmla="*/ 9396821 w 10768629"/>
              <a:gd name="connsiteY23" fmla="*/ 455795 h 1978172"/>
              <a:gd name="connsiteX24" fmla="*/ 9392197 w 10768629"/>
              <a:gd name="connsiteY24" fmla="*/ 459796 h 1978172"/>
              <a:gd name="connsiteX25" fmla="*/ 9347994 w 10768629"/>
              <a:gd name="connsiteY25" fmla="*/ 464462 h 1978172"/>
              <a:gd name="connsiteX26" fmla="*/ 9347889 w 10768629"/>
              <a:gd name="connsiteY26" fmla="*/ 466539 h 1978172"/>
              <a:gd name="connsiteX27" fmla="*/ 9337639 w 10768629"/>
              <a:gd name="connsiteY27" fmla="*/ 476654 h 1978172"/>
              <a:gd name="connsiteX28" fmla="*/ 9287964 w 10768629"/>
              <a:gd name="connsiteY28" fmla="*/ 513052 h 1978172"/>
              <a:gd name="connsiteX29" fmla="*/ 9229283 w 10768629"/>
              <a:gd name="connsiteY29" fmla="*/ 555377 h 1978172"/>
              <a:gd name="connsiteX30" fmla="*/ 9220274 w 10768629"/>
              <a:gd name="connsiteY30" fmla="*/ 557502 h 1978172"/>
              <a:gd name="connsiteX31" fmla="*/ 9220202 w 10768629"/>
              <a:gd name="connsiteY31" fmla="*/ 558001 h 1978172"/>
              <a:gd name="connsiteX32" fmla="*/ 9210908 w 10768629"/>
              <a:gd name="connsiteY32" fmla="*/ 561147 h 1978172"/>
              <a:gd name="connsiteX33" fmla="*/ 9186374 w 10768629"/>
              <a:gd name="connsiteY33" fmla="*/ 565502 h 1978172"/>
              <a:gd name="connsiteX34" fmla="*/ 9181058 w 10768629"/>
              <a:gd name="connsiteY34" fmla="*/ 569943 h 1978172"/>
              <a:gd name="connsiteX35" fmla="*/ 9167549 w 10768629"/>
              <a:gd name="connsiteY35" fmla="*/ 584727 h 1978172"/>
              <a:gd name="connsiteX36" fmla="*/ 9149110 w 10768629"/>
              <a:gd name="connsiteY36" fmla="*/ 598906 h 1978172"/>
              <a:gd name="connsiteX37" fmla="*/ 9078556 w 10768629"/>
              <a:gd name="connsiteY37" fmla="*/ 644039 h 1978172"/>
              <a:gd name="connsiteX38" fmla="*/ 8996399 w 10768629"/>
              <a:gd name="connsiteY38" fmla="*/ 690055 h 1978172"/>
              <a:gd name="connsiteX39" fmla="*/ 8803791 w 10768629"/>
              <a:gd name="connsiteY39" fmla="*/ 813860 h 1978172"/>
              <a:gd name="connsiteX40" fmla="*/ 8636202 w 10768629"/>
              <a:gd name="connsiteY40" fmla="*/ 848463 h 1978172"/>
              <a:gd name="connsiteX41" fmla="*/ 8555372 w 10768629"/>
              <a:gd name="connsiteY41" fmla="*/ 883171 h 1978172"/>
              <a:gd name="connsiteX42" fmla="*/ 8507229 w 10768629"/>
              <a:gd name="connsiteY42" fmla="*/ 901665 h 1978172"/>
              <a:gd name="connsiteX43" fmla="*/ 8428473 w 10768629"/>
              <a:gd name="connsiteY43" fmla="*/ 927985 h 1978172"/>
              <a:gd name="connsiteX44" fmla="*/ 8427914 w 10768629"/>
              <a:gd name="connsiteY44" fmla="*/ 933480 h 1978172"/>
              <a:gd name="connsiteX45" fmla="*/ 8420327 w 10768629"/>
              <a:gd name="connsiteY45" fmla="*/ 941984 h 1978172"/>
              <a:gd name="connsiteX46" fmla="*/ 8394729 w 10768629"/>
              <a:gd name="connsiteY46" fmla="*/ 948347 h 1978172"/>
              <a:gd name="connsiteX47" fmla="*/ 8380548 w 10768629"/>
              <a:gd name="connsiteY47" fmla="*/ 987916 h 1978172"/>
              <a:gd name="connsiteX48" fmla="*/ 8375330 w 10768629"/>
              <a:gd name="connsiteY48" fmla="*/ 965444 h 1978172"/>
              <a:gd name="connsiteX49" fmla="*/ 8340796 w 10768629"/>
              <a:gd name="connsiteY49" fmla="*/ 980522 h 1978172"/>
              <a:gd name="connsiteX50" fmla="*/ 8304438 w 10768629"/>
              <a:gd name="connsiteY50" fmla="*/ 996739 h 1978172"/>
              <a:gd name="connsiteX51" fmla="*/ 8280929 w 10768629"/>
              <a:gd name="connsiteY51" fmla="*/ 1023089 h 1978172"/>
              <a:gd name="connsiteX52" fmla="*/ 8275760 w 10768629"/>
              <a:gd name="connsiteY52" fmla="*/ 1027772 h 1978172"/>
              <a:gd name="connsiteX53" fmla="*/ 8275478 w 10768629"/>
              <a:gd name="connsiteY53" fmla="*/ 1027605 h 1978172"/>
              <a:gd name="connsiteX54" fmla="*/ 8249003 w 10768629"/>
              <a:gd name="connsiteY54" fmla="*/ 1032033 h 1978172"/>
              <a:gd name="connsiteX55" fmla="*/ 8203836 w 10768629"/>
              <a:gd name="connsiteY55" fmla="*/ 1037347 h 1978172"/>
              <a:gd name="connsiteX56" fmla="*/ 8122936 w 10768629"/>
              <a:gd name="connsiteY56" fmla="*/ 1063113 h 1978172"/>
              <a:gd name="connsiteX57" fmla="*/ 8043658 w 10768629"/>
              <a:gd name="connsiteY57" fmla="*/ 1092746 h 1978172"/>
              <a:gd name="connsiteX58" fmla="*/ 8015351 w 10768629"/>
              <a:gd name="connsiteY58" fmla="*/ 1105478 h 1978172"/>
              <a:gd name="connsiteX59" fmla="*/ 7963145 w 10768629"/>
              <a:gd name="connsiteY59" fmla="*/ 1119346 h 1978172"/>
              <a:gd name="connsiteX60" fmla="*/ 7938145 w 10768629"/>
              <a:gd name="connsiteY60" fmla="*/ 1120225 h 1978172"/>
              <a:gd name="connsiteX61" fmla="*/ 7937238 w 10768629"/>
              <a:gd name="connsiteY61" fmla="*/ 1121204 h 1978172"/>
              <a:gd name="connsiteX62" fmla="*/ 7934398 w 10768629"/>
              <a:gd name="connsiteY62" fmla="*/ 1118240 h 1978172"/>
              <a:gd name="connsiteX63" fmla="*/ 7918248 w 10768629"/>
              <a:gd name="connsiteY63" fmla="*/ 1124371 h 1978172"/>
              <a:gd name="connsiteX64" fmla="*/ 7914119 w 10768629"/>
              <a:gd name="connsiteY64" fmla="*/ 1127653 h 1978172"/>
              <a:gd name="connsiteX65" fmla="*/ 7907658 w 10768629"/>
              <a:gd name="connsiteY65" fmla="*/ 1130350 h 1978172"/>
              <a:gd name="connsiteX66" fmla="*/ 7907434 w 10768629"/>
              <a:gd name="connsiteY66" fmla="*/ 1130103 h 1978172"/>
              <a:gd name="connsiteX67" fmla="*/ 7901508 w 10768629"/>
              <a:gd name="connsiteY67" fmla="*/ 1133245 h 1978172"/>
              <a:gd name="connsiteX68" fmla="*/ 7873287 w 10768629"/>
              <a:gd name="connsiteY68" fmla="*/ 1152609 h 1978172"/>
              <a:gd name="connsiteX69" fmla="*/ 7834833 w 10768629"/>
              <a:gd name="connsiteY69" fmla="*/ 1153868 h 1978172"/>
              <a:gd name="connsiteX70" fmla="*/ 7828661 w 10768629"/>
              <a:gd name="connsiteY70" fmla="*/ 1139994 h 1978172"/>
              <a:gd name="connsiteX71" fmla="*/ 7823966 w 10768629"/>
              <a:gd name="connsiteY71" fmla="*/ 1143178 h 1978172"/>
              <a:gd name="connsiteX72" fmla="*/ 7815078 w 10768629"/>
              <a:gd name="connsiteY72" fmla="*/ 1151776 h 1978172"/>
              <a:gd name="connsiteX73" fmla="*/ 7812026 w 10768629"/>
              <a:gd name="connsiteY73" fmla="*/ 1151522 h 1978172"/>
              <a:gd name="connsiteX74" fmla="*/ 7782249 w 10768629"/>
              <a:gd name="connsiteY74" fmla="*/ 1160970 h 1978172"/>
              <a:gd name="connsiteX75" fmla="*/ 7773476 w 10768629"/>
              <a:gd name="connsiteY75" fmla="*/ 1157414 h 1978172"/>
              <a:gd name="connsiteX76" fmla="*/ 7769600 w 10768629"/>
              <a:gd name="connsiteY76" fmla="*/ 1157365 h 1978172"/>
              <a:gd name="connsiteX77" fmla="*/ 7752631 w 10768629"/>
              <a:gd name="connsiteY77" fmla="*/ 1172815 h 1978172"/>
              <a:gd name="connsiteX78" fmla="*/ 7739392 w 10768629"/>
              <a:gd name="connsiteY78" fmla="*/ 1192062 h 1978172"/>
              <a:gd name="connsiteX79" fmla="*/ 7677677 w 10768629"/>
              <a:gd name="connsiteY79" fmla="*/ 1216394 h 1978172"/>
              <a:gd name="connsiteX80" fmla="*/ 7586920 w 10768629"/>
              <a:gd name="connsiteY80" fmla="*/ 1261888 h 1978172"/>
              <a:gd name="connsiteX81" fmla="*/ 7486100 w 10768629"/>
              <a:gd name="connsiteY81" fmla="*/ 1292563 h 1978172"/>
              <a:gd name="connsiteX82" fmla="*/ 7411323 w 10768629"/>
              <a:gd name="connsiteY82" fmla="*/ 1340732 h 1978172"/>
              <a:gd name="connsiteX83" fmla="*/ 7240698 w 10768629"/>
              <a:gd name="connsiteY83" fmla="*/ 1438832 h 1978172"/>
              <a:gd name="connsiteX84" fmla="*/ 7197675 w 10768629"/>
              <a:gd name="connsiteY84" fmla="*/ 1447530 h 1978172"/>
              <a:gd name="connsiteX85" fmla="*/ 7164788 w 10768629"/>
              <a:gd name="connsiteY85" fmla="*/ 1480293 h 1978172"/>
              <a:gd name="connsiteX86" fmla="*/ 7147929 w 10768629"/>
              <a:gd name="connsiteY86" fmla="*/ 1477641 h 1978172"/>
              <a:gd name="connsiteX87" fmla="*/ 7144965 w 10768629"/>
              <a:gd name="connsiteY87" fmla="*/ 1476908 h 1978172"/>
              <a:gd name="connsiteX88" fmla="*/ 7134299 w 10768629"/>
              <a:gd name="connsiteY88" fmla="*/ 1479969 h 1978172"/>
              <a:gd name="connsiteX89" fmla="*/ 7129809 w 10768629"/>
              <a:gd name="connsiteY89" fmla="*/ 1473339 h 1978172"/>
              <a:gd name="connsiteX90" fmla="*/ 7112688 w 10768629"/>
              <a:gd name="connsiteY90" fmla="*/ 1472575 h 1978172"/>
              <a:gd name="connsiteX91" fmla="*/ 7093470 w 10768629"/>
              <a:gd name="connsiteY91" fmla="*/ 1480300 h 1978172"/>
              <a:gd name="connsiteX92" fmla="*/ 7025034 w 10768629"/>
              <a:gd name="connsiteY92" fmla="*/ 1506934 h 1978172"/>
              <a:gd name="connsiteX93" fmla="*/ 7014783 w 10768629"/>
              <a:gd name="connsiteY93" fmla="*/ 1515868 h 1978172"/>
              <a:gd name="connsiteX94" fmla="*/ 6979706 w 10768629"/>
              <a:gd name="connsiteY94" fmla="*/ 1523511 h 1978172"/>
              <a:gd name="connsiteX95" fmla="*/ 6977890 w 10768629"/>
              <a:gd name="connsiteY95" fmla="*/ 1525793 h 1978172"/>
              <a:gd name="connsiteX96" fmla="*/ 6944339 w 10768629"/>
              <a:gd name="connsiteY96" fmla="*/ 1536237 h 1978172"/>
              <a:gd name="connsiteX97" fmla="*/ 6886996 w 10768629"/>
              <a:gd name="connsiteY97" fmla="*/ 1563569 h 1978172"/>
              <a:gd name="connsiteX98" fmla="*/ 6874510 w 10768629"/>
              <a:gd name="connsiteY98" fmla="*/ 1558469 h 1978172"/>
              <a:gd name="connsiteX99" fmla="*/ 6871943 w 10768629"/>
              <a:gd name="connsiteY99" fmla="*/ 1554651 h 1978172"/>
              <a:gd name="connsiteX100" fmla="*/ 6856174 w 10768629"/>
              <a:gd name="connsiteY100" fmla="*/ 1562024 h 1978172"/>
              <a:gd name="connsiteX101" fmla="*/ 6842321 w 10768629"/>
              <a:gd name="connsiteY101" fmla="*/ 1560554 h 1978172"/>
              <a:gd name="connsiteX102" fmla="*/ 6832713 w 10768629"/>
              <a:gd name="connsiteY102" fmla="*/ 1569357 h 1978172"/>
              <a:gd name="connsiteX103" fmla="*/ 6816351 w 10768629"/>
              <a:gd name="connsiteY103" fmla="*/ 1571495 h 1978172"/>
              <a:gd name="connsiteX104" fmla="*/ 6795800 w 10768629"/>
              <a:gd name="connsiteY104" fmla="*/ 1572010 h 1978172"/>
              <a:gd name="connsiteX105" fmla="*/ 6777546 w 10768629"/>
              <a:gd name="connsiteY105" fmla="*/ 1568661 h 1978172"/>
              <a:gd name="connsiteX106" fmla="*/ 6751528 w 10768629"/>
              <a:gd name="connsiteY106" fmla="*/ 1574143 h 1978172"/>
              <a:gd name="connsiteX107" fmla="*/ 6691966 w 10768629"/>
              <a:gd name="connsiteY107" fmla="*/ 1582255 h 1978172"/>
              <a:gd name="connsiteX108" fmla="*/ 6646941 w 10768629"/>
              <a:gd name="connsiteY108" fmla="*/ 1588471 h 1978172"/>
              <a:gd name="connsiteX109" fmla="*/ 6568576 w 10768629"/>
              <a:gd name="connsiteY109" fmla="*/ 1606488 h 1978172"/>
              <a:gd name="connsiteX110" fmla="*/ 6554358 w 10768629"/>
              <a:gd name="connsiteY110" fmla="*/ 1621701 h 1978172"/>
              <a:gd name="connsiteX111" fmla="*/ 6516968 w 10768629"/>
              <a:gd name="connsiteY111" fmla="*/ 1617195 h 1978172"/>
              <a:gd name="connsiteX112" fmla="*/ 6506479 w 10768629"/>
              <a:gd name="connsiteY112" fmla="*/ 1602227 h 1978172"/>
              <a:gd name="connsiteX113" fmla="*/ 6458436 w 10768629"/>
              <a:gd name="connsiteY113" fmla="*/ 1607332 h 1978172"/>
              <a:gd name="connsiteX114" fmla="*/ 6414786 w 10768629"/>
              <a:gd name="connsiteY114" fmla="*/ 1628815 h 1978172"/>
              <a:gd name="connsiteX115" fmla="*/ 6357085 w 10768629"/>
              <a:gd name="connsiteY115" fmla="*/ 1640846 h 1978172"/>
              <a:gd name="connsiteX116" fmla="*/ 6322636 w 10768629"/>
              <a:gd name="connsiteY116" fmla="*/ 1648213 h 1978172"/>
              <a:gd name="connsiteX117" fmla="*/ 6226172 w 10768629"/>
              <a:gd name="connsiteY117" fmla="*/ 1654676 h 1978172"/>
              <a:gd name="connsiteX118" fmla="*/ 6221217 w 10768629"/>
              <a:gd name="connsiteY118" fmla="*/ 1654506 h 1978172"/>
              <a:gd name="connsiteX119" fmla="*/ 6204956 w 10768629"/>
              <a:gd name="connsiteY119" fmla="*/ 1664280 h 1978172"/>
              <a:gd name="connsiteX120" fmla="*/ 6204270 w 10768629"/>
              <a:gd name="connsiteY120" fmla="*/ 1666782 h 1978172"/>
              <a:gd name="connsiteX121" fmla="*/ 6143810 w 10768629"/>
              <a:gd name="connsiteY121" fmla="*/ 1661963 h 1978172"/>
              <a:gd name="connsiteX122" fmla="*/ 6136560 w 10768629"/>
              <a:gd name="connsiteY122" fmla="*/ 1665728 h 1978172"/>
              <a:gd name="connsiteX123" fmla="*/ 6096155 w 10768629"/>
              <a:gd name="connsiteY123" fmla="*/ 1656951 h 1978172"/>
              <a:gd name="connsiteX124" fmla="*/ 6075812 w 10768629"/>
              <a:gd name="connsiteY124" fmla="*/ 1655422 h 1978172"/>
              <a:gd name="connsiteX125" fmla="*/ 6039495 w 10768629"/>
              <a:gd name="connsiteY125" fmla="*/ 1649680 h 1978172"/>
              <a:gd name="connsiteX126" fmla="*/ 6036523 w 10768629"/>
              <a:gd name="connsiteY126" fmla="*/ 1652121 h 1978172"/>
              <a:gd name="connsiteX127" fmla="*/ 6029328 w 10768629"/>
              <a:gd name="connsiteY127" fmla="*/ 1649904 h 1978172"/>
              <a:gd name="connsiteX128" fmla="*/ 6024075 w 10768629"/>
              <a:gd name="connsiteY128" fmla="*/ 1652779 h 1978172"/>
              <a:gd name="connsiteX129" fmla="*/ 6018085 w 10768629"/>
              <a:gd name="connsiteY129" fmla="*/ 1652030 h 1978172"/>
              <a:gd name="connsiteX130" fmla="*/ 5955513 w 10768629"/>
              <a:gd name="connsiteY130" fmla="*/ 1663584 h 1978172"/>
              <a:gd name="connsiteX131" fmla="*/ 5941996 w 10768629"/>
              <a:gd name="connsiteY131" fmla="*/ 1661326 h 1978172"/>
              <a:gd name="connsiteX132" fmla="*/ 5931789 w 10768629"/>
              <a:gd name="connsiteY132" fmla="*/ 1669915 h 1978172"/>
              <a:gd name="connsiteX133" fmla="*/ 5888686 w 10768629"/>
              <a:gd name="connsiteY133" fmla="*/ 1672175 h 1978172"/>
              <a:gd name="connsiteX134" fmla="*/ 5873794 w 10768629"/>
              <a:gd name="connsiteY134" fmla="*/ 1665454 h 1978172"/>
              <a:gd name="connsiteX135" fmla="*/ 5860022 w 10768629"/>
              <a:gd name="connsiteY135" fmla="*/ 1660635 h 1978172"/>
              <a:gd name="connsiteX136" fmla="*/ 5858237 w 10768629"/>
              <a:gd name="connsiteY136" fmla="*/ 1660649 h 1978172"/>
              <a:gd name="connsiteX137" fmla="*/ 5840319 w 10768629"/>
              <a:gd name="connsiteY137" fmla="*/ 1660798 h 1978172"/>
              <a:gd name="connsiteX138" fmla="*/ 5806984 w 10768629"/>
              <a:gd name="connsiteY138" fmla="*/ 1661075 h 1978172"/>
              <a:gd name="connsiteX139" fmla="*/ 5742351 w 10768629"/>
              <a:gd name="connsiteY139" fmla="*/ 1667489 h 1978172"/>
              <a:gd name="connsiteX140" fmla="*/ 5521171 w 10768629"/>
              <a:gd name="connsiteY140" fmla="*/ 1671626 h 1978172"/>
              <a:gd name="connsiteX141" fmla="*/ 5457384 w 10768629"/>
              <a:gd name="connsiteY141" fmla="*/ 1683952 h 1978172"/>
              <a:gd name="connsiteX142" fmla="*/ 4950070 w 10768629"/>
              <a:gd name="connsiteY142" fmla="*/ 1748401 h 1978172"/>
              <a:gd name="connsiteX143" fmla="*/ 4872172 w 10768629"/>
              <a:gd name="connsiteY143" fmla="*/ 1757222 h 1978172"/>
              <a:gd name="connsiteX144" fmla="*/ 4809524 w 10768629"/>
              <a:gd name="connsiteY144" fmla="*/ 1761033 h 1978172"/>
              <a:gd name="connsiteX145" fmla="*/ 4759058 w 10768629"/>
              <a:gd name="connsiteY145" fmla="*/ 1766533 h 1978172"/>
              <a:gd name="connsiteX146" fmla="*/ 4719749 w 10768629"/>
              <a:gd name="connsiteY146" fmla="*/ 1771811 h 1978172"/>
              <a:gd name="connsiteX147" fmla="*/ 4568686 w 10768629"/>
              <a:gd name="connsiteY147" fmla="*/ 1786141 h 1978172"/>
              <a:gd name="connsiteX148" fmla="*/ 4418751 w 10768629"/>
              <a:gd name="connsiteY148" fmla="*/ 1796932 h 1978172"/>
              <a:gd name="connsiteX149" fmla="*/ 4378377 w 10768629"/>
              <a:gd name="connsiteY149" fmla="*/ 1815528 h 1978172"/>
              <a:gd name="connsiteX150" fmla="*/ 4320575 w 10768629"/>
              <a:gd name="connsiteY150" fmla="*/ 1832722 h 1978172"/>
              <a:gd name="connsiteX151" fmla="*/ 4211935 w 10768629"/>
              <a:gd name="connsiteY151" fmla="*/ 1860177 h 1978172"/>
              <a:gd name="connsiteX152" fmla="*/ 4101228 w 10768629"/>
              <a:gd name="connsiteY152" fmla="*/ 1868717 h 1978172"/>
              <a:gd name="connsiteX153" fmla="*/ 3973223 w 10768629"/>
              <a:gd name="connsiteY153" fmla="*/ 1881015 h 1978172"/>
              <a:gd name="connsiteX154" fmla="*/ 3900992 w 10768629"/>
              <a:gd name="connsiteY154" fmla="*/ 1880603 h 1978172"/>
              <a:gd name="connsiteX155" fmla="*/ 3662119 w 10768629"/>
              <a:gd name="connsiteY155" fmla="*/ 1889285 h 1978172"/>
              <a:gd name="connsiteX156" fmla="*/ 3496919 w 10768629"/>
              <a:gd name="connsiteY156" fmla="*/ 1873180 h 1978172"/>
              <a:gd name="connsiteX157" fmla="*/ 3449433 w 10768629"/>
              <a:gd name="connsiteY157" fmla="*/ 1889681 h 1978172"/>
              <a:gd name="connsiteX158" fmla="*/ 3369766 w 10768629"/>
              <a:gd name="connsiteY158" fmla="*/ 1916653 h 1978172"/>
              <a:gd name="connsiteX159" fmla="*/ 3269672 w 10768629"/>
              <a:gd name="connsiteY159" fmla="*/ 1938036 h 1978172"/>
              <a:gd name="connsiteX160" fmla="*/ 3224897 w 10768629"/>
              <a:gd name="connsiteY160" fmla="*/ 1943733 h 1978172"/>
              <a:gd name="connsiteX161" fmla="*/ 3161463 w 10768629"/>
              <a:gd name="connsiteY161" fmla="*/ 1946591 h 1978172"/>
              <a:gd name="connsiteX162" fmla="*/ 3112044 w 10768629"/>
              <a:gd name="connsiteY162" fmla="*/ 1935614 h 1978172"/>
              <a:gd name="connsiteX163" fmla="*/ 3069716 w 10768629"/>
              <a:gd name="connsiteY163" fmla="*/ 1930463 h 1978172"/>
              <a:gd name="connsiteX164" fmla="*/ 3005773 w 10768629"/>
              <a:gd name="connsiteY164" fmla="*/ 1915878 h 1978172"/>
              <a:gd name="connsiteX165" fmla="*/ 2897201 w 10768629"/>
              <a:gd name="connsiteY165" fmla="*/ 1926772 h 1978172"/>
              <a:gd name="connsiteX166" fmla="*/ 2783891 w 10768629"/>
              <a:gd name="connsiteY166" fmla="*/ 1931749 h 1978172"/>
              <a:gd name="connsiteX167" fmla="*/ 2712447 w 10768629"/>
              <a:gd name="connsiteY167" fmla="*/ 1933044 h 1978172"/>
              <a:gd name="connsiteX168" fmla="*/ 2560151 w 10768629"/>
              <a:gd name="connsiteY168" fmla="*/ 1963609 h 1978172"/>
              <a:gd name="connsiteX169" fmla="*/ 2367221 w 10768629"/>
              <a:gd name="connsiteY169" fmla="*/ 1971884 h 1978172"/>
              <a:gd name="connsiteX170" fmla="*/ 2272130 w 10768629"/>
              <a:gd name="connsiteY170" fmla="*/ 1961162 h 1978172"/>
              <a:gd name="connsiteX171" fmla="*/ 2189404 w 10768629"/>
              <a:gd name="connsiteY171" fmla="*/ 1978172 h 1978172"/>
              <a:gd name="connsiteX172" fmla="*/ 2077704 w 10768629"/>
              <a:gd name="connsiteY172" fmla="*/ 1965002 h 1978172"/>
              <a:gd name="connsiteX173" fmla="*/ 2033299 w 10768629"/>
              <a:gd name="connsiteY173" fmla="*/ 1969042 h 1978172"/>
              <a:gd name="connsiteX174" fmla="*/ 1967996 w 10768629"/>
              <a:gd name="connsiteY174" fmla="*/ 1953187 h 1978172"/>
              <a:gd name="connsiteX175" fmla="*/ 1855805 w 10768629"/>
              <a:gd name="connsiteY175" fmla="*/ 1926082 h 1978172"/>
              <a:gd name="connsiteX176" fmla="*/ 1790957 w 10768629"/>
              <a:gd name="connsiteY176" fmla="*/ 1919460 h 1978172"/>
              <a:gd name="connsiteX177" fmla="*/ 1613978 w 10768629"/>
              <a:gd name="connsiteY177" fmla="*/ 1891581 h 1978172"/>
              <a:gd name="connsiteX178" fmla="*/ 1436831 w 10768629"/>
              <a:gd name="connsiteY178" fmla="*/ 1856201 h 1978172"/>
              <a:gd name="connsiteX179" fmla="*/ 1357365 w 10768629"/>
              <a:gd name="connsiteY179" fmla="*/ 1832140 h 1978172"/>
              <a:gd name="connsiteX180" fmla="*/ 1232341 w 10768629"/>
              <a:gd name="connsiteY180" fmla="*/ 1785942 h 1978172"/>
              <a:gd name="connsiteX181" fmla="*/ 1162595 w 10768629"/>
              <a:gd name="connsiteY181" fmla="*/ 1784330 h 1978172"/>
              <a:gd name="connsiteX182" fmla="*/ 1120257 w 10768629"/>
              <a:gd name="connsiteY182" fmla="*/ 1789615 h 1978172"/>
              <a:gd name="connsiteX183" fmla="*/ 991903 w 10768629"/>
              <a:gd name="connsiteY183" fmla="*/ 1786741 h 1978172"/>
              <a:gd name="connsiteX184" fmla="*/ 883960 w 10768629"/>
              <a:gd name="connsiteY184" fmla="*/ 1809389 h 1978172"/>
              <a:gd name="connsiteX185" fmla="*/ 766531 w 10768629"/>
              <a:gd name="connsiteY185" fmla="*/ 1805053 h 1978172"/>
              <a:gd name="connsiteX186" fmla="*/ 669779 w 10768629"/>
              <a:gd name="connsiteY186" fmla="*/ 1800537 h 1978172"/>
              <a:gd name="connsiteX187" fmla="*/ 523898 w 10768629"/>
              <a:gd name="connsiteY187" fmla="*/ 1811085 h 1978172"/>
              <a:gd name="connsiteX188" fmla="*/ 360251 w 10768629"/>
              <a:gd name="connsiteY188" fmla="*/ 1830735 h 1978172"/>
              <a:gd name="connsiteX189" fmla="*/ 255207 w 10768629"/>
              <a:gd name="connsiteY189" fmla="*/ 1818275 h 1978172"/>
              <a:gd name="connsiteX190" fmla="*/ 101803 w 10768629"/>
              <a:gd name="connsiteY190" fmla="*/ 1870647 h 1978172"/>
              <a:gd name="connsiteX191" fmla="*/ 25397 w 10768629"/>
              <a:gd name="connsiteY191" fmla="*/ 1888443 h 1978172"/>
              <a:gd name="connsiteX192" fmla="*/ 2370 w 10768629"/>
              <a:gd name="connsiteY192" fmla="*/ 1878311 h 1978172"/>
              <a:gd name="connsiteX193" fmla="*/ 0 w 10768629"/>
              <a:gd name="connsiteY193" fmla="*/ 1878785 h 1978172"/>
              <a:gd name="connsiteX194" fmla="*/ 0 w 10768629"/>
              <a:gd name="connsiteY194" fmla="*/ 0 h 1978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Lst>
            <a:rect l="l" t="t" r="r" b="b"/>
            <a:pathLst>
              <a:path w="10768629" h="1978172">
                <a:moveTo>
                  <a:pt x="0" y="0"/>
                </a:moveTo>
                <a:lnTo>
                  <a:pt x="10768629" y="0"/>
                </a:lnTo>
                <a:lnTo>
                  <a:pt x="10733254" y="31439"/>
                </a:lnTo>
                <a:lnTo>
                  <a:pt x="10727085" y="37910"/>
                </a:lnTo>
                <a:cubicBezTo>
                  <a:pt x="10712973" y="56080"/>
                  <a:pt x="10699457" y="78430"/>
                  <a:pt x="10675953" y="68623"/>
                </a:cubicBezTo>
                <a:cubicBezTo>
                  <a:pt x="10685972" y="89202"/>
                  <a:pt x="10641629" y="69781"/>
                  <a:pt x="10637091" y="90361"/>
                </a:cubicBezTo>
                <a:cubicBezTo>
                  <a:pt x="10635214" y="107005"/>
                  <a:pt x="10621323" y="104993"/>
                  <a:pt x="10610971" y="110764"/>
                </a:cubicBezTo>
                <a:cubicBezTo>
                  <a:pt x="10603980" y="127568"/>
                  <a:pt x="10551417" y="141180"/>
                  <a:pt x="10532872" y="138028"/>
                </a:cubicBezTo>
                <a:cubicBezTo>
                  <a:pt x="10480300" y="119072"/>
                  <a:pt x="10440532" y="186296"/>
                  <a:pt x="10398558" y="172911"/>
                </a:cubicBezTo>
                <a:cubicBezTo>
                  <a:pt x="10387708" y="174114"/>
                  <a:pt x="10378792" y="177646"/>
                  <a:pt x="10371128" y="182609"/>
                </a:cubicBezTo>
                <a:lnTo>
                  <a:pt x="10352178" y="199976"/>
                </a:lnTo>
                <a:lnTo>
                  <a:pt x="10351815" y="211879"/>
                </a:lnTo>
                <a:lnTo>
                  <a:pt x="10337471" y="218661"/>
                </a:lnTo>
                <a:lnTo>
                  <a:pt x="10334625" y="222351"/>
                </a:lnTo>
                <a:cubicBezTo>
                  <a:pt x="10321108" y="225227"/>
                  <a:pt x="10278615" y="228401"/>
                  <a:pt x="10256365" y="235917"/>
                </a:cubicBezTo>
                <a:cubicBezTo>
                  <a:pt x="10218136" y="258033"/>
                  <a:pt x="10224552" y="209685"/>
                  <a:pt x="10201127" y="267448"/>
                </a:cubicBezTo>
                <a:cubicBezTo>
                  <a:pt x="10121320" y="273476"/>
                  <a:pt x="10040763" y="345580"/>
                  <a:pt x="9961218" y="326720"/>
                </a:cubicBezTo>
                <a:cubicBezTo>
                  <a:pt x="9980173" y="341621"/>
                  <a:pt x="9883038" y="318484"/>
                  <a:pt x="9859715" y="355698"/>
                </a:cubicBezTo>
                <a:cubicBezTo>
                  <a:pt x="9812822" y="367758"/>
                  <a:pt x="9752089" y="383830"/>
                  <a:pt x="9679867" y="399081"/>
                </a:cubicBezTo>
                <a:cubicBezTo>
                  <a:pt x="9618357" y="415668"/>
                  <a:pt x="9525492" y="446315"/>
                  <a:pt x="9490654" y="455225"/>
                </a:cubicBezTo>
                <a:lnTo>
                  <a:pt x="9470837" y="452539"/>
                </a:lnTo>
                <a:lnTo>
                  <a:pt x="9469082" y="454891"/>
                </a:lnTo>
                <a:cubicBezTo>
                  <a:pt x="9460057" y="461184"/>
                  <a:pt x="9453495" y="461729"/>
                  <a:pt x="9448038" y="459733"/>
                </a:cubicBezTo>
                <a:lnTo>
                  <a:pt x="9396821" y="455795"/>
                </a:lnTo>
                <a:lnTo>
                  <a:pt x="9392197" y="459796"/>
                </a:lnTo>
                <a:lnTo>
                  <a:pt x="9347994" y="464462"/>
                </a:lnTo>
                <a:cubicBezTo>
                  <a:pt x="9347959" y="465155"/>
                  <a:pt x="9347925" y="465846"/>
                  <a:pt x="9347889" y="466539"/>
                </a:cubicBezTo>
                <a:cubicBezTo>
                  <a:pt x="9346648" y="471307"/>
                  <a:pt x="9343831" y="475025"/>
                  <a:pt x="9337639" y="476654"/>
                </a:cubicBezTo>
                <a:cubicBezTo>
                  <a:pt x="9354547" y="503661"/>
                  <a:pt x="9307720" y="510631"/>
                  <a:pt x="9287964" y="513052"/>
                </a:cubicBezTo>
                <a:cubicBezTo>
                  <a:pt x="9269905" y="526173"/>
                  <a:pt x="9245386" y="544358"/>
                  <a:pt x="9229283" y="555377"/>
                </a:cubicBezTo>
                <a:lnTo>
                  <a:pt x="9220274" y="557502"/>
                </a:lnTo>
                <a:cubicBezTo>
                  <a:pt x="9220250" y="557668"/>
                  <a:pt x="9220226" y="557835"/>
                  <a:pt x="9220202" y="558001"/>
                </a:cubicBezTo>
                <a:cubicBezTo>
                  <a:pt x="9218468" y="559434"/>
                  <a:pt x="9215591" y="560497"/>
                  <a:pt x="9210908" y="561147"/>
                </a:cubicBezTo>
                <a:lnTo>
                  <a:pt x="9186374" y="565502"/>
                </a:lnTo>
                <a:lnTo>
                  <a:pt x="9181058" y="569943"/>
                </a:lnTo>
                <a:lnTo>
                  <a:pt x="9167549" y="584727"/>
                </a:lnTo>
                <a:lnTo>
                  <a:pt x="9149110" y="598906"/>
                </a:lnTo>
                <a:cubicBezTo>
                  <a:pt x="9133575" y="594395"/>
                  <a:pt x="9087390" y="636567"/>
                  <a:pt x="9078556" y="644039"/>
                </a:cubicBezTo>
                <a:lnTo>
                  <a:pt x="8996399" y="690055"/>
                </a:lnTo>
                <a:cubicBezTo>
                  <a:pt x="8913147" y="777045"/>
                  <a:pt x="8867993" y="772591"/>
                  <a:pt x="8803791" y="813860"/>
                </a:cubicBezTo>
                <a:cubicBezTo>
                  <a:pt x="8745270" y="819906"/>
                  <a:pt x="8690049" y="823612"/>
                  <a:pt x="8636202" y="848463"/>
                </a:cubicBezTo>
                <a:cubicBezTo>
                  <a:pt x="8594799" y="860014"/>
                  <a:pt x="8568613" y="864779"/>
                  <a:pt x="8555372" y="883171"/>
                </a:cubicBezTo>
                <a:lnTo>
                  <a:pt x="8507229" y="901665"/>
                </a:lnTo>
                <a:lnTo>
                  <a:pt x="8428473" y="927985"/>
                </a:lnTo>
                <a:cubicBezTo>
                  <a:pt x="8428287" y="929817"/>
                  <a:pt x="8428100" y="931648"/>
                  <a:pt x="8427914" y="933480"/>
                </a:cubicBezTo>
                <a:lnTo>
                  <a:pt x="8420327" y="941984"/>
                </a:lnTo>
                <a:lnTo>
                  <a:pt x="8394729" y="948347"/>
                </a:lnTo>
                <a:lnTo>
                  <a:pt x="8380548" y="987916"/>
                </a:lnTo>
                <a:lnTo>
                  <a:pt x="8375330" y="965444"/>
                </a:lnTo>
                <a:cubicBezTo>
                  <a:pt x="8372375" y="964202"/>
                  <a:pt x="8344433" y="977378"/>
                  <a:pt x="8340796" y="980522"/>
                </a:cubicBezTo>
                <a:cubicBezTo>
                  <a:pt x="8328292" y="982128"/>
                  <a:pt x="8319237" y="991089"/>
                  <a:pt x="8304438" y="996739"/>
                </a:cubicBezTo>
                <a:cubicBezTo>
                  <a:pt x="8297193" y="1005683"/>
                  <a:pt x="8289328" y="1014568"/>
                  <a:pt x="8280929" y="1023089"/>
                </a:cubicBezTo>
                <a:lnTo>
                  <a:pt x="8275760" y="1027772"/>
                </a:lnTo>
                <a:lnTo>
                  <a:pt x="8275478" y="1027605"/>
                </a:lnTo>
                <a:cubicBezTo>
                  <a:pt x="8273970" y="1028076"/>
                  <a:pt x="8251461" y="1029408"/>
                  <a:pt x="8249003" y="1032033"/>
                </a:cubicBezTo>
                <a:lnTo>
                  <a:pt x="8203836" y="1037347"/>
                </a:lnTo>
                <a:cubicBezTo>
                  <a:pt x="8172789" y="1049890"/>
                  <a:pt x="8148166" y="1034625"/>
                  <a:pt x="8122936" y="1063113"/>
                </a:cubicBezTo>
                <a:cubicBezTo>
                  <a:pt x="8093850" y="1074757"/>
                  <a:pt x="8066781" y="1075350"/>
                  <a:pt x="8043658" y="1092746"/>
                </a:cubicBezTo>
                <a:cubicBezTo>
                  <a:pt x="8032157" y="1089174"/>
                  <a:pt x="8022145" y="1089998"/>
                  <a:pt x="8015351" y="1105478"/>
                </a:cubicBezTo>
                <a:cubicBezTo>
                  <a:pt x="7987544" y="1113006"/>
                  <a:pt x="7977708" y="1099152"/>
                  <a:pt x="7963145" y="1119346"/>
                </a:cubicBezTo>
                <a:cubicBezTo>
                  <a:pt x="7942622" y="1098880"/>
                  <a:pt x="7943760" y="1109516"/>
                  <a:pt x="7938145" y="1120225"/>
                </a:cubicBezTo>
                <a:lnTo>
                  <a:pt x="7937238" y="1121204"/>
                </a:lnTo>
                <a:lnTo>
                  <a:pt x="7934398" y="1118240"/>
                </a:lnTo>
                <a:lnTo>
                  <a:pt x="7918248" y="1124371"/>
                </a:lnTo>
                <a:lnTo>
                  <a:pt x="7914119" y="1127653"/>
                </a:lnTo>
                <a:cubicBezTo>
                  <a:pt x="7911201" y="1129547"/>
                  <a:pt x="7909169" y="1130331"/>
                  <a:pt x="7907658" y="1130350"/>
                </a:cubicBezTo>
                <a:lnTo>
                  <a:pt x="7907434" y="1130103"/>
                </a:lnTo>
                <a:lnTo>
                  <a:pt x="7901508" y="1133245"/>
                </a:lnTo>
                <a:cubicBezTo>
                  <a:pt x="7891644" y="1139271"/>
                  <a:pt x="7882185" y="1145815"/>
                  <a:pt x="7873287" y="1152609"/>
                </a:cubicBezTo>
                <a:cubicBezTo>
                  <a:pt x="7864672" y="1141906"/>
                  <a:pt x="7845199" y="1159242"/>
                  <a:pt x="7834833" y="1153868"/>
                </a:cubicBezTo>
                <a:lnTo>
                  <a:pt x="7828661" y="1139994"/>
                </a:lnTo>
                <a:lnTo>
                  <a:pt x="7823966" y="1143178"/>
                </a:lnTo>
                <a:lnTo>
                  <a:pt x="7815078" y="1151776"/>
                </a:lnTo>
                <a:cubicBezTo>
                  <a:pt x="7813692" y="1152943"/>
                  <a:pt x="7812687" y="1153116"/>
                  <a:pt x="7812026" y="1151522"/>
                </a:cubicBezTo>
                <a:cubicBezTo>
                  <a:pt x="7806555" y="1153054"/>
                  <a:pt x="7788673" y="1159989"/>
                  <a:pt x="7782249" y="1160970"/>
                </a:cubicBezTo>
                <a:lnTo>
                  <a:pt x="7773476" y="1157414"/>
                </a:lnTo>
                <a:lnTo>
                  <a:pt x="7769600" y="1157365"/>
                </a:lnTo>
                <a:lnTo>
                  <a:pt x="7752631" y="1172815"/>
                </a:lnTo>
                <a:lnTo>
                  <a:pt x="7739392" y="1192062"/>
                </a:lnTo>
                <a:lnTo>
                  <a:pt x="7677677" y="1216394"/>
                </a:lnTo>
                <a:lnTo>
                  <a:pt x="7586920" y="1261888"/>
                </a:lnTo>
                <a:cubicBezTo>
                  <a:pt x="7556723" y="1298911"/>
                  <a:pt x="7489187" y="1284518"/>
                  <a:pt x="7486100" y="1292563"/>
                </a:cubicBezTo>
                <a:cubicBezTo>
                  <a:pt x="7454875" y="1308356"/>
                  <a:pt x="7453335" y="1326361"/>
                  <a:pt x="7411323" y="1340732"/>
                </a:cubicBezTo>
                <a:cubicBezTo>
                  <a:pt x="7372519" y="1390006"/>
                  <a:pt x="7288617" y="1403664"/>
                  <a:pt x="7240698" y="1438832"/>
                </a:cubicBezTo>
                <a:cubicBezTo>
                  <a:pt x="7206467" y="1417136"/>
                  <a:pt x="7227555" y="1441678"/>
                  <a:pt x="7197675" y="1447530"/>
                </a:cubicBezTo>
                <a:cubicBezTo>
                  <a:pt x="7211601" y="1474927"/>
                  <a:pt x="7159483" y="1444981"/>
                  <a:pt x="7164788" y="1480293"/>
                </a:cubicBezTo>
                <a:cubicBezTo>
                  <a:pt x="7159184" y="1480240"/>
                  <a:pt x="7153584" y="1479075"/>
                  <a:pt x="7147929" y="1477641"/>
                </a:cubicBezTo>
                <a:lnTo>
                  <a:pt x="7144965" y="1476908"/>
                </a:lnTo>
                <a:lnTo>
                  <a:pt x="7134299" y="1479969"/>
                </a:lnTo>
                <a:lnTo>
                  <a:pt x="7129809" y="1473339"/>
                </a:lnTo>
                <a:lnTo>
                  <a:pt x="7112688" y="1472575"/>
                </a:lnTo>
                <a:cubicBezTo>
                  <a:pt x="7106506" y="1473449"/>
                  <a:pt x="7100123" y="1475741"/>
                  <a:pt x="7093470" y="1480300"/>
                </a:cubicBezTo>
                <a:cubicBezTo>
                  <a:pt x="7079039" y="1501274"/>
                  <a:pt x="7048991" y="1495718"/>
                  <a:pt x="7025034" y="1506934"/>
                </a:cubicBezTo>
                <a:lnTo>
                  <a:pt x="7014783" y="1515868"/>
                </a:lnTo>
                <a:lnTo>
                  <a:pt x="6979706" y="1523511"/>
                </a:lnTo>
                <a:lnTo>
                  <a:pt x="6977890" y="1525793"/>
                </a:lnTo>
                <a:cubicBezTo>
                  <a:pt x="6971996" y="1527914"/>
                  <a:pt x="6959488" y="1529941"/>
                  <a:pt x="6944339" y="1536237"/>
                </a:cubicBezTo>
                <a:lnTo>
                  <a:pt x="6886996" y="1563569"/>
                </a:lnTo>
                <a:lnTo>
                  <a:pt x="6874510" y="1558469"/>
                </a:lnTo>
                <a:lnTo>
                  <a:pt x="6871943" y="1554651"/>
                </a:lnTo>
                <a:lnTo>
                  <a:pt x="6856174" y="1562024"/>
                </a:lnTo>
                <a:lnTo>
                  <a:pt x="6842321" y="1560554"/>
                </a:lnTo>
                <a:lnTo>
                  <a:pt x="6832713" y="1569357"/>
                </a:lnTo>
                <a:lnTo>
                  <a:pt x="6816351" y="1571495"/>
                </a:lnTo>
                <a:cubicBezTo>
                  <a:pt x="6810216" y="1571510"/>
                  <a:pt x="6803310" y="1571324"/>
                  <a:pt x="6795800" y="1572010"/>
                </a:cubicBezTo>
                <a:lnTo>
                  <a:pt x="6777546" y="1568661"/>
                </a:lnTo>
                <a:lnTo>
                  <a:pt x="6751528" y="1574143"/>
                </a:lnTo>
                <a:cubicBezTo>
                  <a:pt x="6731455" y="1578562"/>
                  <a:pt x="6712054" y="1582098"/>
                  <a:pt x="6691966" y="1582255"/>
                </a:cubicBezTo>
                <a:cubicBezTo>
                  <a:pt x="6677921" y="1590738"/>
                  <a:pt x="6663787" y="1595441"/>
                  <a:pt x="6646941" y="1588471"/>
                </a:cubicBezTo>
                <a:cubicBezTo>
                  <a:pt x="6605135" y="1597971"/>
                  <a:pt x="6598373" y="1612583"/>
                  <a:pt x="6568576" y="1606488"/>
                </a:cubicBezTo>
                <a:cubicBezTo>
                  <a:pt x="6562510" y="1614734"/>
                  <a:pt x="6558067" y="1619360"/>
                  <a:pt x="6554358" y="1621701"/>
                </a:cubicBezTo>
                <a:cubicBezTo>
                  <a:pt x="6543227" y="1628727"/>
                  <a:pt x="6538724" y="1615196"/>
                  <a:pt x="6516968" y="1617195"/>
                </a:cubicBezTo>
                <a:cubicBezTo>
                  <a:pt x="6493173" y="1617368"/>
                  <a:pt x="6528193" y="1598652"/>
                  <a:pt x="6506479" y="1602227"/>
                </a:cubicBezTo>
                <a:cubicBezTo>
                  <a:pt x="6486674" y="1613929"/>
                  <a:pt x="6478484" y="1593997"/>
                  <a:pt x="6458436" y="1607332"/>
                </a:cubicBezTo>
                <a:cubicBezTo>
                  <a:pt x="6471168" y="1620800"/>
                  <a:pt x="6410323" y="1615478"/>
                  <a:pt x="6414786" y="1628815"/>
                </a:cubicBezTo>
                <a:cubicBezTo>
                  <a:pt x="6385942" y="1615041"/>
                  <a:pt x="6386569" y="1640238"/>
                  <a:pt x="6357085" y="1640846"/>
                </a:cubicBezTo>
                <a:cubicBezTo>
                  <a:pt x="6341163" y="1636809"/>
                  <a:pt x="6331497" y="1637754"/>
                  <a:pt x="6322636" y="1648213"/>
                </a:cubicBezTo>
                <a:cubicBezTo>
                  <a:pt x="6248448" y="1627802"/>
                  <a:pt x="6286748" y="1654976"/>
                  <a:pt x="6226172" y="1654676"/>
                </a:cubicBezTo>
                <a:lnTo>
                  <a:pt x="6221217" y="1654506"/>
                </a:lnTo>
                <a:lnTo>
                  <a:pt x="6204956" y="1664280"/>
                </a:lnTo>
                <a:cubicBezTo>
                  <a:pt x="6204728" y="1665114"/>
                  <a:pt x="6204498" y="1665947"/>
                  <a:pt x="6204270" y="1666782"/>
                </a:cubicBezTo>
                <a:lnTo>
                  <a:pt x="6143810" y="1661963"/>
                </a:lnTo>
                <a:lnTo>
                  <a:pt x="6136560" y="1665728"/>
                </a:lnTo>
                <a:lnTo>
                  <a:pt x="6096155" y="1656951"/>
                </a:lnTo>
                <a:lnTo>
                  <a:pt x="6075812" y="1655422"/>
                </a:lnTo>
                <a:lnTo>
                  <a:pt x="6039495" y="1649680"/>
                </a:lnTo>
                <a:lnTo>
                  <a:pt x="6036523" y="1652121"/>
                </a:lnTo>
                <a:lnTo>
                  <a:pt x="6029328" y="1649904"/>
                </a:lnTo>
                <a:lnTo>
                  <a:pt x="6024075" y="1652779"/>
                </a:lnTo>
                <a:lnTo>
                  <a:pt x="6018085" y="1652030"/>
                </a:lnTo>
                <a:cubicBezTo>
                  <a:pt x="6006658" y="1653831"/>
                  <a:pt x="5968194" y="1662035"/>
                  <a:pt x="5955513" y="1663584"/>
                </a:cubicBezTo>
                <a:lnTo>
                  <a:pt x="5941996" y="1661326"/>
                </a:lnTo>
                <a:lnTo>
                  <a:pt x="5931789" y="1669915"/>
                </a:lnTo>
                <a:lnTo>
                  <a:pt x="5888686" y="1672175"/>
                </a:lnTo>
                <a:lnTo>
                  <a:pt x="5873794" y="1665454"/>
                </a:lnTo>
                <a:lnTo>
                  <a:pt x="5860022" y="1660635"/>
                </a:lnTo>
                <a:lnTo>
                  <a:pt x="5858237" y="1660649"/>
                </a:lnTo>
                <a:lnTo>
                  <a:pt x="5840319" y="1660798"/>
                </a:lnTo>
                <a:lnTo>
                  <a:pt x="5806984" y="1661075"/>
                </a:lnTo>
                <a:cubicBezTo>
                  <a:pt x="5785708" y="1661533"/>
                  <a:pt x="5764126" y="1662974"/>
                  <a:pt x="5742351" y="1667489"/>
                </a:cubicBezTo>
                <a:cubicBezTo>
                  <a:pt x="5659069" y="1645168"/>
                  <a:pt x="5615134" y="1706361"/>
                  <a:pt x="5521171" y="1671626"/>
                </a:cubicBezTo>
                <a:cubicBezTo>
                  <a:pt x="5491803" y="1671296"/>
                  <a:pt x="5498089" y="1662666"/>
                  <a:pt x="5457384" y="1683952"/>
                </a:cubicBezTo>
                <a:cubicBezTo>
                  <a:pt x="5356959" y="1699287"/>
                  <a:pt x="5078905" y="1774579"/>
                  <a:pt x="4950070" y="1748401"/>
                </a:cubicBezTo>
                <a:cubicBezTo>
                  <a:pt x="4918276" y="1752255"/>
                  <a:pt x="4891043" y="1756936"/>
                  <a:pt x="4872172" y="1757222"/>
                </a:cubicBezTo>
                <a:lnTo>
                  <a:pt x="4809524" y="1761033"/>
                </a:lnTo>
                <a:cubicBezTo>
                  <a:pt x="4791324" y="1772975"/>
                  <a:pt x="4777258" y="1754591"/>
                  <a:pt x="4759058" y="1766533"/>
                </a:cubicBezTo>
                <a:cubicBezTo>
                  <a:pt x="4747481" y="1770744"/>
                  <a:pt x="4734604" y="1772921"/>
                  <a:pt x="4719749" y="1771811"/>
                </a:cubicBezTo>
                <a:cubicBezTo>
                  <a:pt x="4671168" y="1780243"/>
                  <a:pt x="4634134" y="1775931"/>
                  <a:pt x="4568686" y="1786141"/>
                </a:cubicBezTo>
                <a:cubicBezTo>
                  <a:pt x="4544667" y="1777910"/>
                  <a:pt x="4432547" y="1778168"/>
                  <a:pt x="4418751" y="1796932"/>
                </a:cubicBezTo>
                <a:cubicBezTo>
                  <a:pt x="4403360" y="1801488"/>
                  <a:pt x="4385278" y="1795746"/>
                  <a:pt x="4378377" y="1815528"/>
                </a:cubicBezTo>
                <a:cubicBezTo>
                  <a:pt x="4366870" y="1839461"/>
                  <a:pt x="4337372" y="1814003"/>
                  <a:pt x="4320575" y="1832722"/>
                </a:cubicBezTo>
                <a:cubicBezTo>
                  <a:pt x="4277898" y="1857053"/>
                  <a:pt x="4243945" y="1846759"/>
                  <a:pt x="4211935" y="1860177"/>
                </a:cubicBezTo>
                <a:cubicBezTo>
                  <a:pt x="4181519" y="1859584"/>
                  <a:pt x="4171342" y="1859762"/>
                  <a:pt x="4101228" y="1868717"/>
                </a:cubicBezTo>
                <a:cubicBezTo>
                  <a:pt x="4080159" y="1876188"/>
                  <a:pt x="4039427" y="1877381"/>
                  <a:pt x="3973223" y="1881015"/>
                </a:cubicBezTo>
                <a:cubicBezTo>
                  <a:pt x="3971330" y="1884974"/>
                  <a:pt x="3952843" y="1879225"/>
                  <a:pt x="3900992" y="1880603"/>
                </a:cubicBezTo>
                <a:cubicBezTo>
                  <a:pt x="3849141" y="1881981"/>
                  <a:pt x="3740060" y="1895686"/>
                  <a:pt x="3662119" y="1889285"/>
                </a:cubicBezTo>
                <a:cubicBezTo>
                  <a:pt x="3565155" y="1881322"/>
                  <a:pt x="3613412" y="1915150"/>
                  <a:pt x="3496919" y="1873180"/>
                </a:cubicBezTo>
                <a:cubicBezTo>
                  <a:pt x="3488062" y="1895719"/>
                  <a:pt x="3474293" y="1876288"/>
                  <a:pt x="3449433" y="1889681"/>
                </a:cubicBezTo>
                <a:cubicBezTo>
                  <a:pt x="3406553" y="1891629"/>
                  <a:pt x="3413217" y="1897797"/>
                  <a:pt x="3369766" y="1916653"/>
                </a:cubicBezTo>
                <a:cubicBezTo>
                  <a:pt x="3338805" y="1929531"/>
                  <a:pt x="3289487" y="1928617"/>
                  <a:pt x="3269672" y="1938036"/>
                </a:cubicBezTo>
                <a:lnTo>
                  <a:pt x="3224897" y="1943733"/>
                </a:lnTo>
                <a:cubicBezTo>
                  <a:pt x="3188693" y="1949271"/>
                  <a:pt x="3178540" y="1909145"/>
                  <a:pt x="3161463" y="1946591"/>
                </a:cubicBezTo>
                <a:lnTo>
                  <a:pt x="3112044" y="1935614"/>
                </a:lnTo>
                <a:lnTo>
                  <a:pt x="3069716" y="1930463"/>
                </a:lnTo>
                <a:cubicBezTo>
                  <a:pt x="3049937" y="1924285"/>
                  <a:pt x="3047816" y="1925644"/>
                  <a:pt x="3005773" y="1915878"/>
                </a:cubicBezTo>
                <a:cubicBezTo>
                  <a:pt x="2978838" y="1921092"/>
                  <a:pt x="2967972" y="1927319"/>
                  <a:pt x="2897201" y="1926772"/>
                </a:cubicBezTo>
                <a:lnTo>
                  <a:pt x="2783891" y="1931749"/>
                </a:lnTo>
                <a:cubicBezTo>
                  <a:pt x="2753098" y="1932794"/>
                  <a:pt x="2731621" y="1915151"/>
                  <a:pt x="2712447" y="1933044"/>
                </a:cubicBezTo>
                <a:cubicBezTo>
                  <a:pt x="2621923" y="1990472"/>
                  <a:pt x="2637976" y="1949546"/>
                  <a:pt x="2560151" y="1963609"/>
                </a:cubicBezTo>
                <a:cubicBezTo>
                  <a:pt x="2472084" y="1973456"/>
                  <a:pt x="2423631" y="1962133"/>
                  <a:pt x="2367221" y="1971884"/>
                </a:cubicBezTo>
                <a:cubicBezTo>
                  <a:pt x="2355331" y="1950582"/>
                  <a:pt x="2295649" y="1950006"/>
                  <a:pt x="2272130" y="1961162"/>
                </a:cubicBezTo>
                <a:cubicBezTo>
                  <a:pt x="2229336" y="1964326"/>
                  <a:pt x="2232627" y="1943953"/>
                  <a:pt x="2189404" y="1978172"/>
                </a:cubicBezTo>
                <a:cubicBezTo>
                  <a:pt x="2153824" y="1968017"/>
                  <a:pt x="2114605" y="1969166"/>
                  <a:pt x="2077704" y="1965002"/>
                </a:cubicBezTo>
                <a:cubicBezTo>
                  <a:pt x="2053064" y="1962036"/>
                  <a:pt x="2051584" y="1971011"/>
                  <a:pt x="2033299" y="1969042"/>
                </a:cubicBezTo>
                <a:cubicBezTo>
                  <a:pt x="2015014" y="1967073"/>
                  <a:pt x="1998956" y="1958903"/>
                  <a:pt x="1967996" y="1953187"/>
                </a:cubicBezTo>
                <a:cubicBezTo>
                  <a:pt x="1924117" y="1970917"/>
                  <a:pt x="1915668" y="1940297"/>
                  <a:pt x="1855805" y="1926082"/>
                </a:cubicBezTo>
                <a:cubicBezTo>
                  <a:pt x="1830663" y="1943732"/>
                  <a:pt x="1810564" y="1935694"/>
                  <a:pt x="1790957" y="1919460"/>
                </a:cubicBezTo>
                <a:cubicBezTo>
                  <a:pt x="1732588" y="1924884"/>
                  <a:pt x="1679506" y="1900619"/>
                  <a:pt x="1613978" y="1891581"/>
                </a:cubicBezTo>
                <a:cubicBezTo>
                  <a:pt x="1542961" y="1912227"/>
                  <a:pt x="1506863" y="1865666"/>
                  <a:pt x="1436831" y="1856201"/>
                </a:cubicBezTo>
                <a:cubicBezTo>
                  <a:pt x="1409149" y="1862955"/>
                  <a:pt x="1416370" y="1829853"/>
                  <a:pt x="1357365" y="1832140"/>
                </a:cubicBezTo>
                <a:cubicBezTo>
                  <a:pt x="1285880" y="1811785"/>
                  <a:pt x="1273193" y="1786872"/>
                  <a:pt x="1232341" y="1785942"/>
                </a:cubicBezTo>
                <a:cubicBezTo>
                  <a:pt x="1223903" y="1792798"/>
                  <a:pt x="1160576" y="1793911"/>
                  <a:pt x="1162595" y="1784330"/>
                </a:cubicBezTo>
                <a:cubicBezTo>
                  <a:pt x="1153167" y="1787110"/>
                  <a:pt x="1122206" y="1805077"/>
                  <a:pt x="1120257" y="1789615"/>
                </a:cubicBezTo>
                <a:cubicBezTo>
                  <a:pt x="1073149" y="1786750"/>
                  <a:pt x="1034361" y="1768718"/>
                  <a:pt x="991903" y="1786741"/>
                </a:cubicBezTo>
                <a:cubicBezTo>
                  <a:pt x="966383" y="1781126"/>
                  <a:pt x="949501" y="1800915"/>
                  <a:pt x="883960" y="1809389"/>
                </a:cubicBezTo>
                <a:cubicBezTo>
                  <a:pt x="836064" y="1808194"/>
                  <a:pt x="826980" y="1826610"/>
                  <a:pt x="766531" y="1805053"/>
                </a:cubicBezTo>
                <a:cubicBezTo>
                  <a:pt x="732778" y="1801141"/>
                  <a:pt x="694055" y="1787044"/>
                  <a:pt x="669779" y="1800537"/>
                </a:cubicBezTo>
                <a:cubicBezTo>
                  <a:pt x="645252" y="1794709"/>
                  <a:pt x="563495" y="1813232"/>
                  <a:pt x="523898" y="1811085"/>
                </a:cubicBezTo>
                <a:cubicBezTo>
                  <a:pt x="457555" y="1798530"/>
                  <a:pt x="395227" y="1824052"/>
                  <a:pt x="360251" y="1830735"/>
                </a:cubicBezTo>
                <a:cubicBezTo>
                  <a:pt x="313564" y="1825583"/>
                  <a:pt x="298281" y="1811622"/>
                  <a:pt x="255207" y="1818275"/>
                </a:cubicBezTo>
                <a:cubicBezTo>
                  <a:pt x="206572" y="1839769"/>
                  <a:pt x="160277" y="1836800"/>
                  <a:pt x="101803" y="1870647"/>
                </a:cubicBezTo>
                <a:cubicBezTo>
                  <a:pt x="85849" y="1910002"/>
                  <a:pt x="27997" y="1845258"/>
                  <a:pt x="25397" y="1888443"/>
                </a:cubicBezTo>
                <a:cubicBezTo>
                  <a:pt x="19096" y="1881154"/>
                  <a:pt x="11260" y="1878398"/>
                  <a:pt x="2370" y="1878311"/>
                </a:cubicBezTo>
                <a:lnTo>
                  <a:pt x="0" y="1878785"/>
                </a:lnTo>
                <a:lnTo>
                  <a:pt x="0" y="0"/>
                </a:lnTo>
                <a:close/>
              </a:path>
            </a:pathLst>
          </a:custGeom>
          <a:solidFill>
            <a:srgbClr val="82766A">
              <a:alpha val="15000"/>
            </a:srgb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ECF23338-00D4-35D9-87C7-BAC44CAEC5EA}"/>
              </a:ext>
            </a:extLst>
          </p:cNvPr>
          <p:cNvSpPr>
            <a:spLocks noGrp="1"/>
          </p:cNvSpPr>
          <p:nvPr>
            <p:ph type="title"/>
          </p:nvPr>
        </p:nvSpPr>
        <p:spPr>
          <a:xfrm>
            <a:off x="1137034" y="609597"/>
            <a:ext cx="9392421" cy="1330841"/>
          </a:xfrm>
        </p:spPr>
        <p:txBody>
          <a:bodyPr>
            <a:normAutofit/>
          </a:bodyPr>
          <a:lstStyle/>
          <a:p>
            <a:r>
              <a:rPr lang="en-US" dirty="0"/>
              <a:t>EXAMPLES</a:t>
            </a:r>
          </a:p>
        </p:txBody>
      </p:sp>
      <p:sp>
        <p:nvSpPr>
          <p:cNvPr id="3" name="Content Placeholder 2">
            <a:extLst>
              <a:ext uri="{FF2B5EF4-FFF2-40B4-BE49-F238E27FC236}">
                <a16:creationId xmlns:a16="http://schemas.microsoft.com/office/drawing/2014/main" id="{639D7B8B-4900-9AB0-C461-90DBB3FBDA67}"/>
              </a:ext>
            </a:extLst>
          </p:cNvPr>
          <p:cNvSpPr>
            <a:spLocks noGrp="1"/>
          </p:cNvSpPr>
          <p:nvPr>
            <p:ph idx="1"/>
          </p:nvPr>
        </p:nvSpPr>
        <p:spPr>
          <a:xfrm>
            <a:off x="425824" y="1940438"/>
            <a:ext cx="5670176" cy="4588950"/>
          </a:xfrm>
        </p:spPr>
        <p:txBody>
          <a:bodyPr>
            <a:normAutofit/>
          </a:bodyPr>
          <a:lstStyle/>
          <a:p>
            <a:pPr marL="0" indent="0">
              <a:buNone/>
            </a:pPr>
            <a:r>
              <a:rPr lang="en-IN" sz="2000" dirty="0">
                <a:effectLst/>
                <a:latin typeface="Times New Roman" panose="02020603050405020304" pitchFamily="18" charset="0"/>
                <a:cs typeface="Times New Roman" panose="02020603050405020304" pitchFamily="18" charset="0"/>
              </a:rPr>
              <a:t>Weather Forecast </a:t>
            </a:r>
            <a:endParaRPr lang="en-IN" sz="2000" dirty="0">
              <a:latin typeface="Times New Roman" panose="02020603050405020304" pitchFamily="18" charset="0"/>
              <a:cs typeface="Times New Roman" panose="02020603050405020304" pitchFamily="18" charset="0"/>
            </a:endParaRPr>
          </a:p>
          <a:p>
            <a:pPr marL="0" indent="0">
              <a:buNone/>
            </a:pPr>
            <a:r>
              <a:rPr lang="en-IN" sz="2000" dirty="0">
                <a:effectLst/>
                <a:latin typeface="Times New Roman" panose="02020603050405020304" pitchFamily="18" charset="0"/>
                <a:cs typeface="Times New Roman" panose="02020603050405020304" pitchFamily="18" charset="0"/>
              </a:rPr>
              <a:t> Let’s say you want to figure out the probability that it will rain, given that the sky is cloudy. You know the following: </a:t>
            </a:r>
          </a:p>
          <a:p>
            <a:pPr marL="742950" lvl="1" indent="-285750">
              <a:buFont typeface="Arial" panose="020B0604020202020204" pitchFamily="34" charset="0"/>
              <a:buChar char="•"/>
            </a:pPr>
            <a:r>
              <a:rPr lang="en-IN" sz="2000" dirty="0">
                <a:effectLst/>
                <a:latin typeface="Times New Roman" panose="02020603050405020304" pitchFamily="18" charset="0"/>
                <a:cs typeface="Times New Roman" panose="02020603050405020304" pitchFamily="18" charset="0"/>
              </a:rPr>
              <a:t>  P(Rain) = 0.3 (There’s a 30% chance of rain today). </a:t>
            </a:r>
          </a:p>
          <a:p>
            <a:pPr marL="742950" lvl="1" indent="-285750">
              <a:buFont typeface="Arial" panose="020B0604020202020204" pitchFamily="34" charset="0"/>
              <a:buChar char="•"/>
            </a:pPr>
            <a:r>
              <a:rPr lang="en-IN" sz="2000" dirty="0">
                <a:effectLst/>
                <a:latin typeface="Times New Roman" panose="02020603050405020304" pitchFamily="18" charset="0"/>
                <a:cs typeface="Times New Roman" panose="02020603050405020304" pitchFamily="18" charset="0"/>
              </a:rPr>
              <a:t>  P(Cloudy | Rain) = 0.8 (When it rains, it’s cloudy 80% of the time). </a:t>
            </a:r>
          </a:p>
          <a:p>
            <a:pPr marL="742950" lvl="1" indent="-285750">
              <a:buFont typeface="Arial" panose="020B0604020202020204" pitchFamily="34" charset="0"/>
              <a:buChar char="•"/>
            </a:pPr>
            <a:r>
              <a:rPr lang="en-IN" sz="2000" dirty="0">
                <a:effectLst/>
                <a:latin typeface="Times New Roman" panose="02020603050405020304" pitchFamily="18" charset="0"/>
                <a:cs typeface="Times New Roman" panose="02020603050405020304" pitchFamily="18" charset="0"/>
              </a:rPr>
              <a:t>  P(Cloudy | No Rain) = 0.2 (When it doesn’t rain, it’s cloudy only 20% of the time). </a:t>
            </a:r>
          </a:p>
          <a:p>
            <a:pPr marL="742950" lvl="1" indent="-285750">
              <a:buFont typeface="Arial" panose="020B0604020202020204" pitchFamily="34" charset="0"/>
              <a:buChar char="•"/>
            </a:pPr>
            <a:r>
              <a:rPr lang="en-IN" sz="2000" dirty="0">
                <a:effectLst/>
                <a:latin typeface="Times New Roman" panose="02020603050405020304" pitchFamily="18" charset="0"/>
                <a:cs typeface="Times New Roman" panose="02020603050405020304" pitchFamily="18" charset="0"/>
              </a:rPr>
              <a:t>  P(No Rain) = 0.7 (70% chance of no rain). </a:t>
            </a:r>
          </a:p>
          <a:p>
            <a:endParaRPr lang="en-US" sz="2000" dirty="0">
              <a:latin typeface="Times New Roman" panose="02020603050405020304" pitchFamily="18" charset="0"/>
              <a:cs typeface="Times New Roman" panose="02020603050405020304" pitchFamily="18" charset="0"/>
            </a:endParaRPr>
          </a:p>
        </p:txBody>
      </p:sp>
      <p:pic>
        <p:nvPicPr>
          <p:cNvPr id="4" name="Picture 3" descr="page46image35392976">
            <a:extLst>
              <a:ext uri="{FF2B5EF4-FFF2-40B4-BE49-F238E27FC236}">
                <a16:creationId xmlns:a16="http://schemas.microsoft.com/office/drawing/2014/main" id="{D56A3569-6750-E2DB-A8B7-8CF982E65C45}"/>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6096000" y="457200"/>
            <a:ext cx="6305549" cy="6700838"/>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Shape 12">
            <a:extLst>
              <a:ext uri="{FF2B5EF4-FFF2-40B4-BE49-F238E27FC236}">
                <a16:creationId xmlns:a16="http://schemas.microsoft.com/office/drawing/2014/main" id="{9A0D773F-7A7D-4DBB-9DEA-86BB8B8F4BC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a:off x="5381624" y="6209414"/>
            <a:ext cx="6810375" cy="648586"/>
          </a:xfrm>
          <a:custGeom>
            <a:avLst/>
            <a:gdLst>
              <a:gd name="connsiteX0" fmla="*/ 0 w 10753706"/>
              <a:gd name="connsiteY0" fmla="*/ 0 h 1027260"/>
              <a:gd name="connsiteX1" fmla="*/ 10753706 w 10753706"/>
              <a:gd name="connsiteY1" fmla="*/ 0 h 1027260"/>
              <a:gd name="connsiteX2" fmla="*/ 10748809 w 10753706"/>
              <a:gd name="connsiteY2" fmla="*/ 2522 h 1027260"/>
              <a:gd name="connsiteX3" fmla="*/ 10725330 w 10753706"/>
              <a:gd name="connsiteY3" fmla="*/ 11977 h 1027260"/>
              <a:gd name="connsiteX4" fmla="*/ 10615423 w 10753706"/>
              <a:gd name="connsiteY4" fmla="*/ 52967 h 1027260"/>
              <a:gd name="connsiteX5" fmla="*/ 10533936 w 10753706"/>
              <a:gd name="connsiteY5" fmla="*/ 53095 h 1027260"/>
              <a:gd name="connsiteX6" fmla="*/ 10466876 w 10753706"/>
              <a:gd name="connsiteY6" fmla="*/ 45180 h 1027260"/>
              <a:gd name="connsiteX7" fmla="*/ 10355090 w 10753706"/>
              <a:gd name="connsiteY7" fmla="*/ 89741 h 1027260"/>
              <a:gd name="connsiteX8" fmla="*/ 10087145 w 10753706"/>
              <a:gd name="connsiteY8" fmla="*/ 66115 h 1027260"/>
              <a:gd name="connsiteX9" fmla="*/ 10015902 w 10753706"/>
              <a:gd name="connsiteY9" fmla="*/ 76178 h 1027260"/>
              <a:gd name="connsiteX10" fmla="*/ 9806005 w 10753706"/>
              <a:gd name="connsiteY10" fmla="*/ 102435 h 1027260"/>
              <a:gd name="connsiteX11" fmla="*/ 9602583 w 10753706"/>
              <a:gd name="connsiteY11" fmla="*/ 179170 h 1027260"/>
              <a:gd name="connsiteX12" fmla="*/ 9469719 w 10753706"/>
              <a:gd name="connsiteY12" fmla="*/ 174721 h 1027260"/>
              <a:gd name="connsiteX13" fmla="*/ 9408692 w 10753706"/>
              <a:gd name="connsiteY13" fmla="*/ 189513 h 1027260"/>
              <a:gd name="connsiteX14" fmla="*/ 9364151 w 10753706"/>
              <a:gd name="connsiteY14" fmla="*/ 194072 h 1027260"/>
              <a:gd name="connsiteX15" fmla="*/ 9337751 w 10753706"/>
              <a:gd name="connsiteY15" fmla="*/ 197579 h 1027260"/>
              <a:gd name="connsiteX16" fmla="*/ 9297166 w 10753706"/>
              <a:gd name="connsiteY16" fmla="*/ 216558 h 1027260"/>
              <a:gd name="connsiteX17" fmla="*/ 9123859 w 10753706"/>
              <a:gd name="connsiteY17" fmla="*/ 237356 h 1027260"/>
              <a:gd name="connsiteX18" fmla="*/ 8950741 w 10753706"/>
              <a:gd name="connsiteY18" fmla="*/ 238020 h 1027260"/>
              <a:gd name="connsiteX19" fmla="*/ 8718236 w 10753706"/>
              <a:gd name="connsiteY19" fmla="*/ 303148 h 1027260"/>
              <a:gd name="connsiteX20" fmla="*/ 8694011 w 10753706"/>
              <a:gd name="connsiteY20" fmla="*/ 308812 h 1027260"/>
              <a:gd name="connsiteX21" fmla="*/ 8611976 w 10753706"/>
              <a:gd name="connsiteY21" fmla="*/ 324819 h 1027260"/>
              <a:gd name="connsiteX22" fmla="*/ 8562074 w 10753706"/>
              <a:gd name="connsiteY22" fmla="*/ 337971 h 1027260"/>
              <a:gd name="connsiteX23" fmla="*/ 8501724 w 10753706"/>
              <a:gd name="connsiteY23" fmla="*/ 360865 h 1027260"/>
              <a:gd name="connsiteX24" fmla="*/ 8504489 w 10753706"/>
              <a:gd name="connsiteY24" fmla="*/ 364790 h 1027260"/>
              <a:gd name="connsiteX25" fmla="*/ 8492774 w 10753706"/>
              <a:gd name="connsiteY25" fmla="*/ 366181 h 1027260"/>
              <a:gd name="connsiteX26" fmla="*/ 8466405 w 10753706"/>
              <a:gd name="connsiteY26" fmla="*/ 368724 h 1027260"/>
              <a:gd name="connsiteX27" fmla="*/ 8427069 w 10753706"/>
              <a:gd name="connsiteY27" fmla="*/ 387211 h 1027260"/>
              <a:gd name="connsiteX28" fmla="*/ 8387766 w 10753706"/>
              <a:gd name="connsiteY28" fmla="*/ 377161 h 1027260"/>
              <a:gd name="connsiteX29" fmla="*/ 8315874 w 10753706"/>
              <a:gd name="connsiteY29" fmla="*/ 395527 h 1027260"/>
              <a:gd name="connsiteX30" fmla="*/ 8274474 w 10753706"/>
              <a:gd name="connsiteY30" fmla="*/ 405112 h 1027260"/>
              <a:gd name="connsiteX31" fmla="*/ 8234664 w 10753706"/>
              <a:gd name="connsiteY31" fmla="*/ 410219 h 1027260"/>
              <a:gd name="connsiteX32" fmla="*/ 8211268 w 10753706"/>
              <a:gd name="connsiteY32" fmla="*/ 416791 h 1027260"/>
              <a:gd name="connsiteX33" fmla="*/ 8188615 w 10753706"/>
              <a:gd name="connsiteY33" fmla="*/ 421755 h 1027260"/>
              <a:gd name="connsiteX34" fmla="*/ 8179981 w 10753706"/>
              <a:gd name="connsiteY34" fmla="*/ 420402 h 1027260"/>
              <a:gd name="connsiteX35" fmla="*/ 8179307 w 10753706"/>
              <a:gd name="connsiteY35" fmla="*/ 422516 h 1027260"/>
              <a:gd name="connsiteX36" fmla="*/ 8147929 w 10753706"/>
              <a:gd name="connsiteY36" fmla="*/ 450302 h 1027260"/>
              <a:gd name="connsiteX37" fmla="*/ 8089136 w 10753706"/>
              <a:gd name="connsiteY37" fmla="*/ 465283 h 1027260"/>
              <a:gd name="connsiteX38" fmla="*/ 8049973 w 10753706"/>
              <a:gd name="connsiteY38" fmla="*/ 454121 h 1027260"/>
              <a:gd name="connsiteX39" fmla="*/ 7965913 w 10753706"/>
              <a:gd name="connsiteY39" fmla="*/ 464415 h 1027260"/>
              <a:gd name="connsiteX40" fmla="*/ 7945093 w 10753706"/>
              <a:gd name="connsiteY40" fmla="*/ 464798 h 1027260"/>
              <a:gd name="connsiteX41" fmla="*/ 7935335 w 10753706"/>
              <a:gd name="connsiteY41" fmla="*/ 462442 h 1027260"/>
              <a:gd name="connsiteX42" fmla="*/ 7904779 w 10753706"/>
              <a:gd name="connsiteY42" fmla="*/ 471429 h 1027260"/>
              <a:gd name="connsiteX43" fmla="*/ 7855604 w 10753706"/>
              <a:gd name="connsiteY43" fmla="*/ 480199 h 1027260"/>
              <a:gd name="connsiteX44" fmla="*/ 7832630 w 10753706"/>
              <a:gd name="connsiteY44" fmla="*/ 485371 h 1027260"/>
              <a:gd name="connsiteX45" fmla="*/ 7812438 w 10753706"/>
              <a:gd name="connsiteY45" fmla="*/ 485391 h 1027260"/>
              <a:gd name="connsiteX46" fmla="*/ 7701399 w 10753706"/>
              <a:gd name="connsiteY46" fmla="*/ 495197 h 1027260"/>
              <a:gd name="connsiteX47" fmla="*/ 7674778 w 10753706"/>
              <a:gd name="connsiteY47" fmla="*/ 494723 h 1027260"/>
              <a:gd name="connsiteX48" fmla="*/ 7660445 w 10753706"/>
              <a:gd name="connsiteY48" fmla="*/ 490194 h 1027260"/>
              <a:gd name="connsiteX49" fmla="*/ 7651781 w 10753706"/>
              <a:gd name="connsiteY49" fmla="*/ 493084 h 1027260"/>
              <a:gd name="connsiteX50" fmla="*/ 7584807 w 10753706"/>
              <a:gd name="connsiteY50" fmla="*/ 499490 h 1027260"/>
              <a:gd name="connsiteX51" fmla="*/ 7541324 w 10753706"/>
              <a:gd name="connsiteY51" fmla="*/ 504184 h 1027260"/>
              <a:gd name="connsiteX52" fmla="*/ 7541756 w 10753706"/>
              <a:gd name="connsiteY52" fmla="*/ 512184 h 1027260"/>
              <a:gd name="connsiteX53" fmla="*/ 7503906 w 10753706"/>
              <a:gd name="connsiteY53" fmla="*/ 518551 h 1027260"/>
              <a:gd name="connsiteX54" fmla="*/ 7460411 w 10753706"/>
              <a:gd name="connsiteY54" fmla="*/ 517415 h 1027260"/>
              <a:gd name="connsiteX55" fmla="*/ 7460116 w 10753706"/>
              <a:gd name="connsiteY55" fmla="*/ 517548 h 1027260"/>
              <a:gd name="connsiteX56" fmla="*/ 7297810 w 10753706"/>
              <a:gd name="connsiteY56" fmla="*/ 563947 h 1027260"/>
              <a:gd name="connsiteX57" fmla="*/ 6946388 w 10753706"/>
              <a:gd name="connsiteY57" fmla="*/ 665244 h 1027260"/>
              <a:gd name="connsiteX58" fmla="*/ 6741704 w 10753706"/>
              <a:gd name="connsiteY58" fmla="*/ 679365 h 1027260"/>
              <a:gd name="connsiteX59" fmla="*/ 6624680 w 10753706"/>
              <a:gd name="connsiteY59" fmla="*/ 677674 h 1027260"/>
              <a:gd name="connsiteX60" fmla="*/ 6605700 w 10753706"/>
              <a:gd name="connsiteY60" fmla="*/ 683566 h 1027260"/>
              <a:gd name="connsiteX61" fmla="*/ 6576922 w 10753706"/>
              <a:gd name="connsiteY61" fmla="*/ 683030 h 1027260"/>
              <a:gd name="connsiteX62" fmla="*/ 6405123 w 10753706"/>
              <a:gd name="connsiteY62" fmla="*/ 721946 h 1027260"/>
              <a:gd name="connsiteX63" fmla="*/ 6368938 w 10753706"/>
              <a:gd name="connsiteY63" fmla="*/ 717341 h 1027260"/>
              <a:gd name="connsiteX64" fmla="*/ 6295102 w 10753706"/>
              <a:gd name="connsiteY64" fmla="*/ 729508 h 1027260"/>
              <a:gd name="connsiteX65" fmla="*/ 6202084 w 10753706"/>
              <a:gd name="connsiteY65" fmla="*/ 767091 h 1027260"/>
              <a:gd name="connsiteX66" fmla="*/ 6067157 w 10753706"/>
              <a:gd name="connsiteY66" fmla="*/ 790339 h 1027260"/>
              <a:gd name="connsiteX67" fmla="*/ 6061443 w 10753706"/>
              <a:gd name="connsiteY67" fmla="*/ 796151 h 1027260"/>
              <a:gd name="connsiteX68" fmla="*/ 6051406 w 10753706"/>
              <a:gd name="connsiteY68" fmla="*/ 800684 h 1027260"/>
              <a:gd name="connsiteX69" fmla="*/ 6049097 w 10753706"/>
              <a:gd name="connsiteY69" fmla="*/ 800636 h 1027260"/>
              <a:gd name="connsiteX70" fmla="*/ 6034222 w 10753706"/>
              <a:gd name="connsiteY70" fmla="*/ 804110 h 1027260"/>
              <a:gd name="connsiteX71" fmla="*/ 6033121 w 10753706"/>
              <a:gd name="connsiteY71" fmla="*/ 806078 h 1027260"/>
              <a:gd name="connsiteX72" fmla="*/ 6023593 w 10753706"/>
              <a:gd name="connsiteY72" fmla="*/ 808842 h 1027260"/>
              <a:gd name="connsiteX73" fmla="*/ 6006639 w 10753706"/>
              <a:gd name="connsiteY73" fmla="*/ 815304 h 1027260"/>
              <a:gd name="connsiteX74" fmla="*/ 6001762 w 10753706"/>
              <a:gd name="connsiteY74" fmla="*/ 815557 h 1027260"/>
              <a:gd name="connsiteX75" fmla="*/ 5973534 w 10753706"/>
              <a:gd name="connsiteY75" fmla="*/ 823815 h 1027260"/>
              <a:gd name="connsiteX76" fmla="*/ 5972336 w 10753706"/>
              <a:gd name="connsiteY76" fmla="*/ 823476 h 1027260"/>
              <a:gd name="connsiteX77" fmla="*/ 5960841 w 10753706"/>
              <a:gd name="connsiteY77" fmla="*/ 823819 h 1027260"/>
              <a:gd name="connsiteX78" fmla="*/ 5940719 w 10753706"/>
              <a:gd name="connsiteY78" fmla="*/ 825514 h 1027260"/>
              <a:gd name="connsiteX79" fmla="*/ 5884298 w 10753706"/>
              <a:gd name="connsiteY79" fmla="*/ 823806 h 1027260"/>
              <a:gd name="connsiteX80" fmla="*/ 5854779 w 10753706"/>
              <a:gd name="connsiteY80" fmla="*/ 832365 h 1027260"/>
              <a:gd name="connsiteX81" fmla="*/ 5848382 w 10753706"/>
              <a:gd name="connsiteY81" fmla="*/ 833844 h 1027260"/>
              <a:gd name="connsiteX82" fmla="*/ 5848066 w 10753706"/>
              <a:gd name="connsiteY82" fmla="*/ 833772 h 1027260"/>
              <a:gd name="connsiteX83" fmla="*/ 5840944 w 10753706"/>
              <a:gd name="connsiteY83" fmla="*/ 835132 h 1027260"/>
              <a:gd name="connsiteX84" fmla="*/ 5836719 w 10753706"/>
              <a:gd name="connsiteY84" fmla="*/ 836539 h 1027260"/>
              <a:gd name="connsiteX85" fmla="*/ 5824311 w 10753706"/>
              <a:gd name="connsiteY85" fmla="*/ 839408 h 1027260"/>
              <a:gd name="connsiteX86" fmla="*/ 5818788 w 10753706"/>
              <a:gd name="connsiteY86" fmla="*/ 839727 h 1027260"/>
              <a:gd name="connsiteX87" fmla="*/ 5763953 w 10753706"/>
              <a:gd name="connsiteY87" fmla="*/ 834282 h 1027260"/>
              <a:gd name="connsiteX88" fmla="*/ 5667748 w 10753706"/>
              <a:gd name="connsiteY88" fmla="*/ 840211 h 1027260"/>
              <a:gd name="connsiteX89" fmla="*/ 5573108 w 10753706"/>
              <a:gd name="connsiteY89" fmla="*/ 847611 h 1027260"/>
              <a:gd name="connsiteX90" fmla="*/ 5539137 w 10753706"/>
              <a:gd name="connsiteY90" fmla="*/ 851033 h 1027260"/>
              <a:gd name="connsiteX91" fmla="*/ 5510651 w 10753706"/>
              <a:gd name="connsiteY91" fmla="*/ 844215 h 1027260"/>
              <a:gd name="connsiteX92" fmla="*/ 5457331 w 10753706"/>
              <a:gd name="connsiteY92" fmla="*/ 839159 h 1027260"/>
              <a:gd name="connsiteX93" fmla="*/ 5410613 w 10753706"/>
              <a:gd name="connsiteY93" fmla="*/ 834358 h 1027260"/>
              <a:gd name="connsiteX94" fmla="*/ 5370040 w 10753706"/>
              <a:gd name="connsiteY94" fmla="*/ 862127 h 1027260"/>
              <a:gd name="connsiteX95" fmla="*/ 5318778 w 10753706"/>
              <a:gd name="connsiteY95" fmla="*/ 855310 h 1027260"/>
              <a:gd name="connsiteX96" fmla="*/ 5298645 w 10753706"/>
              <a:gd name="connsiteY96" fmla="*/ 855171 h 1027260"/>
              <a:gd name="connsiteX97" fmla="*/ 5253828 w 10753706"/>
              <a:gd name="connsiteY97" fmla="*/ 859670 h 1027260"/>
              <a:gd name="connsiteX98" fmla="*/ 5216955 w 10753706"/>
              <a:gd name="connsiteY98" fmla="*/ 866245 h 1027260"/>
              <a:gd name="connsiteX99" fmla="*/ 5214344 w 10753706"/>
              <a:gd name="connsiteY99" fmla="*/ 868102 h 1027260"/>
              <a:gd name="connsiteX100" fmla="*/ 5195561 w 10753706"/>
              <a:gd name="connsiteY100" fmla="*/ 869949 h 1027260"/>
              <a:gd name="connsiteX101" fmla="*/ 5182555 w 10753706"/>
              <a:gd name="connsiteY101" fmla="*/ 873542 h 1027260"/>
              <a:gd name="connsiteX102" fmla="*/ 5172552 w 10753706"/>
              <a:gd name="connsiteY102" fmla="*/ 878801 h 1027260"/>
              <a:gd name="connsiteX103" fmla="*/ 5027993 w 10753706"/>
              <a:gd name="connsiteY103" fmla="*/ 889666 h 1027260"/>
              <a:gd name="connsiteX104" fmla="*/ 4939844 w 10753706"/>
              <a:gd name="connsiteY104" fmla="*/ 934802 h 1027260"/>
              <a:gd name="connsiteX105" fmla="*/ 4792576 w 10753706"/>
              <a:gd name="connsiteY105" fmla="*/ 934820 h 1027260"/>
              <a:gd name="connsiteX106" fmla="*/ 4602423 w 10753706"/>
              <a:gd name="connsiteY106" fmla="*/ 958063 h 1027260"/>
              <a:gd name="connsiteX107" fmla="*/ 4290656 w 10753706"/>
              <a:gd name="connsiteY107" fmla="*/ 969152 h 1027260"/>
              <a:gd name="connsiteX108" fmla="*/ 3952334 w 10753706"/>
              <a:gd name="connsiteY108" fmla="*/ 954043 h 1027260"/>
              <a:gd name="connsiteX109" fmla="*/ 3858560 w 10753706"/>
              <a:gd name="connsiteY109" fmla="*/ 948781 h 1027260"/>
              <a:gd name="connsiteX110" fmla="*/ 3846597 w 10753706"/>
              <a:gd name="connsiteY110" fmla="*/ 948382 h 1027260"/>
              <a:gd name="connsiteX111" fmla="*/ 3736044 w 10753706"/>
              <a:gd name="connsiteY111" fmla="*/ 947759 h 1027260"/>
              <a:gd name="connsiteX112" fmla="*/ 3713136 w 10753706"/>
              <a:gd name="connsiteY112" fmla="*/ 946963 h 1027260"/>
              <a:gd name="connsiteX113" fmla="*/ 3695939 w 10753706"/>
              <a:gd name="connsiteY113" fmla="*/ 943639 h 1027260"/>
              <a:gd name="connsiteX114" fmla="*/ 3694125 w 10753706"/>
              <a:gd name="connsiteY114" fmla="*/ 940567 h 1027260"/>
              <a:gd name="connsiteX115" fmla="*/ 3681925 w 10753706"/>
              <a:gd name="connsiteY115" fmla="*/ 939706 h 1027260"/>
              <a:gd name="connsiteX116" fmla="*/ 3679204 w 10753706"/>
              <a:gd name="connsiteY116" fmla="*/ 938926 h 1027260"/>
              <a:gd name="connsiteX117" fmla="*/ 3615656 w 10753706"/>
              <a:gd name="connsiteY117" fmla="*/ 940320 h 1027260"/>
              <a:gd name="connsiteX118" fmla="*/ 3567983 w 10753706"/>
              <a:gd name="connsiteY118" fmla="*/ 935596 h 1027260"/>
              <a:gd name="connsiteX119" fmla="*/ 3422423 w 10753706"/>
              <a:gd name="connsiteY119" fmla="*/ 932129 h 1027260"/>
              <a:gd name="connsiteX120" fmla="*/ 3310925 w 10753706"/>
              <a:gd name="connsiteY120" fmla="*/ 911072 h 1027260"/>
              <a:gd name="connsiteX121" fmla="*/ 3139421 w 10753706"/>
              <a:gd name="connsiteY121" fmla="*/ 934151 h 1027260"/>
              <a:gd name="connsiteX122" fmla="*/ 2996922 w 10753706"/>
              <a:gd name="connsiteY122" fmla="*/ 927537 h 1027260"/>
              <a:gd name="connsiteX123" fmla="*/ 2982785 w 10753706"/>
              <a:gd name="connsiteY123" fmla="*/ 931453 h 1027260"/>
              <a:gd name="connsiteX124" fmla="*/ 2967478 w 10753706"/>
              <a:gd name="connsiteY124" fmla="*/ 933397 h 1027260"/>
              <a:gd name="connsiteX125" fmla="*/ 2948552 w 10753706"/>
              <a:gd name="connsiteY125" fmla="*/ 932961 h 1027260"/>
              <a:gd name="connsiteX126" fmla="*/ 2944404 w 10753706"/>
              <a:gd name="connsiteY126" fmla="*/ 934452 h 1027260"/>
              <a:gd name="connsiteX127" fmla="*/ 2908608 w 10753706"/>
              <a:gd name="connsiteY127" fmla="*/ 937205 h 1027260"/>
              <a:gd name="connsiteX128" fmla="*/ 2904443 w 10753706"/>
              <a:gd name="connsiteY128" fmla="*/ 936455 h 1027260"/>
              <a:gd name="connsiteX129" fmla="*/ 2868935 w 10753706"/>
              <a:gd name="connsiteY129" fmla="*/ 938022 h 1027260"/>
              <a:gd name="connsiteX130" fmla="*/ 2868586 w 10753706"/>
              <a:gd name="connsiteY130" fmla="*/ 937487 h 1027260"/>
              <a:gd name="connsiteX131" fmla="*/ 2859191 w 10753706"/>
              <a:gd name="connsiteY131" fmla="*/ 935503 h 1027260"/>
              <a:gd name="connsiteX132" fmla="*/ 2840915 w 10753706"/>
              <a:gd name="connsiteY132" fmla="*/ 932977 h 1027260"/>
              <a:gd name="connsiteX133" fmla="*/ 2763509 w 10753706"/>
              <a:gd name="connsiteY133" fmla="*/ 921850 h 1027260"/>
              <a:gd name="connsiteX134" fmla="*/ 2756121 w 10753706"/>
              <a:gd name="connsiteY134" fmla="*/ 921864 h 1027260"/>
              <a:gd name="connsiteX135" fmla="*/ 2755998 w 10753706"/>
              <a:gd name="connsiteY135" fmla="*/ 921739 h 1027260"/>
              <a:gd name="connsiteX136" fmla="*/ 2748255 w 10753706"/>
              <a:gd name="connsiteY136" fmla="*/ 921505 h 1027260"/>
              <a:gd name="connsiteX137" fmla="*/ 2694601 w 10753706"/>
              <a:gd name="connsiteY137" fmla="*/ 915575 h 1027260"/>
              <a:gd name="connsiteX138" fmla="*/ 2635357 w 10753706"/>
              <a:gd name="connsiteY138" fmla="*/ 910976 h 1027260"/>
              <a:gd name="connsiteX139" fmla="*/ 2601047 w 10753706"/>
              <a:gd name="connsiteY139" fmla="*/ 910263 h 1027260"/>
              <a:gd name="connsiteX140" fmla="*/ 2507482 w 10753706"/>
              <a:gd name="connsiteY140" fmla="*/ 906211 h 1027260"/>
              <a:gd name="connsiteX141" fmla="*/ 2413884 w 10753706"/>
              <a:gd name="connsiteY141" fmla="*/ 900545 h 1027260"/>
              <a:gd name="connsiteX142" fmla="*/ 2368912 w 10753706"/>
              <a:gd name="connsiteY142" fmla="*/ 888755 h 1027260"/>
              <a:gd name="connsiteX143" fmla="*/ 2349490 w 10753706"/>
              <a:gd name="connsiteY143" fmla="*/ 889719 h 1027260"/>
              <a:gd name="connsiteX144" fmla="*/ 2344290 w 10753706"/>
              <a:gd name="connsiteY144" fmla="*/ 890584 h 1027260"/>
              <a:gd name="connsiteX145" fmla="*/ 2336488 w 10753706"/>
              <a:gd name="connsiteY145" fmla="*/ 891058 h 1027260"/>
              <a:gd name="connsiteX146" fmla="*/ 2329015 w 10753706"/>
              <a:gd name="connsiteY146" fmla="*/ 891627 h 1027260"/>
              <a:gd name="connsiteX147" fmla="*/ 2293898 w 10753706"/>
              <a:gd name="connsiteY147" fmla="*/ 896431 h 1027260"/>
              <a:gd name="connsiteX148" fmla="*/ 2243927 w 10753706"/>
              <a:gd name="connsiteY148" fmla="*/ 888076 h 1027260"/>
              <a:gd name="connsiteX149" fmla="*/ 2223920 w 10753706"/>
              <a:gd name="connsiteY149" fmla="*/ 887331 h 1027260"/>
              <a:gd name="connsiteX150" fmla="*/ 2213081 w 10753706"/>
              <a:gd name="connsiteY150" fmla="*/ 886302 h 1027260"/>
              <a:gd name="connsiteX151" fmla="*/ 2212307 w 10753706"/>
              <a:gd name="connsiteY151" fmla="*/ 885829 h 1027260"/>
              <a:gd name="connsiteX152" fmla="*/ 2152321 w 10753706"/>
              <a:gd name="connsiteY152" fmla="*/ 894418 h 1027260"/>
              <a:gd name="connsiteX153" fmla="*/ 2140985 w 10753706"/>
              <a:gd name="connsiteY153" fmla="*/ 895968 h 1027260"/>
              <a:gd name="connsiteX154" fmla="*/ 2121210 w 10753706"/>
              <a:gd name="connsiteY154" fmla="*/ 899354 h 1027260"/>
              <a:gd name="connsiteX155" fmla="*/ 2119146 w 10753706"/>
              <a:gd name="connsiteY155" fmla="*/ 899033 h 1027260"/>
              <a:gd name="connsiteX156" fmla="*/ 2105666 w 10753706"/>
              <a:gd name="connsiteY156" fmla="*/ 902240 h 1027260"/>
              <a:gd name="connsiteX157" fmla="*/ 2094924 w 10753706"/>
              <a:gd name="connsiteY157" fmla="*/ 907203 h 1027260"/>
              <a:gd name="connsiteX158" fmla="*/ 1949478 w 10753706"/>
              <a:gd name="connsiteY158" fmla="*/ 913748 h 1027260"/>
              <a:gd name="connsiteX159" fmla="*/ 1749684 w 10753706"/>
              <a:gd name="connsiteY159" fmla="*/ 942223 h 1027260"/>
              <a:gd name="connsiteX160" fmla="*/ 1585576 w 10753706"/>
              <a:gd name="connsiteY160" fmla="*/ 954170 h 1027260"/>
              <a:gd name="connsiteX161" fmla="*/ 1476250 w 10753706"/>
              <a:gd name="connsiteY161" fmla="*/ 950653 h 1027260"/>
              <a:gd name="connsiteX162" fmla="*/ 1433927 w 10753706"/>
              <a:gd name="connsiteY162" fmla="*/ 959926 h 1027260"/>
              <a:gd name="connsiteX163" fmla="*/ 1414893 w 10753706"/>
              <a:gd name="connsiteY163" fmla="*/ 957671 h 1027260"/>
              <a:gd name="connsiteX164" fmla="*/ 1411585 w 10753706"/>
              <a:gd name="connsiteY164" fmla="*/ 957179 h 1027260"/>
              <a:gd name="connsiteX165" fmla="*/ 1398896 w 10753706"/>
              <a:gd name="connsiteY165" fmla="*/ 957460 h 1027260"/>
              <a:gd name="connsiteX166" fmla="*/ 1394632 w 10753706"/>
              <a:gd name="connsiteY166" fmla="*/ 954725 h 1027260"/>
              <a:gd name="connsiteX167" fmla="*/ 1375043 w 10753706"/>
              <a:gd name="connsiteY167" fmla="*/ 953132 h 1027260"/>
              <a:gd name="connsiteX168" fmla="*/ 1351876 w 10753706"/>
              <a:gd name="connsiteY168" fmla="*/ 954436 h 1027260"/>
              <a:gd name="connsiteX169" fmla="*/ 1242676 w 10753706"/>
              <a:gd name="connsiteY169" fmla="*/ 963767 h 1027260"/>
              <a:gd name="connsiteX170" fmla="*/ 1205993 w 10753706"/>
              <a:gd name="connsiteY170" fmla="*/ 974080 h 1027260"/>
              <a:gd name="connsiteX171" fmla="*/ 1052221 w 10753706"/>
              <a:gd name="connsiteY171" fmla="*/ 963954 h 1027260"/>
              <a:gd name="connsiteX172" fmla="*/ 968270 w 10753706"/>
              <a:gd name="connsiteY172" fmla="*/ 964761 h 1027260"/>
              <a:gd name="connsiteX173" fmla="*/ 874493 w 10753706"/>
              <a:gd name="connsiteY173" fmla="*/ 998122 h 1027260"/>
              <a:gd name="connsiteX174" fmla="*/ 814411 w 10753706"/>
              <a:gd name="connsiteY174" fmla="*/ 1007391 h 1027260"/>
              <a:gd name="connsiteX175" fmla="*/ 688604 w 10753706"/>
              <a:gd name="connsiteY175" fmla="*/ 1015631 h 1027260"/>
              <a:gd name="connsiteX176" fmla="*/ 618171 w 10753706"/>
              <a:gd name="connsiteY176" fmla="*/ 1027260 h 1027260"/>
              <a:gd name="connsiteX177" fmla="*/ 570379 w 10753706"/>
              <a:gd name="connsiteY177" fmla="*/ 1023487 h 1027260"/>
              <a:gd name="connsiteX178" fmla="*/ 482519 w 10753706"/>
              <a:gd name="connsiteY178" fmla="*/ 1002108 h 1027260"/>
              <a:gd name="connsiteX179" fmla="*/ 475319 w 10753706"/>
              <a:gd name="connsiteY179" fmla="*/ 1009922 h 1027260"/>
              <a:gd name="connsiteX180" fmla="*/ 431104 w 10753706"/>
              <a:gd name="connsiteY180" fmla="*/ 1009317 h 1027260"/>
              <a:gd name="connsiteX181" fmla="*/ 363782 w 10753706"/>
              <a:gd name="connsiteY181" fmla="*/ 1007585 h 1027260"/>
              <a:gd name="connsiteX182" fmla="*/ 325533 w 10753706"/>
              <a:gd name="connsiteY182" fmla="*/ 1008502 h 1027260"/>
              <a:gd name="connsiteX183" fmla="*/ 220429 w 10753706"/>
              <a:gd name="connsiteY183" fmla="*/ 1008927 h 1027260"/>
              <a:gd name="connsiteX184" fmla="*/ 114676 w 10753706"/>
              <a:gd name="connsiteY184" fmla="*/ 1007765 h 1027260"/>
              <a:gd name="connsiteX185" fmla="*/ 13470 w 10753706"/>
              <a:gd name="connsiteY185" fmla="*/ 998544 h 1027260"/>
              <a:gd name="connsiteX186" fmla="*/ 0 w 10753706"/>
              <a:gd name="connsiteY186" fmla="*/ 997355 h 1027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Lst>
            <a:rect l="l" t="t" r="r" b="b"/>
            <a:pathLst>
              <a:path w="10753706" h="1027260">
                <a:moveTo>
                  <a:pt x="0" y="0"/>
                </a:moveTo>
                <a:lnTo>
                  <a:pt x="10753706" y="0"/>
                </a:lnTo>
                <a:lnTo>
                  <a:pt x="10748809" y="2522"/>
                </a:lnTo>
                <a:cubicBezTo>
                  <a:pt x="10744031" y="4644"/>
                  <a:pt x="10737551" y="7204"/>
                  <a:pt x="10725330" y="11977"/>
                </a:cubicBezTo>
                <a:cubicBezTo>
                  <a:pt x="10700888" y="21523"/>
                  <a:pt x="10652058" y="39304"/>
                  <a:pt x="10615423" y="52967"/>
                </a:cubicBezTo>
                <a:cubicBezTo>
                  <a:pt x="10598524" y="49017"/>
                  <a:pt x="10550674" y="61360"/>
                  <a:pt x="10533936" y="53095"/>
                </a:cubicBezTo>
                <a:cubicBezTo>
                  <a:pt x="10519435" y="55674"/>
                  <a:pt x="10480156" y="49393"/>
                  <a:pt x="10466876" y="45180"/>
                </a:cubicBezTo>
                <a:cubicBezTo>
                  <a:pt x="10443145" y="68059"/>
                  <a:pt x="10382269" y="71294"/>
                  <a:pt x="10355090" y="89741"/>
                </a:cubicBezTo>
                <a:cubicBezTo>
                  <a:pt x="10286222" y="95376"/>
                  <a:pt x="10146285" y="63529"/>
                  <a:pt x="10087145" y="66115"/>
                </a:cubicBezTo>
                <a:cubicBezTo>
                  <a:pt x="10067575" y="79584"/>
                  <a:pt x="10043111" y="68921"/>
                  <a:pt x="10015902" y="76178"/>
                </a:cubicBezTo>
                <a:cubicBezTo>
                  <a:pt x="9952302" y="84628"/>
                  <a:pt x="9893286" y="103337"/>
                  <a:pt x="9806005" y="102435"/>
                </a:cubicBezTo>
                <a:cubicBezTo>
                  <a:pt x="9782247" y="141133"/>
                  <a:pt x="9674787" y="151643"/>
                  <a:pt x="9602583" y="179170"/>
                </a:cubicBezTo>
                <a:cubicBezTo>
                  <a:pt x="9557658" y="187584"/>
                  <a:pt x="9478290" y="154235"/>
                  <a:pt x="9469719" y="174721"/>
                </a:cubicBezTo>
                <a:cubicBezTo>
                  <a:pt x="9443779" y="165070"/>
                  <a:pt x="9431317" y="185692"/>
                  <a:pt x="9408692" y="189513"/>
                </a:cubicBezTo>
                <a:cubicBezTo>
                  <a:pt x="9387154" y="183843"/>
                  <a:pt x="9380475" y="191089"/>
                  <a:pt x="9364151" y="194072"/>
                </a:cubicBezTo>
                <a:cubicBezTo>
                  <a:pt x="9354686" y="190222"/>
                  <a:pt x="9340485" y="191782"/>
                  <a:pt x="9337751" y="197579"/>
                </a:cubicBezTo>
                <a:cubicBezTo>
                  <a:pt x="9349566" y="209270"/>
                  <a:pt x="9297468" y="207714"/>
                  <a:pt x="9297166" y="216558"/>
                </a:cubicBezTo>
                <a:cubicBezTo>
                  <a:pt x="9269057" y="220999"/>
                  <a:pt x="9139630" y="221783"/>
                  <a:pt x="9123859" y="237356"/>
                </a:cubicBezTo>
                <a:cubicBezTo>
                  <a:pt x="9068176" y="249209"/>
                  <a:pt x="8975349" y="235349"/>
                  <a:pt x="8950741" y="238020"/>
                </a:cubicBezTo>
                <a:cubicBezTo>
                  <a:pt x="8916265" y="215428"/>
                  <a:pt x="8822808" y="292026"/>
                  <a:pt x="8718236" y="303148"/>
                </a:cubicBezTo>
                <a:cubicBezTo>
                  <a:pt x="8703111" y="302060"/>
                  <a:pt x="8695551" y="302792"/>
                  <a:pt x="8694011" y="308812"/>
                </a:cubicBezTo>
                <a:cubicBezTo>
                  <a:pt x="8661810" y="312764"/>
                  <a:pt x="8637956" y="329628"/>
                  <a:pt x="8611976" y="324819"/>
                </a:cubicBezTo>
                <a:cubicBezTo>
                  <a:pt x="8621849" y="336388"/>
                  <a:pt x="8562809" y="325917"/>
                  <a:pt x="8562074" y="337971"/>
                </a:cubicBezTo>
                <a:cubicBezTo>
                  <a:pt x="8543699" y="343978"/>
                  <a:pt x="8511321" y="356396"/>
                  <a:pt x="8501724" y="360865"/>
                </a:cubicBezTo>
                <a:lnTo>
                  <a:pt x="8504489" y="364790"/>
                </a:lnTo>
                <a:lnTo>
                  <a:pt x="8492774" y="366181"/>
                </a:lnTo>
                <a:lnTo>
                  <a:pt x="8466405" y="368724"/>
                </a:lnTo>
                <a:cubicBezTo>
                  <a:pt x="8455454" y="372229"/>
                  <a:pt x="8440175" y="385805"/>
                  <a:pt x="8427069" y="387211"/>
                </a:cubicBezTo>
                <a:cubicBezTo>
                  <a:pt x="8400442" y="392215"/>
                  <a:pt x="8397079" y="382989"/>
                  <a:pt x="8387766" y="377161"/>
                </a:cubicBezTo>
                <a:cubicBezTo>
                  <a:pt x="8369233" y="378548"/>
                  <a:pt x="8334756" y="390869"/>
                  <a:pt x="8315874" y="395527"/>
                </a:cubicBezTo>
                <a:cubicBezTo>
                  <a:pt x="8306664" y="400500"/>
                  <a:pt x="8272845" y="393679"/>
                  <a:pt x="8274474" y="405112"/>
                </a:cubicBezTo>
                <a:cubicBezTo>
                  <a:pt x="8255483" y="406194"/>
                  <a:pt x="8244963" y="408376"/>
                  <a:pt x="8234664" y="410219"/>
                </a:cubicBezTo>
                <a:lnTo>
                  <a:pt x="8211268" y="416791"/>
                </a:lnTo>
                <a:cubicBezTo>
                  <a:pt x="8204720" y="419941"/>
                  <a:pt x="8197411" y="422004"/>
                  <a:pt x="8188615" y="421755"/>
                </a:cubicBezTo>
                <a:lnTo>
                  <a:pt x="8179981" y="420402"/>
                </a:lnTo>
                <a:lnTo>
                  <a:pt x="8179307" y="422516"/>
                </a:lnTo>
                <a:cubicBezTo>
                  <a:pt x="8179027" y="425797"/>
                  <a:pt x="8175790" y="448341"/>
                  <a:pt x="8147929" y="450302"/>
                </a:cubicBezTo>
                <a:cubicBezTo>
                  <a:pt x="8130300" y="457967"/>
                  <a:pt x="8114933" y="461015"/>
                  <a:pt x="8089136" y="465283"/>
                </a:cubicBezTo>
                <a:cubicBezTo>
                  <a:pt x="8072810" y="465920"/>
                  <a:pt x="8069376" y="451569"/>
                  <a:pt x="8049973" y="454121"/>
                </a:cubicBezTo>
                <a:cubicBezTo>
                  <a:pt x="7974508" y="471465"/>
                  <a:pt x="8006050" y="447139"/>
                  <a:pt x="7965913" y="464415"/>
                </a:cubicBezTo>
                <a:cubicBezTo>
                  <a:pt x="7958234" y="466025"/>
                  <a:pt x="7951405" y="465800"/>
                  <a:pt x="7945093" y="464798"/>
                </a:cubicBezTo>
                <a:lnTo>
                  <a:pt x="7935335" y="462442"/>
                </a:lnTo>
                <a:lnTo>
                  <a:pt x="7904779" y="471429"/>
                </a:lnTo>
                <a:cubicBezTo>
                  <a:pt x="7889387" y="474999"/>
                  <a:pt x="7872867" y="477951"/>
                  <a:pt x="7855604" y="480199"/>
                </a:cubicBezTo>
                <a:cubicBezTo>
                  <a:pt x="7850005" y="476378"/>
                  <a:pt x="7838628" y="483595"/>
                  <a:pt x="7832630" y="485371"/>
                </a:cubicBezTo>
                <a:cubicBezTo>
                  <a:pt x="7831473" y="482645"/>
                  <a:pt x="7816623" y="482661"/>
                  <a:pt x="7812438" y="485391"/>
                </a:cubicBezTo>
                <a:cubicBezTo>
                  <a:pt x="7709470" y="505049"/>
                  <a:pt x="7759426" y="473956"/>
                  <a:pt x="7701399" y="495197"/>
                </a:cubicBezTo>
                <a:cubicBezTo>
                  <a:pt x="7690986" y="496989"/>
                  <a:pt x="7682397" y="496365"/>
                  <a:pt x="7674778" y="494723"/>
                </a:cubicBezTo>
                <a:lnTo>
                  <a:pt x="7660445" y="490194"/>
                </a:lnTo>
                <a:lnTo>
                  <a:pt x="7651781" y="493084"/>
                </a:lnTo>
                <a:cubicBezTo>
                  <a:pt x="7616113" y="496548"/>
                  <a:pt x="7603273" y="491735"/>
                  <a:pt x="7584807" y="499490"/>
                </a:cubicBezTo>
                <a:cubicBezTo>
                  <a:pt x="7549256" y="490212"/>
                  <a:pt x="7563949" y="500167"/>
                  <a:pt x="7541324" y="504184"/>
                </a:cubicBezTo>
                <a:cubicBezTo>
                  <a:pt x="7523851" y="508307"/>
                  <a:pt x="7559546" y="509825"/>
                  <a:pt x="7541756" y="512184"/>
                </a:cubicBezTo>
                <a:cubicBezTo>
                  <a:pt x="7520963" y="510864"/>
                  <a:pt x="7525755" y="520497"/>
                  <a:pt x="7503906" y="518551"/>
                </a:cubicBezTo>
                <a:cubicBezTo>
                  <a:pt x="7505924" y="510774"/>
                  <a:pt x="7464361" y="523683"/>
                  <a:pt x="7460411" y="517415"/>
                </a:cubicBezTo>
                <a:lnTo>
                  <a:pt x="7460116" y="517548"/>
                </a:lnTo>
                <a:cubicBezTo>
                  <a:pt x="7447785" y="530928"/>
                  <a:pt x="7310141" y="550568"/>
                  <a:pt x="7297810" y="563947"/>
                </a:cubicBezTo>
                <a:cubicBezTo>
                  <a:pt x="7221791" y="605698"/>
                  <a:pt x="7039072" y="646008"/>
                  <a:pt x="6946388" y="665244"/>
                </a:cubicBezTo>
                <a:cubicBezTo>
                  <a:pt x="6853704" y="684480"/>
                  <a:pt x="6804875" y="677485"/>
                  <a:pt x="6741704" y="679365"/>
                </a:cubicBezTo>
                <a:lnTo>
                  <a:pt x="6624680" y="677674"/>
                </a:lnTo>
                <a:lnTo>
                  <a:pt x="6605700" y="683566"/>
                </a:lnTo>
                <a:cubicBezTo>
                  <a:pt x="6603309" y="685184"/>
                  <a:pt x="6599550" y="685647"/>
                  <a:pt x="6576922" y="683030"/>
                </a:cubicBezTo>
                <a:cubicBezTo>
                  <a:pt x="6527275" y="698355"/>
                  <a:pt x="6440981" y="702347"/>
                  <a:pt x="6405123" y="721946"/>
                </a:cubicBezTo>
                <a:cubicBezTo>
                  <a:pt x="6407963" y="715467"/>
                  <a:pt x="6383450" y="712913"/>
                  <a:pt x="6368938" y="717341"/>
                </a:cubicBezTo>
                <a:cubicBezTo>
                  <a:pt x="6377914" y="692119"/>
                  <a:pt x="6315316" y="744281"/>
                  <a:pt x="6295102" y="729508"/>
                </a:cubicBezTo>
                <a:cubicBezTo>
                  <a:pt x="6300358" y="744473"/>
                  <a:pt x="6240070" y="776254"/>
                  <a:pt x="6202084" y="767091"/>
                </a:cubicBezTo>
                <a:cubicBezTo>
                  <a:pt x="6152826" y="774744"/>
                  <a:pt x="6122010" y="790367"/>
                  <a:pt x="6067157" y="790339"/>
                </a:cubicBezTo>
                <a:cubicBezTo>
                  <a:pt x="6066310" y="792484"/>
                  <a:pt x="6064283" y="794403"/>
                  <a:pt x="6061443" y="796151"/>
                </a:cubicBezTo>
                <a:lnTo>
                  <a:pt x="6051406" y="800684"/>
                </a:lnTo>
                <a:lnTo>
                  <a:pt x="6049097" y="800636"/>
                </a:lnTo>
                <a:cubicBezTo>
                  <a:pt x="6040408" y="801393"/>
                  <a:pt x="6036299" y="802645"/>
                  <a:pt x="6034222" y="804110"/>
                </a:cubicBezTo>
                <a:lnTo>
                  <a:pt x="6033121" y="806078"/>
                </a:lnTo>
                <a:lnTo>
                  <a:pt x="6023593" y="808842"/>
                </a:lnTo>
                <a:lnTo>
                  <a:pt x="6006639" y="815304"/>
                </a:lnTo>
                <a:lnTo>
                  <a:pt x="6001762" y="815557"/>
                </a:lnTo>
                <a:lnTo>
                  <a:pt x="5973534" y="823815"/>
                </a:lnTo>
                <a:lnTo>
                  <a:pt x="5972336" y="823476"/>
                </a:lnTo>
                <a:cubicBezTo>
                  <a:pt x="5969004" y="822901"/>
                  <a:pt x="5965329" y="822833"/>
                  <a:pt x="5960841" y="823819"/>
                </a:cubicBezTo>
                <a:cubicBezTo>
                  <a:pt x="5955860" y="815655"/>
                  <a:pt x="5953515" y="821882"/>
                  <a:pt x="5940719" y="825514"/>
                </a:cubicBezTo>
                <a:cubicBezTo>
                  <a:pt x="5930130" y="813644"/>
                  <a:pt x="5900943" y="827979"/>
                  <a:pt x="5884298" y="823806"/>
                </a:cubicBezTo>
                <a:cubicBezTo>
                  <a:pt x="5875133" y="826741"/>
                  <a:pt x="5865250" y="829630"/>
                  <a:pt x="5854779" y="832365"/>
                </a:cubicBezTo>
                <a:lnTo>
                  <a:pt x="5848382" y="833844"/>
                </a:lnTo>
                <a:lnTo>
                  <a:pt x="5848066" y="833772"/>
                </a:lnTo>
                <a:cubicBezTo>
                  <a:pt x="5846273" y="833879"/>
                  <a:pt x="5844018" y="834284"/>
                  <a:pt x="5840944" y="835132"/>
                </a:cubicBezTo>
                <a:lnTo>
                  <a:pt x="5836719" y="836539"/>
                </a:lnTo>
                <a:lnTo>
                  <a:pt x="5824311" y="839408"/>
                </a:lnTo>
                <a:lnTo>
                  <a:pt x="5818788" y="839727"/>
                </a:lnTo>
                <a:cubicBezTo>
                  <a:pt x="5797008" y="838594"/>
                  <a:pt x="5786883" y="822081"/>
                  <a:pt x="5763953" y="834282"/>
                </a:cubicBezTo>
                <a:cubicBezTo>
                  <a:pt x="5726813" y="837521"/>
                  <a:pt x="5699446" y="830949"/>
                  <a:pt x="5667748" y="840211"/>
                </a:cubicBezTo>
                <a:cubicBezTo>
                  <a:pt x="5632959" y="843205"/>
                  <a:pt x="5601436" y="842280"/>
                  <a:pt x="5573108" y="847611"/>
                </a:cubicBezTo>
                <a:cubicBezTo>
                  <a:pt x="5560030" y="845832"/>
                  <a:pt x="5549547" y="851598"/>
                  <a:pt x="5539137" y="851033"/>
                </a:cubicBezTo>
                <a:cubicBezTo>
                  <a:pt x="5528728" y="850467"/>
                  <a:pt x="5529256" y="837509"/>
                  <a:pt x="5510651" y="844215"/>
                </a:cubicBezTo>
                <a:cubicBezTo>
                  <a:pt x="5494241" y="833607"/>
                  <a:pt x="5466101" y="839171"/>
                  <a:pt x="5457331" y="839159"/>
                </a:cubicBezTo>
                <a:lnTo>
                  <a:pt x="5410613" y="834358"/>
                </a:lnTo>
                <a:lnTo>
                  <a:pt x="5370040" y="862127"/>
                </a:lnTo>
                <a:cubicBezTo>
                  <a:pt x="5357863" y="856469"/>
                  <a:pt x="5319115" y="868069"/>
                  <a:pt x="5318778" y="855310"/>
                </a:cubicBezTo>
                <a:cubicBezTo>
                  <a:pt x="5303920" y="857760"/>
                  <a:pt x="5296727" y="863736"/>
                  <a:pt x="5298645" y="855171"/>
                </a:cubicBezTo>
                <a:cubicBezTo>
                  <a:pt x="5287819" y="855897"/>
                  <a:pt x="5267444" y="857825"/>
                  <a:pt x="5253828" y="859670"/>
                </a:cubicBezTo>
                <a:lnTo>
                  <a:pt x="5216955" y="866245"/>
                </a:lnTo>
                <a:lnTo>
                  <a:pt x="5214344" y="868102"/>
                </a:lnTo>
                <a:cubicBezTo>
                  <a:pt x="5210778" y="868719"/>
                  <a:pt x="5200859" y="869042"/>
                  <a:pt x="5195561" y="869949"/>
                </a:cubicBezTo>
                <a:lnTo>
                  <a:pt x="5182555" y="873542"/>
                </a:lnTo>
                <a:cubicBezTo>
                  <a:pt x="5178496" y="875023"/>
                  <a:pt x="5175066" y="876746"/>
                  <a:pt x="5172552" y="878801"/>
                </a:cubicBezTo>
                <a:cubicBezTo>
                  <a:pt x="5121406" y="873797"/>
                  <a:pt x="5080096" y="886529"/>
                  <a:pt x="5027993" y="889666"/>
                </a:cubicBezTo>
                <a:cubicBezTo>
                  <a:pt x="4999924" y="877115"/>
                  <a:pt x="4946973" y="919452"/>
                  <a:pt x="4939844" y="934802"/>
                </a:cubicBezTo>
                <a:cubicBezTo>
                  <a:pt x="4895154" y="940701"/>
                  <a:pt x="4844006" y="928240"/>
                  <a:pt x="4792576" y="934820"/>
                </a:cubicBezTo>
                <a:lnTo>
                  <a:pt x="4602423" y="958063"/>
                </a:lnTo>
                <a:cubicBezTo>
                  <a:pt x="4488530" y="967131"/>
                  <a:pt x="4399004" y="969822"/>
                  <a:pt x="4290656" y="969152"/>
                </a:cubicBezTo>
                <a:cubicBezTo>
                  <a:pt x="4182308" y="968482"/>
                  <a:pt x="4046938" y="971167"/>
                  <a:pt x="3952334" y="954043"/>
                </a:cubicBezTo>
                <a:lnTo>
                  <a:pt x="3858560" y="948781"/>
                </a:lnTo>
                <a:lnTo>
                  <a:pt x="3846597" y="948382"/>
                </a:lnTo>
                <a:cubicBezTo>
                  <a:pt x="3807516" y="956616"/>
                  <a:pt x="3767475" y="941640"/>
                  <a:pt x="3736044" y="947759"/>
                </a:cubicBezTo>
                <a:cubicBezTo>
                  <a:pt x="3727323" y="948128"/>
                  <a:pt x="3719828" y="947771"/>
                  <a:pt x="3713136" y="946963"/>
                </a:cubicBezTo>
                <a:lnTo>
                  <a:pt x="3695939" y="943639"/>
                </a:lnTo>
                <a:lnTo>
                  <a:pt x="3694125" y="940567"/>
                </a:lnTo>
                <a:lnTo>
                  <a:pt x="3681925" y="939706"/>
                </a:lnTo>
                <a:lnTo>
                  <a:pt x="3679204" y="938926"/>
                </a:lnTo>
                <a:cubicBezTo>
                  <a:pt x="3668160" y="939028"/>
                  <a:pt x="3634193" y="940875"/>
                  <a:pt x="3615656" y="940320"/>
                </a:cubicBezTo>
                <a:cubicBezTo>
                  <a:pt x="3582626" y="936974"/>
                  <a:pt x="3593904" y="949140"/>
                  <a:pt x="3567983" y="935596"/>
                </a:cubicBezTo>
                <a:cubicBezTo>
                  <a:pt x="3504185" y="939048"/>
                  <a:pt x="3482818" y="922224"/>
                  <a:pt x="3422423" y="932129"/>
                </a:cubicBezTo>
                <a:cubicBezTo>
                  <a:pt x="3369166" y="933413"/>
                  <a:pt x="3329486" y="910108"/>
                  <a:pt x="3310925" y="911072"/>
                </a:cubicBezTo>
                <a:cubicBezTo>
                  <a:pt x="3261363" y="909787"/>
                  <a:pt x="3198415" y="933574"/>
                  <a:pt x="3139421" y="934151"/>
                </a:cubicBezTo>
                <a:cubicBezTo>
                  <a:pt x="3088799" y="931012"/>
                  <a:pt x="3038941" y="938464"/>
                  <a:pt x="2996922" y="927537"/>
                </a:cubicBezTo>
                <a:cubicBezTo>
                  <a:pt x="2992673" y="929234"/>
                  <a:pt x="2987900" y="930498"/>
                  <a:pt x="2982785" y="931453"/>
                </a:cubicBezTo>
                <a:lnTo>
                  <a:pt x="2967478" y="933397"/>
                </a:lnTo>
                <a:lnTo>
                  <a:pt x="2948552" y="932961"/>
                </a:lnTo>
                <a:lnTo>
                  <a:pt x="2944404" y="934452"/>
                </a:lnTo>
                <a:lnTo>
                  <a:pt x="2908608" y="937205"/>
                </a:lnTo>
                <a:lnTo>
                  <a:pt x="2904443" y="936455"/>
                </a:lnTo>
                <a:lnTo>
                  <a:pt x="2868935" y="938022"/>
                </a:lnTo>
                <a:lnTo>
                  <a:pt x="2868586" y="937487"/>
                </a:lnTo>
                <a:cubicBezTo>
                  <a:pt x="2866994" y="936327"/>
                  <a:pt x="2864292" y="935538"/>
                  <a:pt x="2859191" y="935503"/>
                </a:cubicBezTo>
                <a:cubicBezTo>
                  <a:pt x="2869075" y="927418"/>
                  <a:pt x="2856828" y="932364"/>
                  <a:pt x="2840915" y="932977"/>
                </a:cubicBezTo>
                <a:lnTo>
                  <a:pt x="2763509" y="921850"/>
                </a:lnTo>
                <a:lnTo>
                  <a:pt x="2756121" y="921864"/>
                </a:lnTo>
                <a:cubicBezTo>
                  <a:pt x="2756081" y="921822"/>
                  <a:pt x="2756039" y="921781"/>
                  <a:pt x="2755998" y="921739"/>
                </a:cubicBezTo>
                <a:cubicBezTo>
                  <a:pt x="2754445" y="921476"/>
                  <a:pt x="2752036" y="921380"/>
                  <a:pt x="2748255" y="921505"/>
                </a:cubicBezTo>
                <a:lnTo>
                  <a:pt x="2694601" y="915575"/>
                </a:lnTo>
                <a:cubicBezTo>
                  <a:pt x="2671223" y="919874"/>
                  <a:pt x="2666972" y="913376"/>
                  <a:pt x="2635357" y="910976"/>
                </a:cubicBezTo>
                <a:cubicBezTo>
                  <a:pt x="2621906" y="915051"/>
                  <a:pt x="2611315" y="913542"/>
                  <a:pt x="2601047" y="910263"/>
                </a:cubicBezTo>
                <a:cubicBezTo>
                  <a:pt x="2570084" y="912074"/>
                  <a:pt x="2542135" y="907435"/>
                  <a:pt x="2507482" y="906211"/>
                </a:cubicBezTo>
                <a:cubicBezTo>
                  <a:pt x="2469706" y="911437"/>
                  <a:pt x="2450920" y="901812"/>
                  <a:pt x="2413884" y="900545"/>
                </a:cubicBezTo>
                <a:cubicBezTo>
                  <a:pt x="2381338" y="909664"/>
                  <a:pt x="2387753" y="892438"/>
                  <a:pt x="2368912" y="888755"/>
                </a:cubicBezTo>
                <a:lnTo>
                  <a:pt x="2349490" y="889719"/>
                </a:lnTo>
                <a:lnTo>
                  <a:pt x="2344290" y="890584"/>
                </a:lnTo>
                <a:cubicBezTo>
                  <a:pt x="2340673" y="891041"/>
                  <a:pt x="2338228" y="891167"/>
                  <a:pt x="2336488" y="891058"/>
                </a:cubicBezTo>
                <a:lnTo>
                  <a:pt x="2329015" y="891627"/>
                </a:lnTo>
                <a:cubicBezTo>
                  <a:pt x="2316843" y="893039"/>
                  <a:pt x="2305064" y="894669"/>
                  <a:pt x="2293898" y="896431"/>
                </a:cubicBezTo>
                <a:cubicBezTo>
                  <a:pt x="2282637" y="890404"/>
                  <a:pt x="2242346" y="900851"/>
                  <a:pt x="2243927" y="888076"/>
                </a:cubicBezTo>
                <a:cubicBezTo>
                  <a:pt x="2228778" y="890081"/>
                  <a:pt x="2220725" y="895845"/>
                  <a:pt x="2223920" y="887331"/>
                </a:cubicBezTo>
                <a:cubicBezTo>
                  <a:pt x="2218877" y="887756"/>
                  <a:pt x="2215583" y="887254"/>
                  <a:pt x="2213081" y="886302"/>
                </a:cubicBezTo>
                <a:lnTo>
                  <a:pt x="2212307" y="885829"/>
                </a:lnTo>
                <a:lnTo>
                  <a:pt x="2152321" y="894418"/>
                </a:lnTo>
                <a:lnTo>
                  <a:pt x="2140985" y="895968"/>
                </a:lnTo>
                <a:lnTo>
                  <a:pt x="2121210" y="899354"/>
                </a:lnTo>
                <a:lnTo>
                  <a:pt x="2119146" y="899033"/>
                </a:lnTo>
                <a:lnTo>
                  <a:pt x="2105666" y="902240"/>
                </a:lnTo>
                <a:cubicBezTo>
                  <a:pt x="2101407" y="903601"/>
                  <a:pt x="2097735" y="905221"/>
                  <a:pt x="2094924" y="907203"/>
                </a:cubicBezTo>
                <a:cubicBezTo>
                  <a:pt x="2044793" y="900664"/>
                  <a:pt x="2001785" y="912168"/>
                  <a:pt x="1949478" y="913748"/>
                </a:cubicBezTo>
                <a:cubicBezTo>
                  <a:pt x="1891937" y="919585"/>
                  <a:pt x="1810334" y="935486"/>
                  <a:pt x="1749684" y="942223"/>
                </a:cubicBezTo>
                <a:lnTo>
                  <a:pt x="1585576" y="954170"/>
                </a:lnTo>
                <a:cubicBezTo>
                  <a:pt x="1549165" y="943719"/>
                  <a:pt x="1511425" y="950847"/>
                  <a:pt x="1476250" y="950653"/>
                </a:cubicBezTo>
                <a:cubicBezTo>
                  <a:pt x="1488515" y="961596"/>
                  <a:pt x="1432660" y="946795"/>
                  <a:pt x="1433927" y="959926"/>
                </a:cubicBezTo>
                <a:cubicBezTo>
                  <a:pt x="1427485" y="959475"/>
                  <a:pt x="1421205" y="958623"/>
                  <a:pt x="1414893" y="957671"/>
                </a:cubicBezTo>
                <a:lnTo>
                  <a:pt x="1411585" y="957179"/>
                </a:lnTo>
                <a:lnTo>
                  <a:pt x="1398896" y="957460"/>
                </a:lnTo>
                <a:lnTo>
                  <a:pt x="1394632" y="954725"/>
                </a:lnTo>
                <a:lnTo>
                  <a:pt x="1375043" y="953132"/>
                </a:lnTo>
                <a:cubicBezTo>
                  <a:pt x="1367813" y="952970"/>
                  <a:pt x="1360155" y="953305"/>
                  <a:pt x="1351876" y="954436"/>
                </a:cubicBezTo>
                <a:cubicBezTo>
                  <a:pt x="1325912" y="963028"/>
                  <a:pt x="1274459" y="952492"/>
                  <a:pt x="1242676" y="963767"/>
                </a:cubicBezTo>
                <a:cubicBezTo>
                  <a:pt x="1230276" y="966918"/>
                  <a:pt x="1216715" y="977098"/>
                  <a:pt x="1205993" y="974080"/>
                </a:cubicBezTo>
                <a:cubicBezTo>
                  <a:pt x="1174251" y="974112"/>
                  <a:pt x="1086982" y="964420"/>
                  <a:pt x="1052221" y="963954"/>
                </a:cubicBezTo>
                <a:cubicBezTo>
                  <a:pt x="1038515" y="970622"/>
                  <a:pt x="1009522" y="962342"/>
                  <a:pt x="968270" y="964761"/>
                </a:cubicBezTo>
                <a:cubicBezTo>
                  <a:pt x="943437" y="973698"/>
                  <a:pt x="900136" y="991017"/>
                  <a:pt x="874493" y="998122"/>
                </a:cubicBezTo>
                <a:cubicBezTo>
                  <a:pt x="848849" y="1005226"/>
                  <a:pt x="853424" y="1009427"/>
                  <a:pt x="814411" y="1007391"/>
                </a:cubicBezTo>
                <a:cubicBezTo>
                  <a:pt x="765926" y="1022821"/>
                  <a:pt x="732885" y="1009859"/>
                  <a:pt x="688604" y="1015631"/>
                </a:cubicBezTo>
                <a:cubicBezTo>
                  <a:pt x="638045" y="1020877"/>
                  <a:pt x="677999" y="1011556"/>
                  <a:pt x="618171" y="1027260"/>
                </a:cubicBezTo>
                <a:cubicBezTo>
                  <a:pt x="609680" y="1023165"/>
                  <a:pt x="583253" y="1020277"/>
                  <a:pt x="570379" y="1023487"/>
                </a:cubicBezTo>
                <a:cubicBezTo>
                  <a:pt x="543992" y="1022523"/>
                  <a:pt x="505183" y="1001686"/>
                  <a:pt x="482519" y="1002108"/>
                </a:cubicBezTo>
                <a:cubicBezTo>
                  <a:pt x="464011" y="1002285"/>
                  <a:pt x="495211" y="1007995"/>
                  <a:pt x="475319" y="1009922"/>
                </a:cubicBezTo>
                <a:cubicBezTo>
                  <a:pt x="450818" y="1011135"/>
                  <a:pt x="454804" y="1022539"/>
                  <a:pt x="431104" y="1009317"/>
                </a:cubicBezTo>
                <a:cubicBezTo>
                  <a:pt x="406857" y="1014651"/>
                  <a:pt x="399686" y="1008456"/>
                  <a:pt x="363782" y="1007585"/>
                </a:cubicBezTo>
                <a:cubicBezTo>
                  <a:pt x="350440" y="1012231"/>
                  <a:pt x="338145" y="1011245"/>
                  <a:pt x="325533" y="1008502"/>
                </a:cubicBezTo>
                <a:cubicBezTo>
                  <a:pt x="291944" y="1011745"/>
                  <a:pt x="259251" y="1008497"/>
                  <a:pt x="220429" y="1008927"/>
                </a:cubicBezTo>
                <a:cubicBezTo>
                  <a:pt x="180594" y="1015852"/>
                  <a:pt x="156150" y="1007265"/>
                  <a:pt x="114676" y="1007765"/>
                </a:cubicBezTo>
                <a:cubicBezTo>
                  <a:pt x="85718" y="1006195"/>
                  <a:pt x="43316" y="1001491"/>
                  <a:pt x="13470" y="998544"/>
                </a:cubicBezTo>
                <a:lnTo>
                  <a:pt x="0" y="997355"/>
                </a:lnTo>
                <a:close/>
              </a:path>
            </a:pathLst>
          </a:custGeom>
          <a:solidFill>
            <a:srgbClr val="82766A">
              <a:alpha val="15000"/>
            </a:srgb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384958770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Metadata/LabelInfo.xml><?xml version="1.0" encoding="utf-8"?>
<clbl:labelList xmlns:clbl="http://schemas.microsoft.com/office/2020/mipLabelMetadata">
  <clbl:label id="{9d258917-277f-42cd-a3cd-14c4e9ee58bc}" enabled="1" method="Standard" siteId="{38ae3bcd-9579-4fd4-adda-b42e1495d55a}" contentBits="0" removed="0"/>
</clbl:labelList>
</file>

<file path=docProps/app.xml><?xml version="1.0" encoding="utf-8"?>
<Properties xmlns="http://schemas.openxmlformats.org/officeDocument/2006/extended-properties" xmlns:vt="http://schemas.openxmlformats.org/officeDocument/2006/docPropsVTypes">
  <TotalTime>797</TotalTime>
  <Words>2383</Words>
  <Application>Microsoft Office PowerPoint</Application>
  <PresentationFormat>Widescreen</PresentationFormat>
  <Paragraphs>149</Paragraphs>
  <Slides>26</Slides>
  <Notes>0</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26</vt:i4>
      </vt:variant>
    </vt:vector>
  </HeadingPairs>
  <TitlesOfParts>
    <vt:vector size="37" baseType="lpstr">
      <vt:lpstr>__Source_Sans_Pro_fa6df0</vt:lpstr>
      <vt:lpstr>Aptos</vt:lpstr>
      <vt:lpstr>Aptos Display</vt:lpstr>
      <vt:lpstr>Arial</vt:lpstr>
      <vt:lpstr>Arial MT</vt:lpstr>
      <vt:lpstr>Cambria Math</vt:lpstr>
      <vt:lpstr>KaTeX_Main</vt:lpstr>
      <vt:lpstr>montserrat</vt:lpstr>
      <vt:lpstr>Times New Roman</vt:lpstr>
      <vt:lpstr>Office Theme</vt:lpstr>
      <vt:lpstr>think-cell Slide</vt:lpstr>
      <vt:lpstr>PowerPoint Presentation</vt:lpstr>
      <vt:lpstr>PowerPoint Presentation</vt:lpstr>
      <vt:lpstr>PowerPoint Presentation</vt:lpstr>
      <vt:lpstr>PowerPoint Presentation</vt:lpstr>
      <vt:lpstr>INDEPENDENT EVENTS &amp; DEPENDENT EVENTS </vt:lpstr>
      <vt:lpstr>Bayes Rule </vt:lpstr>
      <vt:lpstr>PowerPoint Presentation</vt:lpstr>
      <vt:lpstr>PowerPoint Presentation</vt:lpstr>
      <vt:lpstr>EXAMPLES</vt:lpstr>
      <vt:lpstr>Question: what is the probability that a patient has diseases meningitis with a stiff neck? </vt:lpstr>
      <vt:lpstr>PowerPoint Presentation</vt:lpstr>
      <vt:lpstr>PowerPoint Presentation</vt:lpstr>
      <vt:lpstr>PowerPoint Presentation</vt:lpstr>
      <vt:lpstr>PowerPoint Presentation</vt:lpstr>
      <vt:lpstr>PowerPoint Presentation</vt:lpstr>
      <vt:lpstr>Example: </vt:lpstr>
      <vt:lpstr>PowerPoint Presentation</vt:lpstr>
      <vt:lpstr>PowerPoint Presentation</vt:lpstr>
      <vt:lpstr>PowerPoint Presentation</vt:lpstr>
      <vt:lpstr>UTILITY BASED SYSTEM</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Indumathi V</dc:creator>
  <cp:lastModifiedBy>V, SOWMYA (ext) (RC-IN SMO RI-SIG&amp;COM PR&amp;ML SRAPL)</cp:lastModifiedBy>
  <cp:revision>24</cp:revision>
  <dcterms:created xsi:type="dcterms:W3CDTF">2024-09-18T18:45:14Z</dcterms:created>
  <dcterms:modified xsi:type="dcterms:W3CDTF">2024-09-29T19:38:45Z</dcterms:modified>
</cp:coreProperties>
</file>